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39"/>
  </p:notesMasterIdLst>
  <p:handoutMasterIdLst>
    <p:handoutMasterId r:id="rId40"/>
  </p:handoutMasterIdLst>
  <p:sldIdLst>
    <p:sldId id="2147481903" r:id="rId5"/>
    <p:sldId id="2147481882" r:id="rId6"/>
    <p:sldId id="2147481877" r:id="rId7"/>
    <p:sldId id="2147481883" r:id="rId8"/>
    <p:sldId id="2147481894" r:id="rId9"/>
    <p:sldId id="2147481959" r:id="rId10"/>
    <p:sldId id="2147481887" r:id="rId11"/>
    <p:sldId id="2147481900" r:id="rId12"/>
    <p:sldId id="2147481912" r:id="rId13"/>
    <p:sldId id="2147481904" r:id="rId14"/>
    <p:sldId id="2147481905" r:id="rId15"/>
    <p:sldId id="2147481885" r:id="rId16"/>
    <p:sldId id="317" r:id="rId17"/>
    <p:sldId id="2147481898" r:id="rId18"/>
    <p:sldId id="2147481907" r:id="rId19"/>
    <p:sldId id="761" r:id="rId20"/>
    <p:sldId id="2147481895" r:id="rId21"/>
    <p:sldId id="764" r:id="rId22"/>
    <p:sldId id="2147481886" r:id="rId23"/>
    <p:sldId id="2147481949" r:id="rId24"/>
    <p:sldId id="2147481950" r:id="rId25"/>
    <p:sldId id="2147481966" r:id="rId26"/>
    <p:sldId id="2147481969" r:id="rId27"/>
    <p:sldId id="2147481968" r:id="rId28"/>
    <p:sldId id="2147481889" r:id="rId29"/>
    <p:sldId id="257" r:id="rId30"/>
    <p:sldId id="769" r:id="rId31"/>
    <p:sldId id="2147481911" r:id="rId32"/>
    <p:sldId id="2147481919" r:id="rId33"/>
    <p:sldId id="2147481920" r:id="rId34"/>
    <p:sldId id="6887" r:id="rId35"/>
    <p:sldId id="2147481942" r:id="rId36"/>
    <p:sldId id="2147481962" r:id="rId37"/>
    <p:sldId id="2147481963" r:id="rId38"/>
  </p:sldIdLst>
  <p:sldSz cx="12192000" cy="6858000"/>
  <p:notesSz cx="6858000" cy="9144000"/>
  <p:custDataLst>
    <p:tags r:id="rId41"/>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A24BC19-97EB-72DD-ADE2-04832C3AB4AA}" name="Ramona Daukste (LV)" initials="RD(" userId="S::ramona.daukste@pwc.com::cb110d71-928f-4029-96c9-9e7c32e592fe" providerId="AD"/>
  <p188:author id="{90456D42-69BA-FA00-84FF-970E8159E349}" name="Annemarija Apine (LV)" initials="A(" userId="S::annemarija.apine@pwc.com::546f5c59-3b8d-47fd-b739-a8fadc631053" providerId="AD"/>
  <p188:author id="{A13A8A74-66D6-E386-D661-E95E9B0717FF}" name="Annemarija Apine (LV)" initials="AA" userId="Annemarija Apine (LV)" providerId="None"/>
  <p188:author id="{6C60D3CE-0911-E382-B5F7-D4118947E6C4}" name="Sindija Kirsteine (LV)" initials="SK(" userId="S::sindija.kirsteine@pwc.com::5f25501a-2215-4bb3-9d9c-8d1484ffa7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CFD6E8"/>
    <a:srgbClr val="525A72"/>
    <a:srgbClr val="D18D85"/>
    <a:srgbClr val="D0CFD7"/>
    <a:srgbClr val="A4A3B2"/>
    <a:srgbClr val="F2F2F2"/>
    <a:srgbClr val="ADADAD"/>
    <a:srgbClr val="828283"/>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852ECE-A92D-45BF-9C74-2B2AE819D074}" v="2" dt="2024-09-02T07:05:22.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954" y="23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ona Daukste (LV)" userId="cb110d71-928f-4029-96c9-9e7c32e592fe" providerId="ADAL" clId="{7B62B472-7289-48F8-8F5E-042798090305}"/>
    <pc:docChg chg="custSel delSld modSld">
      <pc:chgData name="Ramona Daukste (LV)" userId="cb110d71-928f-4029-96c9-9e7c32e592fe" providerId="ADAL" clId="{7B62B472-7289-48F8-8F5E-042798090305}" dt="2024-06-10T15:18:28.943" v="6" actId="478"/>
      <pc:docMkLst>
        <pc:docMk/>
      </pc:docMkLst>
      <pc:sldChg chg="del">
        <pc:chgData name="Ramona Daukste (LV)" userId="cb110d71-928f-4029-96c9-9e7c32e592fe" providerId="ADAL" clId="{7B62B472-7289-48F8-8F5E-042798090305}" dt="2024-06-10T15:17:20.220" v="3" actId="2696"/>
        <pc:sldMkLst>
          <pc:docMk/>
          <pc:sldMk cId="8764514" sldId="2147481952"/>
        </pc:sldMkLst>
      </pc:sldChg>
      <pc:sldChg chg="delSp mod">
        <pc:chgData name="Ramona Daukste (LV)" userId="cb110d71-928f-4029-96c9-9e7c32e592fe" providerId="ADAL" clId="{7B62B472-7289-48F8-8F5E-042798090305}" dt="2024-06-10T15:18:28.943" v="6" actId="478"/>
        <pc:sldMkLst>
          <pc:docMk/>
          <pc:sldMk cId="2248175541" sldId="2147481958"/>
        </pc:sldMkLst>
        <pc:spChg chg="del">
          <ac:chgData name="Ramona Daukste (LV)" userId="cb110d71-928f-4029-96c9-9e7c32e592fe" providerId="ADAL" clId="{7B62B472-7289-48F8-8F5E-042798090305}" dt="2024-06-10T15:18:28.943" v="6" actId="478"/>
          <ac:spMkLst>
            <pc:docMk/>
            <pc:sldMk cId="2248175541" sldId="2147481958"/>
            <ac:spMk id="2" creationId="{FFC448EE-BD0B-565D-940C-2AF0B89867AE}"/>
          </ac:spMkLst>
        </pc:spChg>
      </pc:sldChg>
      <pc:sldChg chg="delSp mod">
        <pc:chgData name="Ramona Daukste (LV)" userId="cb110d71-928f-4029-96c9-9e7c32e592fe" providerId="ADAL" clId="{7B62B472-7289-48F8-8F5E-042798090305}" dt="2024-06-10T15:15:29.252" v="0" actId="478"/>
        <pc:sldMkLst>
          <pc:docMk/>
          <pc:sldMk cId="329214126" sldId="2147481959"/>
        </pc:sldMkLst>
        <pc:spChg chg="del">
          <ac:chgData name="Ramona Daukste (LV)" userId="cb110d71-928f-4029-96c9-9e7c32e592fe" providerId="ADAL" clId="{7B62B472-7289-48F8-8F5E-042798090305}" dt="2024-06-10T15:15:29.252" v="0" actId="478"/>
          <ac:spMkLst>
            <pc:docMk/>
            <pc:sldMk cId="329214126" sldId="2147481959"/>
            <ac:spMk id="35" creationId="{E75B0771-339E-D70E-BF92-01FF7186E519}"/>
          </ac:spMkLst>
        </pc:spChg>
      </pc:sldChg>
      <pc:sldChg chg="delSp mod">
        <pc:chgData name="Ramona Daukste (LV)" userId="cb110d71-928f-4029-96c9-9e7c32e592fe" providerId="ADAL" clId="{7B62B472-7289-48F8-8F5E-042798090305}" dt="2024-06-10T15:16:31.519" v="1" actId="478"/>
        <pc:sldMkLst>
          <pc:docMk/>
          <pc:sldMk cId="3061079320" sldId="2147481966"/>
        </pc:sldMkLst>
        <pc:spChg chg="del">
          <ac:chgData name="Ramona Daukste (LV)" userId="cb110d71-928f-4029-96c9-9e7c32e592fe" providerId="ADAL" clId="{7B62B472-7289-48F8-8F5E-042798090305}" dt="2024-06-10T15:16:31.519" v="1" actId="478"/>
          <ac:spMkLst>
            <pc:docMk/>
            <pc:sldMk cId="3061079320" sldId="2147481966"/>
            <ac:spMk id="22" creationId="{55FD3447-15FB-514A-421F-725EDAEB25EB}"/>
          </ac:spMkLst>
        </pc:spChg>
      </pc:sldChg>
      <pc:sldChg chg="delSp modSp mod">
        <pc:chgData name="Ramona Daukste (LV)" userId="cb110d71-928f-4029-96c9-9e7c32e592fe" providerId="ADAL" clId="{7B62B472-7289-48F8-8F5E-042798090305}" dt="2024-06-10T15:17:51.922" v="5" actId="255"/>
        <pc:sldMkLst>
          <pc:docMk/>
          <pc:sldMk cId="2820792045" sldId="2147481968"/>
        </pc:sldMkLst>
        <pc:spChg chg="mod">
          <ac:chgData name="Ramona Daukste (LV)" userId="cb110d71-928f-4029-96c9-9e7c32e592fe" providerId="ADAL" clId="{7B62B472-7289-48F8-8F5E-042798090305}" dt="2024-06-10T15:17:51.922" v="5" actId="255"/>
          <ac:spMkLst>
            <pc:docMk/>
            <pc:sldMk cId="2820792045" sldId="2147481968"/>
            <ac:spMk id="9" creationId="{E60771D5-36B1-5846-E0FD-EE10BA67E143}"/>
          </ac:spMkLst>
        </pc:spChg>
        <pc:spChg chg="mod">
          <ac:chgData name="Ramona Daukste (LV)" userId="cb110d71-928f-4029-96c9-9e7c32e592fe" providerId="ADAL" clId="{7B62B472-7289-48F8-8F5E-042798090305}" dt="2024-06-10T15:17:51.922" v="5" actId="255"/>
          <ac:spMkLst>
            <pc:docMk/>
            <pc:sldMk cId="2820792045" sldId="2147481968"/>
            <ac:spMk id="10" creationId="{0E3AF958-70C4-357F-D986-53A75E5CF63B}"/>
          </ac:spMkLst>
        </pc:spChg>
        <pc:spChg chg="mod">
          <ac:chgData name="Ramona Daukste (LV)" userId="cb110d71-928f-4029-96c9-9e7c32e592fe" providerId="ADAL" clId="{7B62B472-7289-48F8-8F5E-042798090305}" dt="2024-06-10T15:17:51.922" v="5" actId="255"/>
          <ac:spMkLst>
            <pc:docMk/>
            <pc:sldMk cId="2820792045" sldId="2147481968"/>
            <ac:spMk id="11" creationId="{70513DFC-D897-87EB-EF6A-D4829E31C2D1}"/>
          </ac:spMkLst>
        </pc:spChg>
        <pc:spChg chg="mod">
          <ac:chgData name="Ramona Daukste (LV)" userId="cb110d71-928f-4029-96c9-9e7c32e592fe" providerId="ADAL" clId="{7B62B472-7289-48F8-8F5E-042798090305}" dt="2024-06-10T15:17:51.922" v="5" actId="255"/>
          <ac:spMkLst>
            <pc:docMk/>
            <pc:sldMk cId="2820792045" sldId="2147481968"/>
            <ac:spMk id="12" creationId="{9FE544F4-5FE9-EB4A-60A5-5DB0C11FA6FA}"/>
          </ac:spMkLst>
        </pc:spChg>
        <pc:spChg chg="del">
          <ac:chgData name="Ramona Daukste (LV)" userId="cb110d71-928f-4029-96c9-9e7c32e592fe" providerId="ADAL" clId="{7B62B472-7289-48F8-8F5E-042798090305}" dt="2024-06-10T15:17:30.763" v="4" actId="478"/>
          <ac:spMkLst>
            <pc:docMk/>
            <pc:sldMk cId="2820792045" sldId="2147481968"/>
            <ac:spMk id="72" creationId="{1713E620-B769-FB60-102D-E8F42D8A225B}"/>
          </ac:spMkLst>
        </pc:spChg>
      </pc:sldChg>
      <pc:sldChg chg="delSp mod">
        <pc:chgData name="Ramona Daukste (LV)" userId="cb110d71-928f-4029-96c9-9e7c32e592fe" providerId="ADAL" clId="{7B62B472-7289-48F8-8F5E-042798090305}" dt="2024-06-10T15:16:36.422" v="2" actId="478"/>
        <pc:sldMkLst>
          <pc:docMk/>
          <pc:sldMk cId="3998587978" sldId="2147481969"/>
        </pc:sldMkLst>
        <pc:spChg chg="del">
          <ac:chgData name="Ramona Daukste (LV)" userId="cb110d71-928f-4029-96c9-9e7c32e592fe" providerId="ADAL" clId="{7B62B472-7289-48F8-8F5E-042798090305}" dt="2024-06-10T15:16:36.422" v="2" actId="478"/>
          <ac:spMkLst>
            <pc:docMk/>
            <pc:sldMk cId="3998587978" sldId="2147481969"/>
            <ac:spMk id="143" creationId="{5791E58A-C025-5D3A-CCC7-D729968B9DA2}"/>
          </ac:spMkLst>
        </pc:spChg>
      </pc:sldChg>
    </pc:docChg>
  </pc:docChgLst>
  <pc:docChgLst>
    <pc:chgData name="Sindija Kirsteine (LV)" userId="S::sindija.kirsteine@pwc.com::5f25501a-2215-4bb3-9d9c-8d1484ffa7c1" providerId="AD" clId="Web-{A9C07906-ABAB-3479-47CF-AF5DA4371241}"/>
    <pc:docChg chg="modSld">
      <pc:chgData name="Sindija Kirsteine (LV)" userId="S::sindija.kirsteine@pwc.com::5f25501a-2215-4bb3-9d9c-8d1484ffa7c1" providerId="AD" clId="Web-{A9C07906-ABAB-3479-47CF-AF5DA4371241}" dt="2024-06-10T06:10:45.171" v="4"/>
      <pc:docMkLst>
        <pc:docMk/>
      </pc:docMkLst>
      <pc:sldChg chg="modSp delCm modCm">
        <pc:chgData name="Sindija Kirsteine (LV)" userId="S::sindija.kirsteine@pwc.com::5f25501a-2215-4bb3-9d9c-8d1484ffa7c1" providerId="AD" clId="Web-{A9C07906-ABAB-3479-47CF-AF5DA4371241}" dt="2024-06-10T06:10:45.171" v="4"/>
        <pc:sldMkLst>
          <pc:docMk/>
          <pc:sldMk cId="1076096228" sldId="2147481883"/>
        </pc:sldMkLst>
        <pc:spChg chg="mod">
          <ac:chgData name="Sindija Kirsteine (LV)" userId="S::sindija.kirsteine@pwc.com::5f25501a-2215-4bb3-9d9c-8d1484ffa7c1" providerId="AD" clId="Web-{A9C07906-ABAB-3479-47CF-AF5DA4371241}" dt="2024-06-10T06:10:45.124" v="3"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del mod">
              <pc226:chgData name="Sindija Kirsteine (LV)" userId="S::sindija.kirsteine@pwc.com::5f25501a-2215-4bb3-9d9c-8d1484ffa7c1" providerId="AD" clId="Web-{A9C07906-ABAB-3479-47CF-AF5DA4371241}" dt="2024-06-10T06:10:45.171" v="4"/>
              <pc2:cmMkLst xmlns:pc2="http://schemas.microsoft.com/office/powerpoint/2019/9/main/command">
                <pc:docMk/>
                <pc:sldMk cId="1076096228" sldId="2147481883"/>
                <pc2:cmMk id="{707E228F-5D4F-4CF3-9C8B-94FC641A42B0}"/>
              </pc2:cmMkLst>
            </pc226:cmChg>
          </p:ext>
        </pc:extLst>
      </pc:sldChg>
    </pc:docChg>
  </pc:docChgLst>
  <pc:docChgLst>
    <pc:chgData name="Olha Perminova (UA)" userId="3a6a8ff4-9418-475a-a23d-87d0c5689c66" providerId="ADAL" clId="{B242C7FF-03BF-4447-BB10-06B94514047C}"/>
    <pc:docChg chg="undo custSel addSld delSld modSld replTag">
      <pc:chgData name="Olha Perminova (UA)" userId="3a6a8ff4-9418-475a-a23d-87d0c5689c66" providerId="ADAL" clId="{B242C7FF-03BF-4447-BB10-06B94514047C}" dt="2024-06-10T08:32:52.642" v="1186" actId="1076"/>
      <pc:docMkLst>
        <pc:docMk/>
      </pc:docMkLst>
      <pc:sldChg chg="addSp delSp modSp mod">
        <pc:chgData name="Olha Perminova (UA)" userId="3a6a8ff4-9418-475a-a23d-87d0c5689c66" providerId="ADAL" clId="{B242C7FF-03BF-4447-BB10-06B94514047C}" dt="2024-06-05T07:44:12.701" v="976"/>
        <pc:sldMkLst>
          <pc:docMk/>
          <pc:sldMk cId="3910420445" sldId="318"/>
        </pc:sldMkLst>
        <pc:spChg chg="del">
          <ac:chgData name="Olha Perminova (UA)" userId="3a6a8ff4-9418-475a-a23d-87d0c5689c66" providerId="ADAL" clId="{B242C7FF-03BF-4447-BB10-06B94514047C}" dt="2024-06-05T07:43:42.601" v="971" actId="478"/>
          <ac:spMkLst>
            <pc:docMk/>
            <pc:sldMk cId="3910420445" sldId="318"/>
            <ac:spMk id="2" creationId="{A292D6D7-B0A2-D116-C31E-108DB0C8DE30}"/>
          </ac:spMkLst>
        </pc:spChg>
        <pc:spChg chg="add del mod">
          <ac:chgData name="Olha Perminova (UA)" userId="3a6a8ff4-9418-475a-a23d-87d0c5689c66" providerId="ADAL" clId="{B242C7FF-03BF-4447-BB10-06B94514047C}" dt="2024-06-05T07:44:11.952" v="975" actId="478"/>
          <ac:spMkLst>
            <pc:docMk/>
            <pc:sldMk cId="3910420445" sldId="318"/>
            <ac:spMk id="8" creationId="{265A62A4-F4D0-B821-8CFA-E225F281E7E5}"/>
          </ac:spMkLst>
        </pc:spChg>
        <pc:spChg chg="add mod">
          <ac:chgData name="Olha Perminova (UA)" userId="3a6a8ff4-9418-475a-a23d-87d0c5689c66" providerId="ADAL" clId="{B242C7FF-03BF-4447-BB10-06B94514047C}" dt="2024-06-05T07:44:12.701" v="976"/>
          <ac:spMkLst>
            <pc:docMk/>
            <pc:sldMk cId="3910420445" sldId="318"/>
            <ac:spMk id="17" creationId="{693F9EAE-8F0B-929A-77B9-1CA5A84FA7A6}"/>
          </ac:spMkLst>
        </pc:spChg>
      </pc:sldChg>
      <pc:sldChg chg="modSp mod">
        <pc:chgData name="Olha Perminova (UA)" userId="3a6a8ff4-9418-475a-a23d-87d0c5689c66" providerId="ADAL" clId="{B242C7FF-03BF-4447-BB10-06B94514047C}" dt="2024-06-04T10:01:21.836" v="962" actId="20577"/>
        <pc:sldMkLst>
          <pc:docMk/>
          <pc:sldMk cId="301651023" sldId="6887"/>
        </pc:sldMkLst>
        <pc:spChg chg="mod">
          <ac:chgData name="Olha Perminova (UA)" userId="3a6a8ff4-9418-475a-a23d-87d0c5689c66" providerId="ADAL" clId="{B242C7FF-03BF-4447-BB10-06B94514047C}" dt="2024-06-04T10:00:51.492" v="958" actId="14100"/>
          <ac:spMkLst>
            <pc:docMk/>
            <pc:sldMk cId="301651023" sldId="6887"/>
            <ac:spMk id="8" creationId="{9714DF9C-D08D-B0FB-D2FA-7190468C2C79}"/>
          </ac:spMkLst>
        </pc:spChg>
        <pc:spChg chg="mod">
          <ac:chgData name="Olha Perminova (UA)" userId="3a6a8ff4-9418-475a-a23d-87d0c5689c66" providerId="ADAL" clId="{B242C7FF-03BF-4447-BB10-06B94514047C}" dt="2024-06-04T10:01:01.602" v="959" actId="14100"/>
          <ac:spMkLst>
            <pc:docMk/>
            <pc:sldMk cId="301651023" sldId="6887"/>
            <ac:spMk id="36" creationId="{0E8CC5B0-4FA5-2BE8-F743-005DF962D7C9}"/>
          </ac:spMkLst>
        </pc:spChg>
        <pc:spChg chg="mod">
          <ac:chgData name="Olha Perminova (UA)" userId="3a6a8ff4-9418-475a-a23d-87d0c5689c66" providerId="ADAL" clId="{B242C7FF-03BF-4447-BB10-06B94514047C}" dt="2024-06-04T10:01:01.602" v="959" actId="14100"/>
          <ac:spMkLst>
            <pc:docMk/>
            <pc:sldMk cId="301651023" sldId="6887"/>
            <ac:spMk id="37" creationId="{32162E6B-2E36-0CFA-B3AF-A60D2D9C580A}"/>
          </ac:spMkLst>
        </pc:spChg>
        <pc:spChg chg="mod">
          <ac:chgData name="Olha Perminova (UA)" userId="3a6a8ff4-9418-475a-a23d-87d0c5689c66" providerId="ADAL" clId="{B242C7FF-03BF-4447-BB10-06B94514047C}" dt="2024-06-04T10:01:01.602" v="959" actId="14100"/>
          <ac:spMkLst>
            <pc:docMk/>
            <pc:sldMk cId="301651023" sldId="6887"/>
            <ac:spMk id="39" creationId="{71F33C03-5033-9CBD-E45B-E91812DECF9C}"/>
          </ac:spMkLst>
        </pc:spChg>
        <pc:spChg chg="mod">
          <ac:chgData name="Olha Perminova (UA)" userId="3a6a8ff4-9418-475a-a23d-87d0c5689c66" providerId="ADAL" clId="{B242C7FF-03BF-4447-BB10-06B94514047C}" dt="2024-06-04T10:01:01.602" v="959" actId="14100"/>
          <ac:spMkLst>
            <pc:docMk/>
            <pc:sldMk cId="301651023" sldId="6887"/>
            <ac:spMk id="40" creationId="{4416A52D-7C1D-1DAF-84A8-DDC8D9A30B48}"/>
          </ac:spMkLst>
        </pc:spChg>
        <pc:spChg chg="mod">
          <ac:chgData name="Olha Perminova (UA)" userId="3a6a8ff4-9418-475a-a23d-87d0c5689c66" providerId="ADAL" clId="{B242C7FF-03BF-4447-BB10-06B94514047C}" dt="2024-06-04T10:01:01.602" v="959" actId="14100"/>
          <ac:spMkLst>
            <pc:docMk/>
            <pc:sldMk cId="301651023" sldId="6887"/>
            <ac:spMk id="42" creationId="{3D9A8B35-A1F5-CDCF-A6F7-9A79D765C66D}"/>
          </ac:spMkLst>
        </pc:spChg>
        <pc:spChg chg="mod">
          <ac:chgData name="Olha Perminova (UA)" userId="3a6a8ff4-9418-475a-a23d-87d0c5689c66" providerId="ADAL" clId="{B242C7FF-03BF-4447-BB10-06B94514047C}" dt="2024-06-04T10:01:18.214" v="961" actId="20577"/>
          <ac:spMkLst>
            <pc:docMk/>
            <pc:sldMk cId="301651023" sldId="6887"/>
            <ac:spMk id="43" creationId="{B248A7D2-F961-B7C1-6F32-6F141F3D8D30}"/>
          </ac:spMkLst>
        </pc:spChg>
        <pc:spChg chg="mod">
          <ac:chgData name="Olha Perminova (UA)" userId="3a6a8ff4-9418-475a-a23d-87d0c5689c66" providerId="ADAL" clId="{B242C7FF-03BF-4447-BB10-06B94514047C}" dt="2024-06-04T10:01:01.602" v="959" actId="14100"/>
          <ac:spMkLst>
            <pc:docMk/>
            <pc:sldMk cId="301651023" sldId="6887"/>
            <ac:spMk id="45" creationId="{FD973CC9-7E88-EA3B-D55D-552350DB11DC}"/>
          </ac:spMkLst>
        </pc:spChg>
        <pc:spChg chg="mod">
          <ac:chgData name="Olha Perminova (UA)" userId="3a6a8ff4-9418-475a-a23d-87d0c5689c66" providerId="ADAL" clId="{B242C7FF-03BF-4447-BB10-06B94514047C}" dt="2024-06-04T10:01:21.836" v="962" actId="20577"/>
          <ac:spMkLst>
            <pc:docMk/>
            <pc:sldMk cId="301651023" sldId="6887"/>
            <ac:spMk id="46" creationId="{E1B5312D-1B4F-6A17-4790-28066D72CBD0}"/>
          </ac:spMkLst>
        </pc:spChg>
        <pc:spChg chg="mod">
          <ac:chgData name="Olha Perminova (UA)" userId="3a6a8ff4-9418-475a-a23d-87d0c5689c66" providerId="ADAL" clId="{B242C7FF-03BF-4447-BB10-06B94514047C}" dt="2024-06-04T10:01:04.940" v="960" actId="14100"/>
          <ac:spMkLst>
            <pc:docMk/>
            <pc:sldMk cId="301651023" sldId="6887"/>
            <ac:spMk id="79" creationId="{4A81787E-5AC3-6613-53E6-49E6F0A57B40}"/>
          </ac:spMkLst>
        </pc:spChg>
      </pc:sldChg>
      <pc:sldChg chg="addSp delSp modSp mod">
        <pc:chgData name="Olha Perminova (UA)" userId="3a6a8ff4-9418-475a-a23d-87d0c5689c66" providerId="ADAL" clId="{B242C7FF-03BF-4447-BB10-06B94514047C}" dt="2024-06-05T07:44:19.347" v="978"/>
        <pc:sldMkLst>
          <pc:docMk/>
          <pc:sldMk cId="192098022" sldId="2147481877"/>
        </pc:sldMkLst>
        <pc:spChg chg="del mod">
          <ac:chgData name="Olha Perminova (UA)" userId="3a6a8ff4-9418-475a-a23d-87d0c5689c66" providerId="ADAL" clId="{B242C7FF-03BF-4447-BB10-06B94514047C}" dt="2024-06-05T07:44:18.702" v="977" actId="478"/>
          <ac:spMkLst>
            <pc:docMk/>
            <pc:sldMk cId="192098022" sldId="2147481877"/>
            <ac:spMk id="5" creationId="{5C78A69E-83C0-4CFE-9FA1-B152EFD9AAEE}"/>
          </ac:spMkLst>
        </pc:spChg>
        <pc:spChg chg="add mod">
          <ac:chgData name="Olha Perminova (UA)" userId="3a6a8ff4-9418-475a-a23d-87d0c5689c66" providerId="ADAL" clId="{B242C7FF-03BF-4447-BB10-06B94514047C}" dt="2024-06-05T07:44:19.347" v="978"/>
          <ac:spMkLst>
            <pc:docMk/>
            <pc:sldMk cId="192098022" sldId="2147481877"/>
            <ac:spMk id="7" creationId="{99589C5F-A268-A9F2-6268-411BE0E28F8C}"/>
          </ac:spMkLst>
        </pc:spChg>
        <pc:spChg chg="del">
          <ac:chgData name="Olha Perminova (UA)" userId="3a6a8ff4-9418-475a-a23d-87d0c5689c66" providerId="ADAL" clId="{B242C7FF-03BF-4447-BB10-06B94514047C}" dt="2024-06-04T09:27:19.594" v="0" actId="478"/>
          <ac:spMkLst>
            <pc:docMk/>
            <pc:sldMk cId="192098022" sldId="2147481877"/>
            <ac:spMk id="7" creationId="{BC65054A-3879-FD6A-5856-AC5CA0045C75}"/>
          </ac:spMkLst>
        </pc:spChg>
        <pc:picChg chg="add mod modCrop">
          <ac:chgData name="Olha Perminova (UA)" userId="3a6a8ff4-9418-475a-a23d-87d0c5689c66" providerId="ADAL" clId="{B242C7FF-03BF-4447-BB10-06B94514047C}" dt="2024-06-04T09:28:49.615" v="6" actId="18131"/>
          <ac:picMkLst>
            <pc:docMk/>
            <pc:sldMk cId="192098022" sldId="2147481877"/>
            <ac:picMk id="9" creationId="{07AB9A9E-8F8D-8F87-4358-87E23AF3C102}"/>
          </ac:picMkLst>
        </pc:picChg>
      </pc:sldChg>
      <pc:sldChg chg="modSp mod">
        <pc:chgData name="Olha Perminova (UA)" userId="3a6a8ff4-9418-475a-a23d-87d0c5689c66" providerId="ADAL" clId="{B242C7FF-03BF-4447-BB10-06B94514047C}" dt="2024-06-05T07:44:28.526" v="980" actId="20577"/>
        <pc:sldMkLst>
          <pc:docMk/>
          <pc:sldMk cId="839732171" sldId="2147481882"/>
        </pc:sldMkLst>
        <pc:spChg chg="mod">
          <ac:chgData name="Olha Perminova (UA)" userId="3a6a8ff4-9418-475a-a23d-87d0c5689c66" providerId="ADAL" clId="{B242C7FF-03BF-4447-BB10-06B94514047C}" dt="2024-06-05T07:44:28.526" v="980" actId="20577"/>
          <ac:spMkLst>
            <pc:docMk/>
            <pc:sldMk cId="839732171" sldId="2147481882"/>
            <ac:spMk id="10" creationId="{A4023E8B-2A57-59A4-3BAA-367FEF6C1A6B}"/>
          </ac:spMkLst>
        </pc:spChg>
      </pc:sldChg>
      <pc:sldChg chg="addSp delSp modSp mod">
        <pc:chgData name="Olha Perminova (UA)" userId="3a6a8ff4-9418-475a-a23d-87d0c5689c66" providerId="ADAL" clId="{B242C7FF-03BF-4447-BB10-06B94514047C}" dt="2024-06-05T07:44:07.349" v="974"/>
        <pc:sldMkLst>
          <pc:docMk/>
          <pc:sldMk cId="1076096228" sldId="2147481883"/>
        </pc:sldMkLst>
        <pc:spChg chg="add del mod">
          <ac:chgData name="Olha Perminova (UA)" userId="3a6a8ff4-9418-475a-a23d-87d0c5689c66" providerId="ADAL" clId="{B242C7FF-03BF-4447-BB10-06B94514047C}" dt="2024-06-05T07:44:06.693" v="973" actId="478"/>
          <ac:spMkLst>
            <pc:docMk/>
            <pc:sldMk cId="1076096228" sldId="2147481883"/>
            <ac:spMk id="2" creationId="{FD25F6A6-878D-886A-4159-5918226E3548}"/>
          </ac:spMkLst>
        </pc:spChg>
        <pc:spChg chg="del">
          <ac:chgData name="Olha Perminova (UA)" userId="3a6a8ff4-9418-475a-a23d-87d0c5689c66" providerId="ADAL" clId="{B242C7FF-03BF-4447-BB10-06B94514047C}" dt="2024-06-05T07:43:34.321" v="969" actId="478"/>
          <ac:spMkLst>
            <pc:docMk/>
            <pc:sldMk cId="1076096228" sldId="2147481883"/>
            <ac:spMk id="3" creationId="{F38D3739-5FBA-4E82-6EF0-6C560696B58C}"/>
          </ac:spMkLst>
        </pc:spChg>
        <pc:spChg chg="add mod">
          <ac:chgData name="Olha Perminova (UA)" userId="3a6a8ff4-9418-475a-a23d-87d0c5689c66" providerId="ADAL" clId="{B242C7FF-03BF-4447-BB10-06B94514047C}" dt="2024-06-05T07:44:07.349" v="974"/>
          <ac:spMkLst>
            <pc:docMk/>
            <pc:sldMk cId="1076096228" sldId="2147481883"/>
            <ac:spMk id="5" creationId="{77809E40-37CF-33A7-7901-D1413BC4E7D9}"/>
          </ac:spMkLst>
        </pc:spChg>
      </pc:sldChg>
      <pc:sldChg chg="modSp mod">
        <pc:chgData name="Olha Perminova (UA)" userId="3a6a8ff4-9418-475a-a23d-87d0c5689c66" providerId="ADAL" clId="{B242C7FF-03BF-4447-BB10-06B94514047C}" dt="2024-06-04T09:30:57.627" v="26" actId="14100"/>
        <pc:sldMkLst>
          <pc:docMk/>
          <pc:sldMk cId="2785126703" sldId="2147481904"/>
        </pc:sldMkLst>
        <pc:spChg chg="mod">
          <ac:chgData name="Olha Perminova (UA)" userId="3a6a8ff4-9418-475a-a23d-87d0c5689c66" providerId="ADAL" clId="{B242C7FF-03BF-4447-BB10-06B94514047C}" dt="2024-06-04T09:30:25.974" v="20" actId="14100"/>
          <ac:spMkLst>
            <pc:docMk/>
            <pc:sldMk cId="2785126703" sldId="2147481904"/>
            <ac:spMk id="2" creationId="{99EBE929-5086-509F-AD07-D08D5C033061}"/>
          </ac:spMkLst>
        </pc:spChg>
        <pc:spChg chg="mod">
          <ac:chgData name="Olha Perminova (UA)" userId="3a6a8ff4-9418-475a-a23d-87d0c5689c66" providerId="ADAL" clId="{B242C7FF-03BF-4447-BB10-06B94514047C}" dt="2024-06-04T09:30:15.815" v="19" actId="553"/>
          <ac:spMkLst>
            <pc:docMk/>
            <pc:sldMk cId="2785126703" sldId="2147481904"/>
            <ac:spMk id="5" creationId="{F2A86895-E746-0EF0-DFA0-62FD03AC488C}"/>
          </ac:spMkLst>
        </pc:spChg>
        <pc:spChg chg="mod">
          <ac:chgData name="Olha Perminova (UA)" userId="3a6a8ff4-9418-475a-a23d-87d0c5689c66" providerId="ADAL" clId="{B242C7FF-03BF-4447-BB10-06B94514047C}" dt="2024-06-04T09:30:51.585" v="25" actId="20577"/>
          <ac:spMkLst>
            <pc:docMk/>
            <pc:sldMk cId="2785126703" sldId="2147481904"/>
            <ac:spMk id="27" creationId="{2D6405CD-2499-573E-A031-A68FA08F053E}"/>
          </ac:spMkLst>
        </pc:spChg>
        <pc:spChg chg="mod">
          <ac:chgData name="Olha Perminova (UA)" userId="3a6a8ff4-9418-475a-a23d-87d0c5689c66" providerId="ADAL" clId="{B242C7FF-03BF-4447-BB10-06B94514047C}" dt="2024-06-04T09:30:15.815" v="19" actId="553"/>
          <ac:spMkLst>
            <pc:docMk/>
            <pc:sldMk cId="2785126703" sldId="2147481904"/>
            <ac:spMk id="28" creationId="{4B436DA1-5D6D-C5CA-FF35-B921088B411A}"/>
          </ac:spMkLst>
        </pc:spChg>
        <pc:cxnChg chg="mod">
          <ac:chgData name="Olha Perminova (UA)" userId="3a6a8ff4-9418-475a-a23d-87d0c5689c66" providerId="ADAL" clId="{B242C7FF-03BF-4447-BB10-06B94514047C}" dt="2024-06-04T09:30:57.627" v="26" actId="14100"/>
          <ac:cxnSpMkLst>
            <pc:docMk/>
            <pc:sldMk cId="2785126703" sldId="2147481904"/>
            <ac:cxnSpMk id="61" creationId="{8433502C-E95C-B6B5-2437-C9AAD24998E4}"/>
          </ac:cxnSpMkLst>
        </pc:cxnChg>
      </pc:sldChg>
      <pc:sldChg chg="addSp delSp modSp mod">
        <pc:chgData name="Olha Perminova (UA)" userId="3a6a8ff4-9418-475a-a23d-87d0c5689c66" providerId="ADAL" clId="{B242C7FF-03BF-4447-BB10-06B94514047C}" dt="2024-06-10T08:32:40.966" v="1185" actId="1076"/>
        <pc:sldMkLst>
          <pc:docMk/>
          <pc:sldMk cId="8764514" sldId="2147481952"/>
        </pc:sldMkLst>
        <pc:spChg chg="mod ord">
          <ac:chgData name="Olha Perminova (UA)" userId="3a6a8ff4-9418-475a-a23d-87d0c5689c66" providerId="ADAL" clId="{B242C7FF-03BF-4447-BB10-06B94514047C}" dt="2024-06-04T09:54:14.689" v="655" actId="948"/>
          <ac:spMkLst>
            <pc:docMk/>
            <pc:sldMk cId="8764514" sldId="2147481952"/>
            <ac:spMk id="2" creationId="{1299C1A8-38BE-9556-5CBE-67D0E693F9D9}"/>
          </ac:spMkLst>
        </pc:spChg>
        <pc:spChg chg="mod ord">
          <ac:chgData name="Olha Perminova (UA)" userId="3a6a8ff4-9418-475a-a23d-87d0c5689c66" providerId="ADAL" clId="{B242C7FF-03BF-4447-BB10-06B94514047C}" dt="2024-06-04T09:38:01.704" v="180"/>
          <ac:spMkLst>
            <pc:docMk/>
            <pc:sldMk cId="8764514" sldId="2147481952"/>
            <ac:spMk id="3" creationId="{8F80B32A-55E9-507D-78BC-6113B4CE3EB1}"/>
          </ac:spMkLst>
        </pc:spChg>
        <pc:spChg chg="add del mod ord">
          <ac:chgData name="Olha Perminova (UA)" userId="3a6a8ff4-9418-475a-a23d-87d0c5689c66" providerId="ADAL" clId="{B242C7FF-03BF-4447-BB10-06B94514047C}" dt="2024-06-04T09:32:32.582" v="124" actId="478"/>
          <ac:spMkLst>
            <pc:docMk/>
            <pc:sldMk cId="8764514" sldId="2147481952"/>
            <ac:spMk id="4" creationId="{044CED17-0DEE-4EF2-DBA6-CA96B5379582}"/>
          </ac:spMkLst>
        </pc:spChg>
        <pc:spChg chg="del mod ord">
          <ac:chgData name="Olha Perminova (UA)" userId="3a6a8ff4-9418-475a-a23d-87d0c5689c66" providerId="ADAL" clId="{B242C7FF-03BF-4447-BB10-06B94514047C}" dt="2024-06-04T09:37:50.895" v="168" actId="478"/>
          <ac:spMkLst>
            <pc:docMk/>
            <pc:sldMk cId="8764514" sldId="2147481952"/>
            <ac:spMk id="5" creationId="{78E2C0FC-63C3-7920-0F0A-031A1C50B2A8}"/>
          </ac:spMkLst>
        </pc:spChg>
        <pc:spChg chg="mod">
          <ac:chgData name="Olha Perminova (UA)" userId="3a6a8ff4-9418-475a-a23d-87d0c5689c66" providerId="ADAL" clId="{B242C7FF-03BF-4447-BB10-06B94514047C}" dt="2024-06-10T08:32:40.966" v="1185" actId="1076"/>
          <ac:spMkLst>
            <pc:docMk/>
            <pc:sldMk cId="8764514" sldId="2147481952"/>
            <ac:spMk id="6" creationId="{9E46D0B5-F361-0943-4454-3E5586C21CCA}"/>
          </ac:spMkLst>
        </pc:spChg>
        <pc:spChg chg="add del mod">
          <ac:chgData name="Olha Perminova (UA)" userId="3a6a8ff4-9418-475a-a23d-87d0c5689c66" providerId="ADAL" clId="{B242C7FF-03BF-4447-BB10-06B94514047C}" dt="2024-06-06T08:25:12.163" v="1172" actId="478"/>
          <ac:spMkLst>
            <pc:docMk/>
            <pc:sldMk cId="8764514" sldId="2147481952"/>
            <ac:spMk id="6" creationId="{D1DAFBCC-1953-4B35-AE50-0E70A02E7C67}"/>
          </ac:spMkLst>
        </pc:spChg>
        <pc:spChg chg="del mod ord">
          <ac:chgData name="Olha Perminova (UA)" userId="3a6a8ff4-9418-475a-a23d-87d0c5689c66" providerId="ADAL" clId="{B242C7FF-03BF-4447-BB10-06B94514047C}" dt="2024-06-04T09:32:32.582" v="124" actId="478"/>
          <ac:spMkLst>
            <pc:docMk/>
            <pc:sldMk cId="8764514" sldId="2147481952"/>
            <ac:spMk id="6" creationId="{D3EBD2C9-4A14-6860-4948-2EF442A78DA7}"/>
          </ac:spMkLst>
        </pc:spChg>
        <pc:spChg chg="del mod ord">
          <ac:chgData name="Olha Perminova (UA)" userId="3a6a8ff4-9418-475a-a23d-87d0c5689c66" providerId="ADAL" clId="{B242C7FF-03BF-4447-BB10-06B94514047C}" dt="2024-06-04T09:38:07.747" v="203" actId="478"/>
          <ac:spMkLst>
            <pc:docMk/>
            <pc:sldMk cId="8764514" sldId="2147481952"/>
            <ac:spMk id="7" creationId="{3C135BF1-68FD-E187-6474-C89224402F84}"/>
          </ac:spMkLst>
        </pc:spChg>
        <pc:spChg chg="del">
          <ac:chgData name="Olha Perminova (UA)" userId="3a6a8ff4-9418-475a-a23d-87d0c5689c66" providerId="ADAL" clId="{B242C7FF-03BF-4447-BB10-06B94514047C}" dt="2024-06-04T09:31:11.220" v="27" actId="478"/>
          <ac:spMkLst>
            <pc:docMk/>
            <pc:sldMk cId="8764514" sldId="2147481952"/>
            <ac:spMk id="8" creationId="{11C621BF-C088-E999-27EF-06E360CED235}"/>
          </ac:spMkLst>
        </pc:spChg>
        <pc:spChg chg="add del mod ord">
          <ac:chgData name="Olha Perminova (UA)" userId="3a6a8ff4-9418-475a-a23d-87d0c5689c66" providerId="ADAL" clId="{B242C7FF-03BF-4447-BB10-06B94514047C}" dt="2024-06-06T08:24:49.729" v="1167" actId="552"/>
          <ac:spMkLst>
            <pc:docMk/>
            <pc:sldMk cId="8764514" sldId="2147481952"/>
            <ac:spMk id="9" creationId="{E60771D5-36B1-5846-E0FD-EE10BA67E143}"/>
          </ac:spMkLst>
        </pc:spChg>
        <pc:spChg chg="add mod ord">
          <ac:chgData name="Olha Perminova (UA)" userId="3a6a8ff4-9418-475a-a23d-87d0c5689c66" providerId="ADAL" clId="{B242C7FF-03BF-4447-BB10-06B94514047C}" dt="2024-06-06T08:24:41.783" v="1165" actId="14100"/>
          <ac:spMkLst>
            <pc:docMk/>
            <pc:sldMk cId="8764514" sldId="2147481952"/>
            <ac:spMk id="10" creationId="{0E3AF958-70C4-357F-D986-53A75E5CF63B}"/>
          </ac:spMkLst>
        </pc:spChg>
        <pc:spChg chg="add mod ord">
          <ac:chgData name="Olha Perminova (UA)" userId="3a6a8ff4-9418-475a-a23d-87d0c5689c66" providerId="ADAL" clId="{B242C7FF-03BF-4447-BB10-06B94514047C}" dt="2024-06-04T09:54:05.587" v="624" actId="552"/>
          <ac:spMkLst>
            <pc:docMk/>
            <pc:sldMk cId="8764514" sldId="2147481952"/>
            <ac:spMk id="11" creationId="{70513DFC-D897-87EB-EF6A-D4829E31C2D1}"/>
          </ac:spMkLst>
        </pc:spChg>
        <pc:spChg chg="add mod ord">
          <ac:chgData name="Olha Perminova (UA)" userId="3a6a8ff4-9418-475a-a23d-87d0c5689c66" providerId="ADAL" clId="{B242C7FF-03BF-4447-BB10-06B94514047C}" dt="2024-06-06T08:24:49.729" v="1167" actId="552"/>
          <ac:spMkLst>
            <pc:docMk/>
            <pc:sldMk cId="8764514" sldId="2147481952"/>
            <ac:spMk id="12" creationId="{9FE544F4-5FE9-EB4A-60A5-5DB0C11FA6FA}"/>
          </ac:spMkLst>
        </pc:spChg>
        <pc:spChg chg="add del mod modVis">
          <ac:chgData name="Olha Perminova (UA)" userId="3a6a8ff4-9418-475a-a23d-87d0c5689c66" providerId="ADAL" clId="{B242C7FF-03BF-4447-BB10-06B94514047C}" dt="2024-06-04T09:32:05.878" v="101"/>
          <ac:spMkLst>
            <pc:docMk/>
            <pc:sldMk cId="8764514" sldId="2147481952"/>
            <ac:spMk id="13" creationId="{D3B4EADD-B220-1C4C-5C18-EF51E91EE33D}"/>
          </ac:spMkLst>
        </pc:spChg>
        <pc:spChg chg="mod ord">
          <ac:chgData name="Olha Perminova (UA)" userId="3a6a8ff4-9418-475a-a23d-87d0c5689c66" providerId="ADAL" clId="{B242C7FF-03BF-4447-BB10-06B94514047C}" dt="2024-06-04T09:38:01.704" v="186"/>
          <ac:spMkLst>
            <pc:docMk/>
            <pc:sldMk cId="8764514" sldId="2147481952"/>
            <ac:spMk id="14" creationId="{9FD14EA1-5F55-4208-B044-621497B14600}"/>
          </ac:spMkLst>
        </pc:spChg>
        <pc:spChg chg="mod ord">
          <ac:chgData name="Olha Perminova (UA)" userId="3a6a8ff4-9418-475a-a23d-87d0c5689c66" providerId="ADAL" clId="{B242C7FF-03BF-4447-BB10-06B94514047C}" dt="2024-06-04T09:38:01.704" v="188"/>
          <ac:spMkLst>
            <pc:docMk/>
            <pc:sldMk cId="8764514" sldId="2147481952"/>
            <ac:spMk id="15" creationId="{D94CBB10-3D88-8D99-A508-25320F8BC0AE}"/>
          </ac:spMkLst>
        </pc:spChg>
        <pc:spChg chg="mod ord">
          <ac:chgData name="Olha Perminova (UA)" userId="3a6a8ff4-9418-475a-a23d-87d0c5689c66" providerId="ADAL" clId="{B242C7FF-03BF-4447-BB10-06B94514047C}" dt="2024-06-04T09:38:01.704" v="190"/>
          <ac:spMkLst>
            <pc:docMk/>
            <pc:sldMk cId="8764514" sldId="2147481952"/>
            <ac:spMk id="16" creationId="{CA061F35-E025-EC98-466B-1A5CDADF26EF}"/>
          </ac:spMkLst>
        </pc:spChg>
        <pc:spChg chg="add del mod ord">
          <ac:chgData name="Olha Perminova (UA)" userId="3a6a8ff4-9418-475a-a23d-87d0c5689c66" providerId="ADAL" clId="{B242C7FF-03BF-4447-BB10-06B94514047C}" dt="2024-06-04T09:38:01.704" v="192"/>
          <ac:spMkLst>
            <pc:docMk/>
            <pc:sldMk cId="8764514" sldId="2147481952"/>
            <ac:spMk id="17" creationId="{7E19FA06-400B-67CA-FA4B-3971DB1E3B31}"/>
          </ac:spMkLst>
        </pc:spChg>
        <pc:spChg chg="add mod ord">
          <ac:chgData name="Olha Perminova (UA)" userId="3a6a8ff4-9418-475a-a23d-87d0c5689c66" providerId="ADAL" clId="{B242C7FF-03BF-4447-BB10-06B94514047C}" dt="2024-06-06T08:24:58.093" v="1170" actId="14100"/>
          <ac:spMkLst>
            <pc:docMk/>
            <pc:sldMk cId="8764514" sldId="2147481952"/>
            <ac:spMk id="19" creationId="{3A07BD72-5576-53C1-BD24-E93959AEEC0C}"/>
          </ac:spMkLst>
        </pc:spChg>
        <pc:spChg chg="add mod ord">
          <ac:chgData name="Olha Perminova (UA)" userId="3a6a8ff4-9418-475a-a23d-87d0c5689c66" providerId="ADAL" clId="{B242C7FF-03BF-4447-BB10-06B94514047C}" dt="2024-06-06T08:25:01.053" v="1171" actId="14100"/>
          <ac:spMkLst>
            <pc:docMk/>
            <pc:sldMk cId="8764514" sldId="2147481952"/>
            <ac:spMk id="20" creationId="{65DB62E6-BFFA-886D-687D-AC30DD6D33FB}"/>
          </ac:spMkLst>
        </pc:spChg>
        <pc:spChg chg="add del mod modVis">
          <ac:chgData name="Olha Perminova (UA)" userId="3a6a8ff4-9418-475a-a23d-87d0c5689c66" providerId="ADAL" clId="{B242C7FF-03BF-4447-BB10-06B94514047C}" dt="2024-06-04T09:54:05.210" v="621"/>
          <ac:spMkLst>
            <pc:docMk/>
            <pc:sldMk cId="8764514" sldId="2147481952"/>
            <ac:spMk id="21" creationId="{BCD87D2C-FA5A-C700-2C9A-D28D50137C9E}"/>
          </ac:spMkLst>
        </pc:spChg>
        <pc:spChg chg="add del mod modVis">
          <ac:chgData name="Olha Perminova (UA)" userId="3a6a8ff4-9418-475a-a23d-87d0c5689c66" providerId="ADAL" clId="{B242C7FF-03BF-4447-BB10-06B94514047C}" dt="2024-06-04T09:54:06.123" v="648"/>
          <ac:spMkLst>
            <pc:docMk/>
            <pc:sldMk cId="8764514" sldId="2147481952"/>
            <ac:spMk id="22" creationId="{CD79CAEE-B2DE-6CFA-BE6E-C2DA8369F234}"/>
          </ac:spMkLst>
        </pc:spChg>
        <pc:spChg chg="add del mod modVis">
          <ac:chgData name="Olha Perminova (UA)" userId="3a6a8ff4-9418-475a-a23d-87d0c5689c66" providerId="ADAL" clId="{B242C7FF-03BF-4447-BB10-06B94514047C}" dt="2024-06-04T09:54:14.717" v="678"/>
          <ac:spMkLst>
            <pc:docMk/>
            <pc:sldMk cId="8764514" sldId="2147481952"/>
            <ac:spMk id="23" creationId="{85653100-E8A3-05E9-C130-73854EC3F66E}"/>
          </ac:spMkLst>
        </pc:spChg>
        <pc:graphicFrameChg chg="add mod ord modVis replST">
          <ac:chgData name="Olha Perminova (UA)" userId="3a6a8ff4-9418-475a-a23d-87d0c5689c66" providerId="ADAL" clId="{B242C7FF-03BF-4447-BB10-06B94514047C}" dt="2024-06-04T09:54:14.717" v="680"/>
          <ac:graphicFrameMkLst>
            <pc:docMk/>
            <pc:sldMk cId="8764514" sldId="2147481952"/>
            <ac:graphicFrameMk id="18" creationId="{B17D7669-20A3-7481-8F23-CD69449C9745}"/>
          </ac:graphicFrameMkLst>
        </pc:graphicFrameChg>
      </pc:sldChg>
      <pc:sldChg chg="addSp delSp modSp mod">
        <pc:chgData name="Olha Perminova (UA)" userId="3a6a8ff4-9418-475a-a23d-87d0c5689c66" providerId="ADAL" clId="{B242C7FF-03BF-4447-BB10-06B94514047C}" dt="2024-06-04T10:00:15.904" v="914" actId="478"/>
        <pc:sldMkLst>
          <pc:docMk/>
          <pc:sldMk cId="1261692589" sldId="2147481953"/>
        </pc:sldMkLst>
        <pc:spChg chg="mod ord">
          <ac:chgData name="Olha Perminova (UA)" userId="3a6a8ff4-9418-475a-a23d-87d0c5689c66" providerId="ADAL" clId="{B242C7FF-03BF-4447-BB10-06B94514047C}" dt="2024-06-04T09:59:57.710" v="896" actId="948"/>
          <ac:spMkLst>
            <pc:docMk/>
            <pc:sldMk cId="1261692589" sldId="2147481953"/>
            <ac:spMk id="2" creationId="{1A6103D8-B23D-68A9-5B86-59618E4C749F}"/>
          </ac:spMkLst>
        </pc:spChg>
        <pc:spChg chg="mod ord">
          <ac:chgData name="Olha Perminova (UA)" userId="3a6a8ff4-9418-475a-a23d-87d0c5689c66" providerId="ADAL" clId="{B242C7FF-03BF-4447-BB10-06B94514047C}" dt="2024-06-04T09:52:40.742" v="525"/>
          <ac:spMkLst>
            <pc:docMk/>
            <pc:sldMk cId="1261692589" sldId="2147481953"/>
            <ac:spMk id="3" creationId="{3E016C9A-A74E-283F-DCE3-468564AB624D}"/>
          </ac:spMkLst>
        </pc:spChg>
        <pc:spChg chg="add mod ord">
          <ac:chgData name="Olha Perminova (UA)" userId="3a6a8ff4-9418-475a-a23d-87d0c5689c66" providerId="ADAL" clId="{B242C7FF-03BF-4447-BB10-06B94514047C}" dt="2024-06-04T09:53:48.371" v="568" actId="553"/>
          <ac:spMkLst>
            <pc:docMk/>
            <pc:sldMk cId="1261692589" sldId="2147481953"/>
            <ac:spMk id="4" creationId="{5270752D-6805-08D5-4A17-17E858268133}"/>
          </ac:spMkLst>
        </pc:spChg>
        <pc:spChg chg="add mod ord">
          <ac:chgData name="Olha Perminova (UA)" userId="3a6a8ff4-9418-475a-a23d-87d0c5689c66" providerId="ADAL" clId="{B242C7FF-03BF-4447-BB10-06B94514047C}" dt="2024-06-04T09:53:55.724" v="570" actId="552"/>
          <ac:spMkLst>
            <pc:docMk/>
            <pc:sldMk cId="1261692589" sldId="2147481953"/>
            <ac:spMk id="5" creationId="{96F1D933-B161-2303-3ABE-670BE51B9FA8}"/>
          </ac:spMkLst>
        </pc:spChg>
        <pc:spChg chg="del">
          <ac:chgData name="Olha Perminova (UA)" userId="3a6a8ff4-9418-475a-a23d-87d0c5689c66" providerId="ADAL" clId="{B242C7FF-03BF-4447-BB10-06B94514047C}" dt="2024-06-04T09:50:24.080" v="432" actId="478"/>
          <ac:spMkLst>
            <pc:docMk/>
            <pc:sldMk cId="1261692589" sldId="2147481953"/>
            <ac:spMk id="6" creationId="{2A93ECFE-047D-FE79-AC0E-1E327CF30CB5}"/>
          </ac:spMkLst>
        </pc:spChg>
        <pc:spChg chg="add mod ord">
          <ac:chgData name="Olha Perminova (UA)" userId="3a6a8ff4-9418-475a-a23d-87d0c5689c66" providerId="ADAL" clId="{B242C7FF-03BF-4447-BB10-06B94514047C}" dt="2024-06-04T09:58:07.130" v="876" actId="12789"/>
          <ac:spMkLst>
            <pc:docMk/>
            <pc:sldMk cId="1261692589" sldId="2147481953"/>
            <ac:spMk id="7" creationId="{FC9C2756-276E-3CD7-D125-F6309598F451}"/>
          </ac:spMkLst>
        </pc:spChg>
        <pc:spChg chg="del">
          <ac:chgData name="Olha Perminova (UA)" userId="3a6a8ff4-9418-475a-a23d-87d0c5689c66" providerId="ADAL" clId="{B242C7FF-03BF-4447-BB10-06B94514047C}" dt="2024-06-04T09:50:24.080" v="432" actId="478"/>
          <ac:spMkLst>
            <pc:docMk/>
            <pc:sldMk cId="1261692589" sldId="2147481953"/>
            <ac:spMk id="8" creationId="{CA0659F6-2E5A-9FEB-BFB9-89801B19FC51}"/>
          </ac:spMkLst>
        </pc:spChg>
        <pc:spChg chg="del">
          <ac:chgData name="Olha Perminova (UA)" userId="3a6a8ff4-9418-475a-a23d-87d0c5689c66" providerId="ADAL" clId="{B242C7FF-03BF-4447-BB10-06B94514047C}" dt="2024-06-04T09:50:24.080" v="432" actId="478"/>
          <ac:spMkLst>
            <pc:docMk/>
            <pc:sldMk cId="1261692589" sldId="2147481953"/>
            <ac:spMk id="9" creationId="{E70D858B-428A-ADD7-5B09-7380EC7EFD50}"/>
          </ac:spMkLst>
        </pc:spChg>
        <pc:spChg chg="del mod ord">
          <ac:chgData name="Olha Perminova (UA)" userId="3a6a8ff4-9418-475a-a23d-87d0c5689c66" providerId="ADAL" clId="{B242C7FF-03BF-4447-BB10-06B94514047C}" dt="2024-06-04T09:52:43.975" v="554" actId="478"/>
          <ac:spMkLst>
            <pc:docMk/>
            <pc:sldMk cId="1261692589" sldId="2147481953"/>
            <ac:spMk id="10" creationId="{C3D2E68C-7695-C8CF-32A8-F802E8A57B43}"/>
          </ac:spMkLst>
        </pc:spChg>
        <pc:spChg chg="add mod ord">
          <ac:chgData name="Olha Perminova (UA)" userId="3a6a8ff4-9418-475a-a23d-87d0c5689c66" providerId="ADAL" clId="{B242C7FF-03BF-4447-BB10-06B94514047C}" dt="2024-06-04T09:55:22.889" v="830" actId="1035"/>
          <ac:spMkLst>
            <pc:docMk/>
            <pc:sldMk cId="1261692589" sldId="2147481953"/>
            <ac:spMk id="11" creationId="{C46E4268-9DBB-C04E-896F-37A0A95B4601}"/>
          </ac:spMkLst>
        </pc:spChg>
        <pc:spChg chg="del mod ord">
          <ac:chgData name="Olha Perminova (UA)" userId="3a6a8ff4-9418-475a-a23d-87d0c5689c66" providerId="ADAL" clId="{B242C7FF-03BF-4447-BB10-06B94514047C}" dt="2024-06-04T09:56:00.174" v="845" actId="478"/>
          <ac:spMkLst>
            <pc:docMk/>
            <pc:sldMk cId="1261692589" sldId="2147481953"/>
            <ac:spMk id="12" creationId="{66F4610F-EE20-E0C2-F3B8-E87C3A8C009E}"/>
          </ac:spMkLst>
        </pc:spChg>
        <pc:spChg chg="del mod ord">
          <ac:chgData name="Olha Perminova (UA)" userId="3a6a8ff4-9418-475a-a23d-87d0c5689c66" providerId="ADAL" clId="{B242C7FF-03BF-4447-BB10-06B94514047C}" dt="2024-06-04T10:00:15.904" v="914" actId="478"/>
          <ac:spMkLst>
            <pc:docMk/>
            <pc:sldMk cId="1261692589" sldId="2147481953"/>
            <ac:spMk id="13" creationId="{1C2FEEA4-3DB9-8804-6107-D903A534DA74}"/>
          </ac:spMkLst>
        </pc:spChg>
        <pc:spChg chg="add del mod ord">
          <ac:chgData name="Olha Perminova (UA)" userId="3a6a8ff4-9418-475a-a23d-87d0c5689c66" providerId="ADAL" clId="{B242C7FF-03BF-4447-BB10-06B94514047C}" dt="2024-06-04T09:58:00.047" v="875" actId="478"/>
          <ac:spMkLst>
            <pc:docMk/>
            <pc:sldMk cId="1261692589" sldId="2147481953"/>
            <ac:spMk id="14" creationId="{987EC973-E5A4-F9DF-6BDE-E260991DBAFB}"/>
          </ac:spMkLst>
        </pc:spChg>
        <pc:spChg chg="add del mod modVis">
          <ac:chgData name="Olha Perminova (UA)" userId="3a6a8ff4-9418-475a-a23d-87d0c5689c66" providerId="ADAL" clId="{B242C7FF-03BF-4447-BB10-06B94514047C}" dt="2024-06-04T09:51:34.525" v="494"/>
          <ac:spMkLst>
            <pc:docMk/>
            <pc:sldMk cId="1261692589" sldId="2147481953"/>
            <ac:spMk id="15" creationId="{9FD30664-9215-FD96-CC1C-E0D8A97E8E43}"/>
          </ac:spMkLst>
        </pc:spChg>
        <pc:spChg chg="add mod ord">
          <ac:chgData name="Olha Perminova (UA)" userId="3a6a8ff4-9418-475a-a23d-87d0c5689c66" providerId="ADAL" clId="{B242C7FF-03BF-4447-BB10-06B94514047C}" dt="2024-06-04T09:59:07.437" v="894" actId="12789"/>
          <ac:spMkLst>
            <pc:docMk/>
            <pc:sldMk cId="1261692589" sldId="2147481953"/>
            <ac:spMk id="17" creationId="{A2BDBBB8-FB11-B6D7-73C9-74BD055790B7}"/>
          </ac:spMkLst>
        </pc:spChg>
        <pc:spChg chg="add mod ord">
          <ac:chgData name="Olha Perminova (UA)" userId="3a6a8ff4-9418-475a-a23d-87d0c5689c66" providerId="ADAL" clId="{B242C7FF-03BF-4447-BB10-06B94514047C}" dt="2024-06-04T09:52:40.742" v="545"/>
          <ac:spMkLst>
            <pc:docMk/>
            <pc:sldMk cId="1261692589" sldId="2147481953"/>
            <ac:spMk id="18" creationId="{6838115D-EFEA-AED5-4B28-CA55F6419EBE}"/>
          </ac:spMkLst>
        </pc:spChg>
        <pc:spChg chg="add del mod ord">
          <ac:chgData name="Olha Perminova (UA)" userId="3a6a8ff4-9418-475a-a23d-87d0c5689c66" providerId="ADAL" clId="{B242C7FF-03BF-4447-BB10-06B94514047C}" dt="2024-06-04T09:59:04.268" v="892" actId="478"/>
          <ac:spMkLst>
            <pc:docMk/>
            <pc:sldMk cId="1261692589" sldId="2147481953"/>
            <ac:spMk id="19" creationId="{4599B26C-DEF0-3D33-53BA-BEFB6E500905}"/>
          </ac:spMkLst>
        </pc:spChg>
        <pc:spChg chg="add mod ord">
          <ac:chgData name="Olha Perminova (UA)" userId="3a6a8ff4-9418-475a-a23d-87d0c5689c66" providerId="ADAL" clId="{B242C7FF-03BF-4447-BB10-06B94514047C}" dt="2024-06-04T09:55:40.402" v="841" actId="1035"/>
          <ac:spMkLst>
            <pc:docMk/>
            <pc:sldMk cId="1261692589" sldId="2147481953"/>
            <ac:spMk id="20" creationId="{BB0F0F4A-5AA2-41C2-4789-9D6F4634CD3D}"/>
          </ac:spMkLst>
        </pc:spChg>
        <pc:spChg chg="add mod ord">
          <ac:chgData name="Olha Perminova (UA)" userId="3a6a8ff4-9418-475a-a23d-87d0c5689c66" providerId="ADAL" clId="{B242C7FF-03BF-4447-BB10-06B94514047C}" dt="2024-06-04T09:55:40.402" v="841" actId="1035"/>
          <ac:spMkLst>
            <pc:docMk/>
            <pc:sldMk cId="1261692589" sldId="2147481953"/>
            <ac:spMk id="21" creationId="{F513C2EE-BD14-9D4D-F57C-E1B744071893}"/>
          </ac:spMkLst>
        </pc:spChg>
        <pc:spChg chg="add del mod">
          <ac:chgData name="Olha Perminova (UA)" userId="3a6a8ff4-9418-475a-a23d-87d0c5689c66" providerId="ADAL" clId="{B242C7FF-03BF-4447-BB10-06B94514047C}" dt="2024-06-04T10:00:13.509" v="913" actId="478"/>
          <ac:spMkLst>
            <pc:docMk/>
            <pc:sldMk cId="1261692589" sldId="2147481953"/>
            <ac:spMk id="22" creationId="{6BA8ECD5-0F8E-385B-8AF2-453B7BA9DA19}"/>
          </ac:spMkLst>
        </pc:spChg>
        <pc:spChg chg="add del mod modVis">
          <ac:chgData name="Olha Perminova (UA)" userId="3a6a8ff4-9418-475a-a23d-87d0c5689c66" providerId="ADAL" clId="{B242C7FF-03BF-4447-BB10-06B94514047C}" dt="2024-06-04T09:53:56.263" v="594"/>
          <ac:spMkLst>
            <pc:docMk/>
            <pc:sldMk cId="1261692589" sldId="2147481953"/>
            <ac:spMk id="23" creationId="{94677722-8D16-0773-3139-A0C34DB46FDD}"/>
          </ac:spMkLst>
        </pc:spChg>
        <pc:spChg chg="add del mod modVis">
          <ac:chgData name="Olha Perminova (UA)" userId="3a6a8ff4-9418-475a-a23d-87d0c5689c66" providerId="ADAL" clId="{B242C7FF-03BF-4447-BB10-06B94514047C}" dt="2024-06-04T09:54:49.924" v="816"/>
          <ac:spMkLst>
            <pc:docMk/>
            <pc:sldMk cId="1261692589" sldId="2147481953"/>
            <ac:spMk id="24" creationId="{E7724AD0-36F4-956F-703D-0F1372B4225D}"/>
          </ac:spMkLst>
        </pc:spChg>
        <pc:spChg chg="add del mod">
          <ac:chgData name="Olha Perminova (UA)" userId="3a6a8ff4-9418-475a-a23d-87d0c5689c66" providerId="ADAL" clId="{B242C7FF-03BF-4447-BB10-06B94514047C}" dt="2024-06-04T10:00:13.509" v="913" actId="478"/>
          <ac:spMkLst>
            <pc:docMk/>
            <pc:sldMk cId="1261692589" sldId="2147481953"/>
            <ac:spMk id="25" creationId="{C86F08DE-F056-9DC4-4ED9-8F57973FF8D0}"/>
          </ac:spMkLst>
        </pc:spChg>
        <pc:spChg chg="add mod">
          <ac:chgData name="Olha Perminova (UA)" userId="3a6a8ff4-9418-475a-a23d-87d0c5689c66" providerId="ADAL" clId="{B242C7FF-03BF-4447-BB10-06B94514047C}" dt="2024-06-04T10:00:03.414" v="911" actId="12789"/>
          <ac:spMkLst>
            <pc:docMk/>
            <pc:sldMk cId="1261692589" sldId="2147481953"/>
            <ac:spMk id="26" creationId="{F06C2866-0437-45D9-7622-C6CA45B1BF3D}"/>
          </ac:spMkLst>
        </pc:spChg>
        <pc:spChg chg="add mod">
          <ac:chgData name="Olha Perminova (UA)" userId="3a6a8ff4-9418-475a-a23d-87d0c5689c66" providerId="ADAL" clId="{B242C7FF-03BF-4447-BB10-06B94514047C}" dt="2024-06-04T09:56:22.124" v="857" actId="14100"/>
          <ac:spMkLst>
            <pc:docMk/>
            <pc:sldMk cId="1261692589" sldId="2147481953"/>
            <ac:spMk id="27" creationId="{AFAD9AAC-B02A-97A5-E95A-8652AF0255C0}"/>
          </ac:spMkLst>
        </pc:spChg>
        <pc:spChg chg="add mod">
          <ac:chgData name="Olha Perminova (UA)" userId="3a6a8ff4-9418-475a-a23d-87d0c5689c66" providerId="ADAL" clId="{B242C7FF-03BF-4447-BB10-06B94514047C}" dt="2024-06-04T09:59:59.454" v="909" actId="553"/>
          <ac:spMkLst>
            <pc:docMk/>
            <pc:sldMk cId="1261692589" sldId="2147481953"/>
            <ac:spMk id="28" creationId="{D51056DB-0577-BA23-535E-1C4041463F8E}"/>
          </ac:spMkLst>
        </pc:spChg>
        <pc:spChg chg="add mod">
          <ac:chgData name="Olha Perminova (UA)" userId="3a6a8ff4-9418-475a-a23d-87d0c5689c66" providerId="ADAL" clId="{B242C7FF-03BF-4447-BB10-06B94514047C}" dt="2024-06-04T09:59:07.437" v="894" actId="12789"/>
          <ac:spMkLst>
            <pc:docMk/>
            <pc:sldMk cId="1261692589" sldId="2147481953"/>
            <ac:spMk id="29" creationId="{6D3F4643-2CC9-6EA0-7693-6A21F5AC4723}"/>
          </ac:spMkLst>
        </pc:spChg>
        <pc:spChg chg="mod">
          <ac:chgData name="Olha Perminova (UA)" userId="3a6a8ff4-9418-475a-a23d-87d0c5689c66" providerId="ADAL" clId="{B242C7FF-03BF-4447-BB10-06B94514047C}" dt="2024-06-04T10:00:08.582" v="912" actId="207"/>
          <ac:spMkLst>
            <pc:docMk/>
            <pc:sldMk cId="1261692589" sldId="2147481953"/>
            <ac:spMk id="31" creationId="{C5FB9EAD-3DA9-9BBE-7C49-C2E226C1C315}"/>
          </ac:spMkLst>
        </pc:spChg>
        <pc:spChg chg="mod">
          <ac:chgData name="Olha Perminova (UA)" userId="3a6a8ff4-9418-475a-a23d-87d0c5689c66" providerId="ADAL" clId="{B242C7FF-03BF-4447-BB10-06B94514047C}" dt="2024-06-04T10:00:08.582" v="912" actId="207"/>
          <ac:spMkLst>
            <pc:docMk/>
            <pc:sldMk cId="1261692589" sldId="2147481953"/>
            <ac:spMk id="32" creationId="{22327C81-AF41-5520-561B-30694C2D1FD2}"/>
          </ac:spMkLst>
        </pc:spChg>
        <pc:grpChg chg="add mod">
          <ac:chgData name="Olha Perminova (UA)" userId="3a6a8ff4-9418-475a-a23d-87d0c5689c66" providerId="ADAL" clId="{B242C7FF-03BF-4447-BB10-06B94514047C}" dt="2024-06-04T10:00:08.582" v="912" actId="207"/>
          <ac:grpSpMkLst>
            <pc:docMk/>
            <pc:sldMk cId="1261692589" sldId="2147481953"/>
            <ac:grpSpMk id="30" creationId="{DA3DB08F-271A-12B2-3E90-F818BA93CDBE}"/>
          </ac:grpSpMkLst>
        </pc:grpChg>
        <pc:graphicFrameChg chg="add mod ord modVis replST">
          <ac:chgData name="Olha Perminova (UA)" userId="3a6a8ff4-9418-475a-a23d-87d0c5689c66" providerId="ADAL" clId="{B242C7FF-03BF-4447-BB10-06B94514047C}" dt="2024-06-04T09:59:57.726" v="908"/>
          <ac:graphicFrameMkLst>
            <pc:docMk/>
            <pc:sldMk cId="1261692589" sldId="2147481953"/>
            <ac:graphicFrameMk id="16" creationId="{C4E3E1FC-F21E-7096-D595-CEBA46159E6D}"/>
          </ac:graphicFrameMkLst>
        </pc:graphicFrameChg>
      </pc:sldChg>
      <pc:sldChg chg="del">
        <pc:chgData name="Olha Perminova (UA)" userId="3a6a8ff4-9418-475a-a23d-87d0c5689c66" providerId="ADAL" clId="{B242C7FF-03BF-4447-BB10-06B94514047C}" dt="2024-06-04T09:43:02.946" v="430" actId="2696"/>
        <pc:sldMkLst>
          <pc:docMk/>
          <pc:sldMk cId="4214794587" sldId="2147481954"/>
        </pc:sldMkLst>
      </pc:sldChg>
      <pc:sldChg chg="add del">
        <pc:chgData name="Olha Perminova (UA)" userId="3a6a8ff4-9418-475a-a23d-87d0c5689c66" providerId="ADAL" clId="{B242C7FF-03BF-4447-BB10-06B94514047C}" dt="2024-06-04T09:38:53.952" v="215" actId="2696"/>
        <pc:sldMkLst>
          <pc:docMk/>
          <pc:sldMk cId="3619168405" sldId="2147481955"/>
        </pc:sldMkLst>
      </pc:sldChg>
      <pc:sldChg chg="addSp delSp modSp add mod">
        <pc:chgData name="Olha Perminova (UA)" userId="3a6a8ff4-9418-475a-a23d-87d0c5689c66" providerId="ADAL" clId="{B242C7FF-03BF-4447-BB10-06B94514047C}" dt="2024-06-10T08:32:52.642" v="1186" actId="1076"/>
        <pc:sldMkLst>
          <pc:docMk/>
          <pc:sldMk cId="2037616446" sldId="2147481956"/>
        </pc:sldMkLst>
        <pc:spChg chg="mod ord">
          <ac:chgData name="Olha Perminova (UA)" userId="3a6a8ff4-9418-475a-a23d-87d0c5689c66" providerId="ADAL" clId="{B242C7FF-03BF-4447-BB10-06B94514047C}" dt="2024-06-05T07:46:48.973" v="1094"/>
          <ac:spMkLst>
            <pc:docMk/>
            <pc:sldMk cId="2037616446" sldId="2147481956"/>
            <ac:spMk id="2" creationId="{1299C1A8-38BE-9556-5CBE-67D0E693F9D9}"/>
          </ac:spMkLst>
        </pc:spChg>
        <pc:spChg chg="mod ord">
          <ac:chgData name="Olha Perminova (UA)" userId="3a6a8ff4-9418-475a-a23d-87d0c5689c66" providerId="ADAL" clId="{B242C7FF-03BF-4447-BB10-06B94514047C}" dt="2024-06-05T07:46:48.973" v="1092"/>
          <ac:spMkLst>
            <pc:docMk/>
            <pc:sldMk cId="2037616446" sldId="2147481956"/>
            <ac:spMk id="3" creationId="{8F80B32A-55E9-507D-78BC-6113B4CE3EB1}"/>
          </ac:spMkLst>
        </pc:spChg>
        <pc:spChg chg="add del mod modVis">
          <ac:chgData name="Olha Perminova (UA)" userId="3a6a8ff4-9418-475a-a23d-87d0c5689c66" providerId="ADAL" clId="{B242C7FF-03BF-4447-BB10-06B94514047C}" dt="2024-06-04T09:39:02.756" v="240"/>
          <ac:spMkLst>
            <pc:docMk/>
            <pc:sldMk cId="2037616446" sldId="2147481956"/>
            <ac:spMk id="4" creationId="{5BAC0172-E4CA-F40D-9568-616A551CC362}"/>
          </ac:spMkLst>
        </pc:spChg>
        <pc:spChg chg="add mod ord">
          <ac:chgData name="Olha Perminova (UA)" userId="3a6a8ff4-9418-475a-a23d-87d0c5689c66" providerId="ADAL" clId="{B242C7FF-03BF-4447-BB10-06B94514047C}" dt="2024-06-06T08:25:25.413" v="1176" actId="14100"/>
          <ac:spMkLst>
            <pc:docMk/>
            <pc:sldMk cId="2037616446" sldId="2147481956"/>
            <ac:spMk id="4" creationId="{90309381-2350-E32A-D998-0DE68AD8DA4A}"/>
          </ac:spMkLst>
        </pc:spChg>
        <pc:spChg chg="add mod ord">
          <ac:chgData name="Olha Perminova (UA)" userId="3a6a8ff4-9418-475a-a23d-87d0c5689c66" providerId="ADAL" clId="{B242C7FF-03BF-4447-BB10-06B94514047C}" dt="2024-06-05T07:46:48.973" v="1084"/>
          <ac:spMkLst>
            <pc:docMk/>
            <pc:sldMk cId="2037616446" sldId="2147481956"/>
            <ac:spMk id="5" creationId="{EB70CDAA-B400-12D0-4931-7878309E90AD}"/>
          </ac:spMkLst>
        </pc:spChg>
        <pc:spChg chg="add mod ord">
          <ac:chgData name="Olha Perminova (UA)" userId="3a6a8ff4-9418-475a-a23d-87d0c5689c66" providerId="ADAL" clId="{B242C7FF-03BF-4447-BB10-06B94514047C}" dt="2024-06-05T07:46:48.981" v="1102"/>
          <ac:spMkLst>
            <pc:docMk/>
            <pc:sldMk cId="2037616446" sldId="2147481956"/>
            <ac:spMk id="6" creationId="{976F9164-18B5-7B30-6C9E-4C5AC2AFB251}"/>
          </ac:spMkLst>
        </pc:spChg>
        <pc:spChg chg="add mod ord">
          <ac:chgData name="Olha Perminova (UA)" userId="3a6a8ff4-9418-475a-a23d-87d0c5689c66" providerId="ADAL" clId="{B242C7FF-03BF-4447-BB10-06B94514047C}" dt="2024-06-05T07:46:48.981" v="1104"/>
          <ac:spMkLst>
            <pc:docMk/>
            <pc:sldMk cId="2037616446" sldId="2147481956"/>
            <ac:spMk id="7" creationId="{95F2504B-3C54-3ABF-D5FC-BF2DA17554A4}"/>
          </ac:spMkLst>
        </pc:spChg>
        <pc:spChg chg="add mod ord">
          <ac:chgData name="Olha Perminova (UA)" userId="3a6a8ff4-9418-475a-a23d-87d0c5689c66" providerId="ADAL" clId="{B242C7FF-03BF-4447-BB10-06B94514047C}" dt="2024-06-05T07:46:48.982" v="1106"/>
          <ac:spMkLst>
            <pc:docMk/>
            <pc:sldMk cId="2037616446" sldId="2147481956"/>
            <ac:spMk id="8" creationId="{7783C402-0517-A40D-5AD3-C7B8CD89F746}"/>
          </ac:spMkLst>
        </pc:spChg>
        <pc:spChg chg="mod ord">
          <ac:chgData name="Olha Perminova (UA)" userId="3a6a8ff4-9418-475a-a23d-87d0c5689c66" providerId="ADAL" clId="{B242C7FF-03BF-4447-BB10-06B94514047C}" dt="2024-06-06T08:25:39.443" v="1181" actId="552"/>
          <ac:spMkLst>
            <pc:docMk/>
            <pc:sldMk cId="2037616446" sldId="2147481956"/>
            <ac:spMk id="9" creationId="{E60771D5-36B1-5846-E0FD-EE10BA67E143}"/>
          </ac:spMkLst>
        </pc:spChg>
        <pc:spChg chg="mod ord">
          <ac:chgData name="Olha Perminova (UA)" userId="3a6a8ff4-9418-475a-a23d-87d0c5689c66" providerId="ADAL" clId="{B242C7FF-03BF-4447-BB10-06B94514047C}" dt="2024-06-06T08:25:35.944" v="1179" actId="14100"/>
          <ac:spMkLst>
            <pc:docMk/>
            <pc:sldMk cId="2037616446" sldId="2147481956"/>
            <ac:spMk id="10" creationId="{0E3AF958-70C4-357F-D986-53A75E5CF63B}"/>
          </ac:spMkLst>
        </pc:spChg>
        <pc:spChg chg="mod ord">
          <ac:chgData name="Olha Perminova (UA)" userId="3a6a8ff4-9418-475a-a23d-87d0c5689c66" providerId="ADAL" clId="{B242C7FF-03BF-4447-BB10-06B94514047C}" dt="2024-06-05T07:46:48.973" v="1096"/>
          <ac:spMkLst>
            <pc:docMk/>
            <pc:sldMk cId="2037616446" sldId="2147481956"/>
            <ac:spMk id="11" creationId="{70513DFC-D897-87EB-EF6A-D4829E31C2D1}"/>
          </ac:spMkLst>
        </pc:spChg>
        <pc:spChg chg="mod ord">
          <ac:chgData name="Olha Perminova (UA)" userId="3a6a8ff4-9418-475a-a23d-87d0c5689c66" providerId="ADAL" clId="{B242C7FF-03BF-4447-BB10-06B94514047C}" dt="2024-06-06T08:25:39.443" v="1181" actId="552"/>
          <ac:spMkLst>
            <pc:docMk/>
            <pc:sldMk cId="2037616446" sldId="2147481956"/>
            <ac:spMk id="12" creationId="{9FE544F4-5FE9-EB4A-60A5-5DB0C11FA6FA}"/>
          </ac:spMkLst>
        </pc:spChg>
        <pc:spChg chg="add mod ord">
          <ac:chgData name="Olha Perminova (UA)" userId="3a6a8ff4-9418-475a-a23d-87d0c5689c66" providerId="ADAL" clId="{B242C7FF-03BF-4447-BB10-06B94514047C}" dt="2024-06-05T07:46:48.982" v="1108"/>
          <ac:spMkLst>
            <pc:docMk/>
            <pc:sldMk cId="2037616446" sldId="2147481956"/>
            <ac:spMk id="13" creationId="{A6BE1D1D-3F01-1DF1-B44F-6D56DDF9CE64}"/>
          </ac:spMkLst>
        </pc:spChg>
        <pc:spChg chg="mod ord">
          <ac:chgData name="Olha Perminova (UA)" userId="3a6a8ff4-9418-475a-a23d-87d0c5689c66" providerId="ADAL" clId="{B242C7FF-03BF-4447-BB10-06B94514047C}" dt="2024-06-10T08:32:52.642" v="1186" actId="1076"/>
          <ac:spMkLst>
            <pc:docMk/>
            <pc:sldMk cId="2037616446" sldId="2147481956"/>
            <ac:spMk id="14" creationId="{5B5D085A-3398-3BD7-B8AA-EE3669531778}"/>
          </ac:spMkLst>
        </pc:spChg>
        <pc:spChg chg="del">
          <ac:chgData name="Olha Perminova (UA)" userId="3a6a8ff4-9418-475a-a23d-87d0c5689c66" providerId="ADAL" clId="{B242C7FF-03BF-4447-BB10-06B94514047C}" dt="2024-06-04T09:40:59.036" v="259" actId="478"/>
          <ac:spMkLst>
            <pc:docMk/>
            <pc:sldMk cId="2037616446" sldId="2147481956"/>
            <ac:spMk id="14" creationId="{9FD14EA1-5F55-4208-B044-621497B14600}"/>
          </ac:spMkLst>
        </pc:spChg>
        <pc:spChg chg="add del mod modVis">
          <ac:chgData name="Olha Perminova (UA)" userId="3a6a8ff4-9418-475a-a23d-87d0c5689c66" providerId="ADAL" clId="{B242C7FF-03BF-4447-BB10-06B94514047C}" dt="2024-06-05T07:46:38.852" v="1042"/>
          <ac:spMkLst>
            <pc:docMk/>
            <pc:sldMk cId="2037616446" sldId="2147481956"/>
            <ac:spMk id="15" creationId="{1FC18D2D-C9E7-8DDE-3BE6-5EC10C92F3CC}"/>
          </ac:spMkLst>
        </pc:spChg>
        <pc:spChg chg="del">
          <ac:chgData name="Olha Perminova (UA)" userId="3a6a8ff4-9418-475a-a23d-87d0c5689c66" providerId="ADAL" clId="{B242C7FF-03BF-4447-BB10-06B94514047C}" dt="2024-06-04T09:40:59.036" v="259" actId="478"/>
          <ac:spMkLst>
            <pc:docMk/>
            <pc:sldMk cId="2037616446" sldId="2147481956"/>
            <ac:spMk id="15" creationId="{D94CBB10-3D88-8D99-A508-25320F8BC0AE}"/>
          </ac:spMkLst>
        </pc:spChg>
        <pc:spChg chg="del">
          <ac:chgData name="Olha Perminova (UA)" userId="3a6a8ff4-9418-475a-a23d-87d0c5689c66" providerId="ADAL" clId="{B242C7FF-03BF-4447-BB10-06B94514047C}" dt="2024-06-04T09:40:59.036" v="259" actId="478"/>
          <ac:spMkLst>
            <pc:docMk/>
            <pc:sldMk cId="2037616446" sldId="2147481956"/>
            <ac:spMk id="16" creationId="{CA061F35-E025-EC98-466B-1A5CDADF26EF}"/>
          </ac:spMkLst>
        </pc:spChg>
        <pc:spChg chg="add del mod modVis">
          <ac:chgData name="Olha Perminova (UA)" userId="3a6a8ff4-9418-475a-a23d-87d0c5689c66" providerId="ADAL" clId="{B242C7FF-03BF-4447-BB10-06B94514047C}" dt="2024-06-05T07:46:41.773" v="1076"/>
          <ac:spMkLst>
            <pc:docMk/>
            <pc:sldMk cId="2037616446" sldId="2147481956"/>
            <ac:spMk id="16" creationId="{CA1FF851-423F-AFD5-F091-B18BAB0A47CC}"/>
          </ac:spMkLst>
        </pc:spChg>
        <pc:spChg chg="add del mod">
          <ac:chgData name="Olha Perminova (UA)" userId="3a6a8ff4-9418-475a-a23d-87d0c5689c66" providerId="ADAL" clId="{B242C7FF-03BF-4447-BB10-06B94514047C}" dt="2024-06-06T08:25:41.543" v="1182" actId="478"/>
          <ac:spMkLst>
            <pc:docMk/>
            <pc:sldMk cId="2037616446" sldId="2147481956"/>
            <ac:spMk id="16" creationId="{EB8ECF6F-DD86-D478-E9ED-E51FBD77184E}"/>
          </ac:spMkLst>
        </pc:spChg>
        <pc:spChg chg="del">
          <ac:chgData name="Olha Perminova (UA)" userId="3a6a8ff4-9418-475a-a23d-87d0c5689c66" providerId="ADAL" clId="{B242C7FF-03BF-4447-BB10-06B94514047C}" dt="2024-06-04T09:40:59.036" v="259" actId="478"/>
          <ac:spMkLst>
            <pc:docMk/>
            <pc:sldMk cId="2037616446" sldId="2147481956"/>
            <ac:spMk id="17" creationId="{7E19FA06-400B-67CA-FA4B-3971DB1E3B31}"/>
          </ac:spMkLst>
        </pc:spChg>
        <pc:spChg chg="del mod ord">
          <ac:chgData name="Olha Perminova (UA)" userId="3a6a8ff4-9418-475a-a23d-87d0c5689c66" providerId="ADAL" clId="{B242C7FF-03BF-4447-BB10-06B94514047C}" dt="2024-06-05T07:46:55.285" v="1117" actId="478"/>
          <ac:spMkLst>
            <pc:docMk/>
            <pc:sldMk cId="2037616446" sldId="2147481956"/>
            <ac:spMk id="19" creationId="{3A07BD72-5576-53C1-BD24-E93959AEEC0C}"/>
          </ac:spMkLst>
        </pc:spChg>
        <pc:spChg chg="mod ord">
          <ac:chgData name="Olha Perminova (UA)" userId="3a6a8ff4-9418-475a-a23d-87d0c5689c66" providerId="ADAL" clId="{B242C7FF-03BF-4447-BB10-06B94514047C}" dt="2024-06-06T08:25:27.173" v="1177" actId="14100"/>
          <ac:spMkLst>
            <pc:docMk/>
            <pc:sldMk cId="2037616446" sldId="2147481956"/>
            <ac:spMk id="20" creationId="{65DB62E6-BFFA-886D-687D-AC30DD6D33FB}"/>
          </ac:spMkLst>
        </pc:spChg>
        <pc:spChg chg="add mod ord">
          <ac:chgData name="Olha Perminova (UA)" userId="3a6a8ff4-9418-475a-a23d-87d0c5689c66" providerId="ADAL" clId="{B242C7FF-03BF-4447-BB10-06B94514047C}" dt="2024-06-05T07:46:48.982" v="1110"/>
          <ac:spMkLst>
            <pc:docMk/>
            <pc:sldMk cId="2037616446" sldId="2147481956"/>
            <ac:spMk id="21" creationId="{1118417F-5F3E-C322-3338-E4C7A4CDB1CE}"/>
          </ac:spMkLst>
        </pc:spChg>
        <pc:spChg chg="add del mod ord">
          <ac:chgData name="Olha Perminova (UA)" userId="3a6a8ff4-9418-475a-a23d-87d0c5689c66" providerId="ADAL" clId="{B242C7FF-03BF-4447-BB10-06B94514047C}" dt="2024-06-04T09:41:31.509" v="390" actId="478"/>
          <ac:spMkLst>
            <pc:docMk/>
            <pc:sldMk cId="2037616446" sldId="2147481956"/>
            <ac:spMk id="22" creationId="{E28F36AD-827F-D83C-F7B2-C53CD0E1A9C7}"/>
          </ac:spMkLst>
        </pc:spChg>
        <pc:spChg chg="add del mod modVis">
          <ac:chgData name="Olha Perminova (UA)" userId="3a6a8ff4-9418-475a-a23d-87d0c5689c66" providerId="ADAL" clId="{B242C7FF-03BF-4447-BB10-06B94514047C}" dt="2024-06-04T09:54:20.844" v="728" actId="962"/>
          <ac:spMkLst>
            <pc:docMk/>
            <pc:sldMk cId="2037616446" sldId="2147481956"/>
            <ac:spMk id="23" creationId="{436A525B-3CD4-7B90-469B-0953523FDD57}"/>
          </ac:spMkLst>
        </pc:spChg>
        <pc:spChg chg="add del mod modVis">
          <ac:chgData name="Olha Perminova (UA)" userId="3a6a8ff4-9418-475a-a23d-87d0c5689c66" providerId="ADAL" clId="{B242C7FF-03BF-4447-BB10-06B94514047C}" dt="2024-06-04T09:54:23.982" v="758"/>
          <ac:spMkLst>
            <pc:docMk/>
            <pc:sldMk cId="2037616446" sldId="2147481956"/>
            <ac:spMk id="24" creationId="{69028A27-21FC-4DC7-A100-831C5976C926}"/>
          </ac:spMkLst>
        </pc:spChg>
        <pc:spChg chg="add del mod modVis">
          <ac:chgData name="Olha Perminova (UA)" userId="3a6a8ff4-9418-475a-a23d-87d0c5689c66" providerId="ADAL" clId="{B242C7FF-03BF-4447-BB10-06B94514047C}" dt="2024-06-04T09:54:26.823" v="786"/>
          <ac:spMkLst>
            <pc:docMk/>
            <pc:sldMk cId="2037616446" sldId="2147481956"/>
            <ac:spMk id="25" creationId="{0590A125-C002-AEC6-7DFB-EBA08D103B21}"/>
          </ac:spMkLst>
        </pc:spChg>
        <pc:graphicFrameChg chg="mod">
          <ac:chgData name="Olha Perminova (UA)" userId="3a6a8ff4-9418-475a-a23d-87d0c5689c66" providerId="ADAL" clId="{B242C7FF-03BF-4447-BB10-06B94514047C}" dt="2024-06-05T07:46:48.987" v="1116"/>
          <ac:graphicFrameMkLst>
            <pc:docMk/>
            <pc:sldMk cId="2037616446" sldId="2147481956"/>
            <ac:graphicFrameMk id="18" creationId="{B17D7669-20A3-7481-8F23-CD69449C9745}"/>
          </ac:graphicFrameMkLst>
        </pc:graphicFrameChg>
      </pc:sldChg>
      <pc:sldChg chg="addSp delSp modSp add del mod chgLayout">
        <pc:chgData name="Olha Perminova (UA)" userId="3a6a8ff4-9418-475a-a23d-87d0c5689c66" providerId="ADAL" clId="{B242C7FF-03BF-4447-BB10-06B94514047C}" dt="2024-06-04T10:00:29.924" v="955" actId="2696"/>
        <pc:sldMkLst>
          <pc:docMk/>
          <pc:sldMk cId="192270410" sldId="2147481957"/>
        </pc:sldMkLst>
        <pc:spChg chg="mod ord">
          <ac:chgData name="Olha Perminova (UA)" userId="3a6a8ff4-9418-475a-a23d-87d0c5689c66" providerId="ADAL" clId="{B242C7FF-03BF-4447-BB10-06B94514047C}" dt="2024-06-04T10:00:25.781" v="916" actId="948"/>
          <ac:spMkLst>
            <pc:docMk/>
            <pc:sldMk cId="192270410" sldId="2147481957"/>
            <ac:spMk id="2" creationId="{1A6103D8-B23D-68A9-5B86-59618E4C749F}"/>
          </ac:spMkLst>
        </pc:spChg>
        <pc:spChg chg="mod ord">
          <ac:chgData name="Olha Perminova (UA)" userId="3a6a8ff4-9418-475a-a23d-87d0c5689c66" providerId="ADAL" clId="{B242C7FF-03BF-4447-BB10-06B94514047C}" dt="2024-06-04T10:00:25.240" v="915" actId="6264"/>
          <ac:spMkLst>
            <pc:docMk/>
            <pc:sldMk cId="192270410" sldId="2147481957"/>
            <ac:spMk id="3" creationId="{3E016C9A-A74E-283F-DCE3-468564AB624D}"/>
          </ac:spMkLst>
        </pc:spChg>
        <pc:spChg chg="add del mod">
          <ac:chgData name="Olha Perminova (UA)" userId="3a6a8ff4-9418-475a-a23d-87d0c5689c66" providerId="ADAL" clId="{B242C7FF-03BF-4447-BB10-06B94514047C}" dt="2024-06-04T10:00:25.240" v="915" actId="6264"/>
          <ac:spMkLst>
            <pc:docMk/>
            <pc:sldMk cId="192270410" sldId="2147481957"/>
            <ac:spMk id="4" creationId="{80F74B9A-DABD-FED5-AF39-DA65E8E2890B}"/>
          </ac:spMkLst>
        </pc:spChg>
        <pc:spChg chg="add del mod">
          <ac:chgData name="Olha Perminova (UA)" userId="3a6a8ff4-9418-475a-a23d-87d0c5689c66" providerId="ADAL" clId="{B242C7FF-03BF-4447-BB10-06B94514047C}" dt="2024-06-04T10:00:25.240" v="915" actId="6264"/>
          <ac:spMkLst>
            <pc:docMk/>
            <pc:sldMk cId="192270410" sldId="2147481957"/>
            <ac:spMk id="5" creationId="{D2D93E66-7B77-1846-8009-BD251727BBE6}"/>
          </ac:spMkLst>
        </pc:spChg>
        <pc:spChg chg="add del mod modVis">
          <ac:chgData name="Olha Perminova (UA)" userId="3a6a8ff4-9418-475a-a23d-87d0c5689c66" providerId="ADAL" clId="{B242C7FF-03BF-4447-BB10-06B94514047C}" dt="2024-06-04T10:00:25.853" v="939"/>
          <ac:spMkLst>
            <pc:docMk/>
            <pc:sldMk cId="192270410" sldId="2147481957"/>
            <ac:spMk id="7" creationId="{AA1F8F66-74B6-4094-B375-3F521355AA0E}"/>
          </ac:spMkLst>
        </pc:spChg>
        <pc:graphicFrameChg chg="add mod ord modVis replST">
          <ac:chgData name="Olha Perminova (UA)" userId="3a6a8ff4-9418-475a-a23d-87d0c5689c66" providerId="ADAL" clId="{B242C7FF-03BF-4447-BB10-06B94514047C}" dt="2024-06-04T10:00:25.876" v="954"/>
          <ac:graphicFrameMkLst>
            <pc:docMk/>
            <pc:sldMk cId="192270410" sldId="2147481957"/>
            <ac:graphicFrameMk id="11" creationId="{5728870A-F18A-6F9D-DC34-F389241DC8F0}"/>
          </ac:graphicFrameMkLst>
        </pc:graphicFrameChg>
      </pc:sldChg>
      <pc:sldChg chg="modSp mod">
        <pc:chgData name="Olha Perminova (UA)" userId="3a6a8ff4-9418-475a-a23d-87d0c5689c66" providerId="ADAL" clId="{B242C7FF-03BF-4447-BB10-06B94514047C}" dt="2024-06-10T08:30:04.374" v="1184" actId="122"/>
        <pc:sldMkLst>
          <pc:docMk/>
          <pc:sldMk cId="329214126" sldId="2147481959"/>
        </pc:sldMkLst>
        <pc:spChg chg="mod">
          <ac:chgData name="Olha Perminova (UA)" userId="3a6a8ff4-9418-475a-a23d-87d0c5689c66" providerId="ADAL" clId="{B242C7FF-03BF-4447-BB10-06B94514047C}" dt="2024-06-10T08:30:04.374" v="1184" actId="122"/>
          <ac:spMkLst>
            <pc:docMk/>
            <pc:sldMk cId="329214126" sldId="2147481959"/>
            <ac:spMk id="10" creationId="{E7620417-CA25-4C85-685A-F9654D084E1A}"/>
          </ac:spMkLst>
        </pc:spChg>
      </pc:sldChg>
    </pc:docChg>
  </pc:docChgLst>
  <pc:docChgLst>
    <pc:chgData name="Olha Perminova (UA)" userId="3a6a8ff4-9418-475a-a23d-87d0c5689c66" providerId="ADAL" clId="{53BC5A52-8424-4628-B81B-003D4332FD6E}"/>
    <pc:docChg chg="undo custSel modSld sldOrd replTag">
      <pc:chgData name="Olha Perminova (UA)" userId="3a6a8ff4-9418-475a-a23d-87d0c5689c66" providerId="ADAL" clId="{53BC5A52-8424-4628-B81B-003D4332FD6E}" dt="2024-07-05T12:44:03.855" v="235" actId="400"/>
      <pc:docMkLst>
        <pc:docMk/>
      </pc:docMkLst>
      <pc:sldChg chg="addSp delSp modSp mod">
        <pc:chgData name="Olha Perminova (UA)" userId="3a6a8ff4-9418-475a-a23d-87d0c5689c66" providerId="ADAL" clId="{53BC5A52-8424-4628-B81B-003D4332FD6E}" dt="2024-07-05T12:40:52.906" v="172"/>
        <pc:sldMkLst>
          <pc:docMk/>
          <pc:sldMk cId="0" sldId="257"/>
        </pc:sldMkLst>
        <pc:spChg chg="del">
          <ac:chgData name="Olha Perminova (UA)" userId="3a6a8ff4-9418-475a-a23d-87d0c5689c66" providerId="ADAL" clId="{53BC5A52-8424-4628-B81B-003D4332FD6E}" dt="2024-07-05T12:40:52.071" v="171" actId="478"/>
          <ac:spMkLst>
            <pc:docMk/>
            <pc:sldMk cId="0" sldId="257"/>
            <ac:spMk id="4" creationId="{D2DC2135-6C91-C657-7AF3-7AE1A1FE4EA9}"/>
          </ac:spMkLst>
        </pc:spChg>
        <pc:spChg chg="add del mod">
          <ac:chgData name="Olha Perminova (UA)" userId="3a6a8ff4-9418-475a-a23d-87d0c5689c66" providerId="ADAL" clId="{53BC5A52-8424-4628-B81B-003D4332FD6E}" dt="2024-07-05T12:40:50.719" v="170" actId="478"/>
          <ac:spMkLst>
            <pc:docMk/>
            <pc:sldMk cId="0" sldId="257"/>
            <ac:spMk id="7" creationId="{38F4819D-8E9A-52B8-CA5B-2FB7CCF35418}"/>
          </ac:spMkLst>
        </pc:spChg>
        <pc:spChg chg="add mod">
          <ac:chgData name="Olha Perminova (UA)" userId="3a6a8ff4-9418-475a-a23d-87d0c5689c66" providerId="ADAL" clId="{53BC5A52-8424-4628-B81B-003D4332FD6E}" dt="2024-07-05T12:40:52.906" v="172"/>
          <ac:spMkLst>
            <pc:docMk/>
            <pc:sldMk cId="0" sldId="257"/>
            <ac:spMk id="12" creationId="{6E14229C-E825-CAAA-B97B-90846E3680E4}"/>
          </ac:spMkLst>
        </pc:spChg>
      </pc:sldChg>
      <pc:sldChg chg="addSp delSp modSp mod">
        <pc:chgData name="Olha Perminova (UA)" userId="3a6a8ff4-9418-475a-a23d-87d0c5689c66" providerId="ADAL" clId="{53BC5A52-8424-4628-B81B-003D4332FD6E}" dt="2024-07-05T12:36:28.585" v="61"/>
        <pc:sldMkLst>
          <pc:docMk/>
          <pc:sldMk cId="0" sldId="317"/>
        </pc:sldMkLst>
        <pc:spChg chg="del">
          <ac:chgData name="Olha Perminova (UA)" userId="3a6a8ff4-9418-475a-a23d-87d0c5689c66" providerId="ADAL" clId="{53BC5A52-8424-4628-B81B-003D4332FD6E}" dt="2024-07-05T12:36:12.595" v="59" actId="478"/>
          <ac:spMkLst>
            <pc:docMk/>
            <pc:sldMk cId="0" sldId="317"/>
            <ac:spMk id="3" creationId="{4054DBA8-7533-4104-F0C8-00FAEB2195D2}"/>
          </ac:spMkLst>
        </pc:spChg>
        <pc:spChg chg="add mod">
          <ac:chgData name="Olha Perminova (UA)" userId="3a6a8ff4-9418-475a-a23d-87d0c5689c66" providerId="ADAL" clId="{53BC5A52-8424-4628-B81B-003D4332FD6E}" dt="2024-07-05T12:36:13.042" v="60"/>
          <ac:spMkLst>
            <pc:docMk/>
            <pc:sldMk cId="0" sldId="317"/>
            <ac:spMk id="5" creationId="{63A7FE4F-29A2-7B46-5AAC-D3AB0DE1D5BC}"/>
          </ac:spMkLst>
        </pc:spChg>
        <pc:spChg chg="mod">
          <ac:chgData name="Olha Perminova (UA)" userId="3a6a8ff4-9418-475a-a23d-87d0c5689c66" providerId="ADAL" clId="{53BC5A52-8424-4628-B81B-003D4332FD6E}" dt="2024-07-05T12:36:28.585" v="61"/>
          <ac:spMkLst>
            <pc:docMk/>
            <pc:sldMk cId="0" sldId="317"/>
            <ac:spMk id="13" creationId="{5FDC8150-2678-8B85-5535-F2F0BBC12734}"/>
          </ac:spMkLst>
        </pc:spChg>
      </pc:sldChg>
      <pc:sldChg chg="addSp delSp modSp mod">
        <pc:chgData name="Olha Perminova (UA)" userId="3a6a8ff4-9418-475a-a23d-87d0c5689c66" providerId="ADAL" clId="{53BC5A52-8424-4628-B81B-003D4332FD6E}" dt="2024-07-05T12:37:41.998" v="147"/>
        <pc:sldMkLst>
          <pc:docMk/>
          <pc:sldMk cId="12612729" sldId="761"/>
        </pc:sldMkLst>
        <pc:spChg chg="del">
          <ac:chgData name="Olha Perminova (UA)" userId="3a6a8ff4-9418-475a-a23d-87d0c5689c66" providerId="ADAL" clId="{53BC5A52-8424-4628-B81B-003D4332FD6E}" dt="2024-07-05T12:37:41.564" v="146" actId="478"/>
          <ac:spMkLst>
            <pc:docMk/>
            <pc:sldMk cId="12612729" sldId="761"/>
            <ac:spMk id="2" creationId="{69E106F8-1B3E-9362-637B-7C102288BB6A}"/>
          </ac:spMkLst>
        </pc:spChg>
        <pc:spChg chg="mod">
          <ac:chgData name="Olha Perminova (UA)" userId="3a6a8ff4-9418-475a-a23d-87d0c5689c66" providerId="ADAL" clId="{53BC5A52-8424-4628-B81B-003D4332FD6E}" dt="2024-07-05T12:37:41.998" v="147"/>
          <ac:spMkLst>
            <pc:docMk/>
            <pc:sldMk cId="12612729" sldId="761"/>
            <ac:spMk id="6" creationId="{0346AD97-4111-17DB-8FD4-9CBA79989379}"/>
          </ac:spMkLst>
        </pc:spChg>
        <pc:spChg chg="mod">
          <ac:chgData name="Olha Perminova (UA)" userId="3a6a8ff4-9418-475a-a23d-87d0c5689c66" providerId="ADAL" clId="{53BC5A52-8424-4628-B81B-003D4332FD6E}" dt="2024-07-05T12:37:41.998" v="147"/>
          <ac:spMkLst>
            <pc:docMk/>
            <pc:sldMk cId="12612729" sldId="761"/>
            <ac:spMk id="7" creationId="{C97E2499-25D8-A580-E9C4-F2FD6BAB1599}"/>
          </ac:spMkLst>
        </pc:spChg>
        <pc:spChg chg="mod">
          <ac:chgData name="Olha Perminova (UA)" userId="3a6a8ff4-9418-475a-a23d-87d0c5689c66" providerId="ADAL" clId="{53BC5A52-8424-4628-B81B-003D4332FD6E}" dt="2024-07-05T12:37:41.998" v="147"/>
          <ac:spMkLst>
            <pc:docMk/>
            <pc:sldMk cId="12612729" sldId="761"/>
            <ac:spMk id="8" creationId="{066D065E-4193-9717-1072-4A5CBD2451E1}"/>
          </ac:spMkLst>
        </pc:spChg>
        <pc:spChg chg="mod">
          <ac:chgData name="Olha Perminova (UA)" userId="3a6a8ff4-9418-475a-a23d-87d0c5689c66" providerId="ADAL" clId="{53BC5A52-8424-4628-B81B-003D4332FD6E}" dt="2024-07-05T12:37:41.998" v="147"/>
          <ac:spMkLst>
            <pc:docMk/>
            <pc:sldMk cId="12612729" sldId="761"/>
            <ac:spMk id="9" creationId="{FB4A685D-730E-FF24-F03F-02D065E58EF3}"/>
          </ac:spMkLst>
        </pc:spChg>
        <pc:spChg chg="mod">
          <ac:chgData name="Olha Perminova (UA)" userId="3a6a8ff4-9418-475a-a23d-87d0c5689c66" providerId="ADAL" clId="{53BC5A52-8424-4628-B81B-003D4332FD6E}" dt="2024-07-05T12:37:41.998" v="147"/>
          <ac:spMkLst>
            <pc:docMk/>
            <pc:sldMk cId="12612729" sldId="761"/>
            <ac:spMk id="10" creationId="{E485568A-4A64-9C34-BDF5-282847D4656E}"/>
          </ac:spMkLst>
        </pc:spChg>
        <pc:spChg chg="mod">
          <ac:chgData name="Olha Perminova (UA)" userId="3a6a8ff4-9418-475a-a23d-87d0c5689c66" providerId="ADAL" clId="{53BC5A52-8424-4628-B81B-003D4332FD6E}" dt="2024-07-05T12:37:41.998" v="147"/>
          <ac:spMkLst>
            <pc:docMk/>
            <pc:sldMk cId="12612729" sldId="761"/>
            <ac:spMk id="11" creationId="{8178F228-51A2-73A6-527C-6C7C71B25CD2}"/>
          </ac:spMkLst>
        </pc:spChg>
        <pc:spChg chg="add mod">
          <ac:chgData name="Olha Perminova (UA)" userId="3a6a8ff4-9418-475a-a23d-87d0c5689c66" providerId="ADAL" clId="{53BC5A52-8424-4628-B81B-003D4332FD6E}" dt="2024-07-05T12:37:41.998" v="147"/>
          <ac:spMkLst>
            <pc:docMk/>
            <pc:sldMk cId="12612729" sldId="761"/>
            <ac:spMk id="18" creationId="{5C42046E-0E73-70A2-1F54-EDE90D8FA6DF}"/>
          </ac:spMkLst>
        </pc:spChg>
        <pc:grpChg chg="del">
          <ac:chgData name="Olha Perminova (UA)" userId="3a6a8ff4-9418-475a-a23d-87d0c5689c66" providerId="ADAL" clId="{53BC5A52-8424-4628-B81B-003D4332FD6E}" dt="2024-07-05T12:37:41.564" v="146" actId="478"/>
          <ac:grpSpMkLst>
            <pc:docMk/>
            <pc:sldMk cId="12612729" sldId="761"/>
            <ac:grpSpMk id="3" creationId="{DD56632E-A0F9-BD06-9385-50A438009C26}"/>
          </ac:grpSpMkLst>
        </pc:grpChg>
        <pc:grpChg chg="add mod">
          <ac:chgData name="Olha Perminova (UA)" userId="3a6a8ff4-9418-475a-a23d-87d0c5689c66" providerId="ADAL" clId="{53BC5A52-8424-4628-B81B-003D4332FD6E}" dt="2024-07-05T12:37:41.998" v="147"/>
          <ac:grpSpMkLst>
            <pc:docMk/>
            <pc:sldMk cId="12612729" sldId="761"/>
            <ac:grpSpMk id="5" creationId="{2693DA49-B5B8-2627-23E0-154FD13AD166}"/>
          </ac:grpSpMkLst>
        </pc:grpChg>
      </pc:sldChg>
      <pc:sldChg chg="addSp delSp modSp mod">
        <pc:chgData name="Olha Perminova (UA)" userId="3a6a8ff4-9418-475a-a23d-87d0c5689c66" providerId="ADAL" clId="{53BC5A52-8424-4628-B81B-003D4332FD6E}" dt="2024-07-05T12:37:49.720" v="151"/>
        <pc:sldMkLst>
          <pc:docMk/>
          <pc:sldMk cId="2326445928" sldId="764"/>
        </pc:sldMkLst>
        <pc:spChg chg="del">
          <ac:chgData name="Olha Perminova (UA)" userId="3a6a8ff4-9418-475a-a23d-87d0c5689c66" providerId="ADAL" clId="{53BC5A52-8424-4628-B81B-003D4332FD6E}" dt="2024-07-05T12:37:49.315" v="150" actId="478"/>
          <ac:spMkLst>
            <pc:docMk/>
            <pc:sldMk cId="2326445928" sldId="764"/>
            <ac:spMk id="2" creationId="{5E819559-CA8D-76F9-8402-D2EB38AA36E5}"/>
          </ac:spMkLst>
        </pc:spChg>
        <pc:spChg chg="mod">
          <ac:chgData name="Olha Perminova (UA)" userId="3a6a8ff4-9418-475a-a23d-87d0c5689c66" providerId="ADAL" clId="{53BC5A52-8424-4628-B81B-003D4332FD6E}" dt="2024-07-05T12:37:49.720" v="151"/>
          <ac:spMkLst>
            <pc:docMk/>
            <pc:sldMk cId="2326445928" sldId="764"/>
            <ac:spMk id="15" creationId="{F7D89F92-1585-6942-E10B-DDBE0530F725}"/>
          </ac:spMkLst>
        </pc:spChg>
        <pc:spChg chg="mod">
          <ac:chgData name="Olha Perminova (UA)" userId="3a6a8ff4-9418-475a-a23d-87d0c5689c66" providerId="ADAL" clId="{53BC5A52-8424-4628-B81B-003D4332FD6E}" dt="2024-07-05T12:37:49.720" v="151"/>
          <ac:spMkLst>
            <pc:docMk/>
            <pc:sldMk cId="2326445928" sldId="764"/>
            <ac:spMk id="16" creationId="{73476B37-31E4-C8A4-DAC1-2C12B3BC9787}"/>
          </ac:spMkLst>
        </pc:spChg>
        <pc:spChg chg="mod">
          <ac:chgData name="Olha Perminova (UA)" userId="3a6a8ff4-9418-475a-a23d-87d0c5689c66" providerId="ADAL" clId="{53BC5A52-8424-4628-B81B-003D4332FD6E}" dt="2024-07-05T12:37:49.720" v="151"/>
          <ac:spMkLst>
            <pc:docMk/>
            <pc:sldMk cId="2326445928" sldId="764"/>
            <ac:spMk id="17" creationId="{451E7583-88BA-5F51-879F-F1BBB0FAE6B9}"/>
          </ac:spMkLst>
        </pc:spChg>
        <pc:spChg chg="mod">
          <ac:chgData name="Olha Perminova (UA)" userId="3a6a8ff4-9418-475a-a23d-87d0c5689c66" providerId="ADAL" clId="{53BC5A52-8424-4628-B81B-003D4332FD6E}" dt="2024-07-05T12:37:49.720" v="151"/>
          <ac:spMkLst>
            <pc:docMk/>
            <pc:sldMk cId="2326445928" sldId="764"/>
            <ac:spMk id="18" creationId="{CE51CB38-0A23-2957-5B03-239BBFE75B3B}"/>
          </ac:spMkLst>
        </pc:spChg>
        <pc:spChg chg="mod">
          <ac:chgData name="Olha Perminova (UA)" userId="3a6a8ff4-9418-475a-a23d-87d0c5689c66" providerId="ADAL" clId="{53BC5A52-8424-4628-B81B-003D4332FD6E}" dt="2024-07-05T12:37:49.720" v="151"/>
          <ac:spMkLst>
            <pc:docMk/>
            <pc:sldMk cId="2326445928" sldId="764"/>
            <ac:spMk id="19" creationId="{D23D6EA2-8CAC-CA97-82FA-6917A397488E}"/>
          </ac:spMkLst>
        </pc:spChg>
        <pc:spChg chg="mod">
          <ac:chgData name="Olha Perminova (UA)" userId="3a6a8ff4-9418-475a-a23d-87d0c5689c66" providerId="ADAL" clId="{53BC5A52-8424-4628-B81B-003D4332FD6E}" dt="2024-07-05T12:37:49.720" v="151"/>
          <ac:spMkLst>
            <pc:docMk/>
            <pc:sldMk cId="2326445928" sldId="764"/>
            <ac:spMk id="21" creationId="{C9604616-AB4F-C8D7-408F-94D6AE4BD951}"/>
          </ac:spMkLst>
        </pc:spChg>
        <pc:spChg chg="add mod">
          <ac:chgData name="Olha Perminova (UA)" userId="3a6a8ff4-9418-475a-a23d-87d0c5689c66" providerId="ADAL" clId="{53BC5A52-8424-4628-B81B-003D4332FD6E}" dt="2024-07-05T12:37:49.720" v="151"/>
          <ac:spMkLst>
            <pc:docMk/>
            <pc:sldMk cId="2326445928" sldId="764"/>
            <ac:spMk id="25" creationId="{CA3EE79B-E8E9-CBDD-5677-C516FFF6AB53}"/>
          </ac:spMkLst>
        </pc:spChg>
        <pc:grpChg chg="del">
          <ac:chgData name="Olha Perminova (UA)" userId="3a6a8ff4-9418-475a-a23d-87d0c5689c66" providerId="ADAL" clId="{53BC5A52-8424-4628-B81B-003D4332FD6E}" dt="2024-07-05T12:37:49.315" v="150" actId="478"/>
          <ac:grpSpMkLst>
            <pc:docMk/>
            <pc:sldMk cId="2326445928" sldId="764"/>
            <ac:grpSpMk id="3" creationId="{95453953-EF40-791A-A5B2-819782F0B643}"/>
          </ac:grpSpMkLst>
        </pc:grpChg>
        <pc:grpChg chg="add mod">
          <ac:chgData name="Olha Perminova (UA)" userId="3a6a8ff4-9418-475a-a23d-87d0c5689c66" providerId="ADAL" clId="{53BC5A52-8424-4628-B81B-003D4332FD6E}" dt="2024-07-05T12:37:49.720" v="151"/>
          <ac:grpSpMkLst>
            <pc:docMk/>
            <pc:sldMk cId="2326445928" sldId="764"/>
            <ac:grpSpMk id="13" creationId="{A82D6DBE-F443-5CD9-C1C5-34324F9FBF35}"/>
          </ac:grpSpMkLst>
        </pc:grpChg>
      </pc:sldChg>
      <pc:sldChg chg="addSp delSp modSp mod">
        <pc:chgData name="Olha Perminova (UA)" userId="3a6a8ff4-9418-475a-a23d-87d0c5689c66" providerId="ADAL" clId="{53BC5A52-8424-4628-B81B-003D4332FD6E}" dt="2024-07-05T12:41:08.498" v="174"/>
        <pc:sldMkLst>
          <pc:docMk/>
          <pc:sldMk cId="4204094504" sldId="769"/>
        </pc:sldMkLst>
        <pc:spChg chg="del">
          <ac:chgData name="Olha Perminova (UA)" userId="3a6a8ff4-9418-475a-a23d-87d0c5689c66" providerId="ADAL" clId="{53BC5A52-8424-4628-B81B-003D4332FD6E}" dt="2024-07-05T12:41:08.126" v="173" actId="478"/>
          <ac:spMkLst>
            <pc:docMk/>
            <pc:sldMk cId="4204094504" sldId="769"/>
            <ac:spMk id="3" creationId="{50BE8D0B-0159-6A39-A753-7CB43C7CF41D}"/>
          </ac:spMkLst>
        </pc:spChg>
        <pc:spChg chg="mod">
          <ac:chgData name="Olha Perminova (UA)" userId="3a6a8ff4-9418-475a-a23d-87d0c5689c66" providerId="ADAL" clId="{53BC5A52-8424-4628-B81B-003D4332FD6E}" dt="2024-07-05T12:41:08.498" v="174"/>
          <ac:spMkLst>
            <pc:docMk/>
            <pc:sldMk cId="4204094504" sldId="769"/>
            <ac:spMk id="4" creationId="{AE779E6E-528F-9446-2EF2-4D04176438C5}"/>
          </ac:spMkLst>
        </pc:spChg>
        <pc:spChg chg="mod">
          <ac:chgData name="Olha Perminova (UA)" userId="3a6a8ff4-9418-475a-a23d-87d0c5689c66" providerId="ADAL" clId="{53BC5A52-8424-4628-B81B-003D4332FD6E}" dt="2024-07-05T12:41:08.498" v="174"/>
          <ac:spMkLst>
            <pc:docMk/>
            <pc:sldMk cId="4204094504" sldId="769"/>
            <ac:spMk id="6" creationId="{A7C9F093-E38A-0005-FAC1-29FA5A9C4624}"/>
          </ac:spMkLst>
        </pc:spChg>
        <pc:spChg chg="mod">
          <ac:chgData name="Olha Perminova (UA)" userId="3a6a8ff4-9418-475a-a23d-87d0c5689c66" providerId="ADAL" clId="{53BC5A52-8424-4628-B81B-003D4332FD6E}" dt="2024-07-05T12:41:08.498" v="174"/>
          <ac:spMkLst>
            <pc:docMk/>
            <pc:sldMk cId="4204094504" sldId="769"/>
            <ac:spMk id="7" creationId="{F11F63A1-2D0F-FB77-DB32-C4FA6FCEAD01}"/>
          </ac:spMkLst>
        </pc:spChg>
        <pc:spChg chg="mod">
          <ac:chgData name="Olha Perminova (UA)" userId="3a6a8ff4-9418-475a-a23d-87d0c5689c66" providerId="ADAL" clId="{53BC5A52-8424-4628-B81B-003D4332FD6E}" dt="2024-07-05T12:41:08.498" v="174"/>
          <ac:spMkLst>
            <pc:docMk/>
            <pc:sldMk cId="4204094504" sldId="769"/>
            <ac:spMk id="8" creationId="{C1FE825C-AD41-3676-9324-46588782EB1F}"/>
          </ac:spMkLst>
        </pc:spChg>
        <pc:spChg chg="mod">
          <ac:chgData name="Olha Perminova (UA)" userId="3a6a8ff4-9418-475a-a23d-87d0c5689c66" providerId="ADAL" clId="{53BC5A52-8424-4628-B81B-003D4332FD6E}" dt="2024-07-05T12:41:08.498" v="174"/>
          <ac:spMkLst>
            <pc:docMk/>
            <pc:sldMk cId="4204094504" sldId="769"/>
            <ac:spMk id="9" creationId="{52E8D7C4-A149-2FF4-FFD1-E8E86310E6AA}"/>
          </ac:spMkLst>
        </pc:spChg>
        <pc:spChg chg="mod">
          <ac:chgData name="Olha Perminova (UA)" userId="3a6a8ff4-9418-475a-a23d-87d0c5689c66" providerId="ADAL" clId="{53BC5A52-8424-4628-B81B-003D4332FD6E}" dt="2024-07-05T12:41:08.498" v="174"/>
          <ac:spMkLst>
            <pc:docMk/>
            <pc:sldMk cId="4204094504" sldId="769"/>
            <ac:spMk id="10" creationId="{17016688-02FB-AF7F-DD1F-9463E917133C}"/>
          </ac:spMkLst>
        </pc:spChg>
        <pc:spChg chg="add mod">
          <ac:chgData name="Olha Perminova (UA)" userId="3a6a8ff4-9418-475a-a23d-87d0c5689c66" providerId="ADAL" clId="{53BC5A52-8424-4628-B81B-003D4332FD6E}" dt="2024-07-05T12:41:08.498" v="174"/>
          <ac:spMkLst>
            <pc:docMk/>
            <pc:sldMk cId="4204094504" sldId="769"/>
            <ac:spMk id="11" creationId="{FDA13C79-73E5-1419-8878-A53642FC4216}"/>
          </ac:spMkLst>
        </pc:spChg>
        <pc:grpChg chg="add mod">
          <ac:chgData name="Olha Perminova (UA)" userId="3a6a8ff4-9418-475a-a23d-87d0c5689c66" providerId="ADAL" clId="{53BC5A52-8424-4628-B81B-003D4332FD6E}" dt="2024-07-05T12:41:08.498" v="174"/>
          <ac:grpSpMkLst>
            <pc:docMk/>
            <pc:sldMk cId="4204094504" sldId="769"/>
            <ac:grpSpMk id="2" creationId="{987B2D43-A164-4214-2A70-9BA216228796}"/>
          </ac:grpSpMkLst>
        </pc:grpChg>
        <pc:grpChg chg="del">
          <ac:chgData name="Olha Perminova (UA)" userId="3a6a8ff4-9418-475a-a23d-87d0c5689c66" providerId="ADAL" clId="{53BC5A52-8424-4628-B81B-003D4332FD6E}" dt="2024-07-05T12:41:08.126" v="173" actId="478"/>
          <ac:grpSpMkLst>
            <pc:docMk/>
            <pc:sldMk cId="4204094504" sldId="769"/>
            <ac:grpSpMk id="26" creationId="{8EB6E735-FE8B-C38E-E5EF-AE6C75ACC517}"/>
          </ac:grpSpMkLst>
        </pc:grpChg>
      </pc:sldChg>
      <pc:sldChg chg="addSp delSp modSp mod">
        <pc:chgData name="Olha Perminova (UA)" userId="3a6a8ff4-9418-475a-a23d-87d0c5689c66" providerId="ADAL" clId="{53BC5A52-8424-4628-B81B-003D4332FD6E}" dt="2024-07-05T12:43:33.795" v="232" actId="400"/>
        <pc:sldMkLst>
          <pc:docMk/>
          <pc:sldMk cId="301651023" sldId="6887"/>
        </pc:sldMkLst>
        <pc:spChg chg="mod">
          <ac:chgData name="Olha Perminova (UA)" userId="3a6a8ff4-9418-475a-a23d-87d0c5689c66" providerId="ADAL" clId="{53BC5A52-8424-4628-B81B-003D4332FD6E}" dt="2024-07-05T12:43:33.795" v="232" actId="400"/>
          <ac:spMkLst>
            <pc:docMk/>
            <pc:sldMk cId="301651023" sldId="6887"/>
            <ac:spMk id="2" creationId="{85DD028A-1CFD-4154-DE6A-E3B3A0854CCD}"/>
          </ac:spMkLst>
        </pc:spChg>
        <pc:spChg chg="mod">
          <ac:chgData name="Olha Perminova (UA)" userId="3a6a8ff4-9418-475a-a23d-87d0c5689c66" providerId="ADAL" clId="{53BC5A52-8424-4628-B81B-003D4332FD6E}" dt="2024-07-05T12:42:51.245" v="211" actId="948"/>
          <ac:spMkLst>
            <pc:docMk/>
            <pc:sldMk cId="301651023" sldId="6887"/>
            <ac:spMk id="7" creationId="{39A2BCF4-A012-B3B7-B096-6BC32E5F8F1C}"/>
          </ac:spMkLst>
        </pc:spChg>
        <pc:spChg chg="mod">
          <ac:chgData name="Olha Perminova (UA)" userId="3a6a8ff4-9418-475a-a23d-87d0c5689c66" providerId="ADAL" clId="{53BC5A52-8424-4628-B81B-003D4332FD6E}" dt="2024-07-05T12:42:23.200" v="191" actId="554"/>
          <ac:spMkLst>
            <pc:docMk/>
            <pc:sldMk cId="301651023" sldId="6887"/>
            <ac:spMk id="8" creationId="{9714DF9C-D08D-B0FB-D2FA-7190468C2C79}"/>
          </ac:spMkLst>
        </pc:spChg>
        <pc:spChg chg="mod">
          <ac:chgData name="Olha Perminova (UA)" userId="3a6a8ff4-9418-475a-a23d-87d0c5689c66" providerId="ADAL" clId="{53BC5A52-8424-4628-B81B-003D4332FD6E}" dt="2024-07-05T12:42:17.425" v="190" actId="554"/>
          <ac:spMkLst>
            <pc:docMk/>
            <pc:sldMk cId="301651023" sldId="6887"/>
            <ac:spMk id="14" creationId="{7B305E7B-403F-80F3-6F83-74CB68DC6B17}"/>
          </ac:spMkLst>
        </pc:spChg>
        <pc:spChg chg="mod">
          <ac:chgData name="Olha Perminova (UA)" userId="3a6a8ff4-9418-475a-a23d-87d0c5689c66" providerId="ADAL" clId="{53BC5A52-8424-4628-B81B-003D4332FD6E}" dt="2024-07-05T12:43:15.407" v="218" actId="552"/>
          <ac:spMkLst>
            <pc:docMk/>
            <pc:sldMk cId="301651023" sldId="6887"/>
            <ac:spMk id="15" creationId="{78EF67C5-9D8B-DE8D-5FDF-D5F991680E96}"/>
          </ac:spMkLst>
        </pc:spChg>
        <pc:spChg chg="mod">
          <ac:chgData name="Olha Perminova (UA)" userId="3a6a8ff4-9418-475a-a23d-87d0c5689c66" providerId="ADAL" clId="{53BC5A52-8424-4628-B81B-003D4332FD6E}" dt="2024-07-05T12:43:15.407" v="218" actId="552"/>
          <ac:spMkLst>
            <pc:docMk/>
            <pc:sldMk cId="301651023" sldId="6887"/>
            <ac:spMk id="25" creationId="{7E5F78A1-C54A-50B0-C78C-EC04E6CA6075}"/>
          </ac:spMkLst>
        </pc:spChg>
        <pc:spChg chg="del">
          <ac:chgData name="Olha Perminova (UA)" userId="3a6a8ff4-9418-475a-a23d-87d0c5689c66" providerId="ADAL" clId="{53BC5A52-8424-4628-B81B-003D4332FD6E}" dt="2024-07-05T12:41:29.177" v="181" actId="478"/>
          <ac:spMkLst>
            <pc:docMk/>
            <pc:sldMk cId="301651023" sldId="6887"/>
            <ac:spMk id="26" creationId="{E90EBED5-0119-63B5-8ADA-A782F80BE09D}"/>
          </ac:spMkLst>
        </pc:spChg>
        <pc:spChg chg="mod">
          <ac:chgData name="Olha Perminova (UA)" userId="3a6a8ff4-9418-475a-a23d-87d0c5689c66" providerId="ADAL" clId="{53BC5A52-8424-4628-B81B-003D4332FD6E}" dt="2024-07-05T12:41:29.670" v="182"/>
          <ac:spMkLst>
            <pc:docMk/>
            <pc:sldMk cId="301651023" sldId="6887"/>
            <ac:spMk id="27" creationId="{8AE9DCBC-2270-4881-700F-55B9B128700A}"/>
          </ac:spMkLst>
        </pc:spChg>
        <pc:spChg chg="mod">
          <ac:chgData name="Olha Perminova (UA)" userId="3a6a8ff4-9418-475a-a23d-87d0c5689c66" providerId="ADAL" clId="{53BC5A52-8424-4628-B81B-003D4332FD6E}" dt="2024-07-05T12:41:29.670" v="182"/>
          <ac:spMkLst>
            <pc:docMk/>
            <pc:sldMk cId="301651023" sldId="6887"/>
            <ac:spMk id="28" creationId="{A51DA6DC-00AB-3695-EB66-A621C0350BA8}"/>
          </ac:spMkLst>
        </pc:spChg>
        <pc:spChg chg="mod">
          <ac:chgData name="Olha Perminova (UA)" userId="3a6a8ff4-9418-475a-a23d-87d0c5689c66" providerId="ADAL" clId="{53BC5A52-8424-4628-B81B-003D4332FD6E}" dt="2024-07-05T12:41:29.670" v="182"/>
          <ac:spMkLst>
            <pc:docMk/>
            <pc:sldMk cId="301651023" sldId="6887"/>
            <ac:spMk id="30" creationId="{669780D2-27D0-F856-D93C-8E37B4537A46}"/>
          </ac:spMkLst>
        </pc:spChg>
        <pc:spChg chg="mod">
          <ac:chgData name="Olha Perminova (UA)" userId="3a6a8ff4-9418-475a-a23d-87d0c5689c66" providerId="ADAL" clId="{53BC5A52-8424-4628-B81B-003D4332FD6E}" dt="2024-07-05T12:41:29.670" v="182"/>
          <ac:spMkLst>
            <pc:docMk/>
            <pc:sldMk cId="301651023" sldId="6887"/>
            <ac:spMk id="32" creationId="{4A79A0F4-4741-8EC6-21DD-8A636E8E62C2}"/>
          </ac:spMkLst>
        </pc:spChg>
        <pc:spChg chg="mod">
          <ac:chgData name="Olha Perminova (UA)" userId="3a6a8ff4-9418-475a-a23d-87d0c5689c66" providerId="ADAL" clId="{53BC5A52-8424-4628-B81B-003D4332FD6E}" dt="2024-07-05T12:41:29.670" v="182"/>
          <ac:spMkLst>
            <pc:docMk/>
            <pc:sldMk cId="301651023" sldId="6887"/>
            <ac:spMk id="35" creationId="{D149882D-D7C8-22E9-9512-0D46CB70F058}"/>
          </ac:spMkLst>
        </pc:spChg>
        <pc:spChg chg="mod">
          <ac:chgData name="Olha Perminova (UA)" userId="3a6a8ff4-9418-475a-a23d-87d0c5689c66" providerId="ADAL" clId="{53BC5A52-8424-4628-B81B-003D4332FD6E}" dt="2024-07-05T12:41:29.670" v="182"/>
          <ac:spMkLst>
            <pc:docMk/>
            <pc:sldMk cId="301651023" sldId="6887"/>
            <ac:spMk id="38" creationId="{389FF32B-62AE-249A-5EA4-86F1852CF4A6}"/>
          </ac:spMkLst>
        </pc:spChg>
        <pc:spChg chg="add mod">
          <ac:chgData name="Olha Perminova (UA)" userId="3a6a8ff4-9418-475a-a23d-87d0c5689c66" providerId="ADAL" clId="{53BC5A52-8424-4628-B81B-003D4332FD6E}" dt="2024-07-05T12:41:29.670" v="182"/>
          <ac:spMkLst>
            <pc:docMk/>
            <pc:sldMk cId="301651023" sldId="6887"/>
            <ac:spMk id="41" creationId="{7F51333A-570F-899F-A62F-A1F7C6B1390B}"/>
          </ac:spMkLst>
        </pc:spChg>
        <pc:spChg chg="add del mod">
          <ac:chgData name="Olha Perminova (UA)" userId="3a6a8ff4-9418-475a-a23d-87d0c5689c66" providerId="ADAL" clId="{53BC5A52-8424-4628-B81B-003D4332FD6E}" dt="2024-07-05T12:42:14.170" v="189" actId="478"/>
          <ac:spMkLst>
            <pc:docMk/>
            <pc:sldMk cId="301651023" sldId="6887"/>
            <ac:spMk id="44" creationId="{CC3389C2-392D-0688-74B6-6E7EF8DD41C7}"/>
          </ac:spMkLst>
        </pc:spChg>
        <pc:spChg chg="mod">
          <ac:chgData name="Olha Perminova (UA)" userId="3a6a8ff4-9418-475a-a23d-87d0c5689c66" providerId="ADAL" clId="{53BC5A52-8424-4628-B81B-003D4332FD6E}" dt="2024-07-05T12:43:07.835" v="217" actId="554"/>
          <ac:spMkLst>
            <pc:docMk/>
            <pc:sldMk cId="301651023" sldId="6887"/>
            <ac:spMk id="49" creationId="{FC4B741B-2210-6530-619A-B168E7439628}"/>
          </ac:spMkLst>
        </pc:spChg>
        <pc:spChg chg="mod">
          <ac:chgData name="Olha Perminova (UA)" userId="3a6a8ff4-9418-475a-a23d-87d0c5689c66" providerId="ADAL" clId="{53BC5A52-8424-4628-B81B-003D4332FD6E}" dt="2024-07-05T12:43:03.297" v="216" actId="554"/>
          <ac:spMkLst>
            <pc:docMk/>
            <pc:sldMk cId="301651023" sldId="6887"/>
            <ac:spMk id="57" creationId="{04CBD17C-1CBD-4BBD-9C60-EB0200D42275}"/>
          </ac:spMkLst>
        </pc:spChg>
        <pc:spChg chg="mod">
          <ac:chgData name="Olha Perminova (UA)" userId="3a6a8ff4-9418-475a-a23d-87d0c5689c66" providerId="ADAL" clId="{53BC5A52-8424-4628-B81B-003D4332FD6E}" dt="2024-07-05T12:42:48.547" v="192" actId="554"/>
          <ac:spMkLst>
            <pc:docMk/>
            <pc:sldMk cId="301651023" sldId="6887"/>
            <ac:spMk id="63" creationId="{361A3FCC-9B97-5E0E-E074-414EEDBE255D}"/>
          </ac:spMkLst>
        </pc:spChg>
        <pc:spChg chg="mod">
          <ac:chgData name="Olha Perminova (UA)" userId="3a6a8ff4-9418-475a-a23d-87d0c5689c66" providerId="ADAL" clId="{53BC5A52-8424-4628-B81B-003D4332FD6E}" dt="2024-07-05T12:43:07.835" v="217" actId="554"/>
          <ac:spMkLst>
            <pc:docMk/>
            <pc:sldMk cId="301651023" sldId="6887"/>
            <ac:spMk id="71" creationId="{6F9B345C-A2B7-D774-AC43-B7970F38456E}"/>
          </ac:spMkLst>
        </pc:spChg>
        <pc:spChg chg="mod">
          <ac:chgData name="Olha Perminova (UA)" userId="3a6a8ff4-9418-475a-a23d-87d0c5689c66" providerId="ADAL" clId="{53BC5A52-8424-4628-B81B-003D4332FD6E}" dt="2024-07-05T12:43:03.297" v="216" actId="554"/>
          <ac:spMkLst>
            <pc:docMk/>
            <pc:sldMk cId="301651023" sldId="6887"/>
            <ac:spMk id="72" creationId="{090235C5-8ECF-7D19-C2F5-24EE8DE914F1}"/>
          </ac:spMkLst>
        </pc:spChg>
        <pc:spChg chg="mod">
          <ac:chgData name="Olha Perminova (UA)" userId="3a6a8ff4-9418-475a-a23d-87d0c5689c66" providerId="ADAL" clId="{53BC5A52-8424-4628-B81B-003D4332FD6E}" dt="2024-07-05T12:43:07.835" v="217" actId="554"/>
          <ac:spMkLst>
            <pc:docMk/>
            <pc:sldMk cId="301651023" sldId="6887"/>
            <ac:spMk id="73" creationId="{9C68CBB0-CF71-B2A5-D79C-AC689A0C74FB}"/>
          </ac:spMkLst>
        </pc:spChg>
        <pc:spChg chg="mod">
          <ac:chgData name="Olha Perminova (UA)" userId="3a6a8ff4-9418-475a-a23d-87d0c5689c66" providerId="ADAL" clId="{53BC5A52-8424-4628-B81B-003D4332FD6E}" dt="2024-07-05T12:43:03.297" v="216" actId="554"/>
          <ac:spMkLst>
            <pc:docMk/>
            <pc:sldMk cId="301651023" sldId="6887"/>
            <ac:spMk id="74" creationId="{37E92157-3265-D2DA-B2B2-F593C370D1E7}"/>
          </ac:spMkLst>
        </pc:spChg>
        <pc:spChg chg="mod">
          <ac:chgData name="Olha Perminova (UA)" userId="3a6a8ff4-9418-475a-a23d-87d0c5689c66" providerId="ADAL" clId="{53BC5A52-8424-4628-B81B-003D4332FD6E}" dt="2024-07-05T12:42:48.547" v="192" actId="554"/>
          <ac:spMkLst>
            <pc:docMk/>
            <pc:sldMk cId="301651023" sldId="6887"/>
            <ac:spMk id="79" creationId="{4A81787E-5AC3-6613-53E6-49E6F0A57B40}"/>
          </ac:spMkLst>
        </pc:spChg>
        <pc:spChg chg="mod">
          <ac:chgData name="Olha Perminova (UA)" userId="3a6a8ff4-9418-475a-a23d-87d0c5689c66" providerId="ADAL" clId="{53BC5A52-8424-4628-B81B-003D4332FD6E}" dt="2024-07-05T12:42:23.200" v="191" actId="554"/>
          <ac:spMkLst>
            <pc:docMk/>
            <pc:sldMk cId="301651023" sldId="6887"/>
            <ac:spMk id="87" creationId="{0305232F-9841-2B71-6A7A-C468BABA8396}"/>
          </ac:spMkLst>
        </pc:spChg>
        <pc:grpChg chg="add mod">
          <ac:chgData name="Olha Perminova (UA)" userId="3a6a8ff4-9418-475a-a23d-87d0c5689c66" providerId="ADAL" clId="{53BC5A52-8424-4628-B81B-003D4332FD6E}" dt="2024-07-05T12:41:29.670" v="182"/>
          <ac:grpSpMkLst>
            <pc:docMk/>
            <pc:sldMk cId="301651023" sldId="6887"/>
            <ac:grpSpMk id="20" creationId="{C05572C5-75D2-A7A2-226A-88B5DC22778E}"/>
          </ac:grpSpMkLst>
        </pc:grpChg>
        <pc:grpChg chg="del">
          <ac:chgData name="Olha Perminova (UA)" userId="3a6a8ff4-9418-475a-a23d-87d0c5689c66" providerId="ADAL" clId="{53BC5A52-8424-4628-B81B-003D4332FD6E}" dt="2024-07-05T12:41:29.177" v="181" actId="478"/>
          <ac:grpSpMkLst>
            <pc:docMk/>
            <pc:sldMk cId="301651023" sldId="6887"/>
            <ac:grpSpMk id="21" creationId="{48E6EDED-8E66-2FFC-11D6-96BE03DF74A5}"/>
          </ac:grpSpMkLst>
        </pc:grpChg>
        <pc:graphicFrameChg chg="add mod ord modVis replST">
          <ac:chgData name="Olha Perminova (UA)" userId="3a6a8ff4-9418-475a-a23d-87d0c5689c66" providerId="ADAL" clId="{53BC5A52-8424-4628-B81B-003D4332FD6E}" dt="2024-07-05T12:42:51.591" v="215"/>
          <ac:graphicFrameMkLst>
            <pc:docMk/>
            <pc:sldMk cId="301651023" sldId="6887"/>
            <ac:graphicFrameMk id="66" creationId="{87EF67C0-7330-616E-8FCD-B17893860951}"/>
          </ac:graphicFrameMkLst>
        </pc:graphicFrameChg>
      </pc:sldChg>
      <pc:sldChg chg="addSp delSp modSp mod modCm">
        <pc:chgData name="Olha Perminova (UA)" userId="3a6a8ff4-9418-475a-a23d-87d0c5689c66" providerId="ADAL" clId="{53BC5A52-8424-4628-B81B-003D4332FD6E}" dt="2024-07-05T12:32:01.460" v="22"/>
        <pc:sldMkLst>
          <pc:docMk/>
          <pc:sldMk cId="192098022" sldId="2147481877"/>
        </pc:sldMkLst>
        <pc:spChg chg="add mod">
          <ac:chgData name="Olha Perminova (UA)" userId="3a6a8ff4-9418-475a-a23d-87d0c5689c66" providerId="ADAL" clId="{53BC5A52-8424-4628-B81B-003D4332FD6E}" dt="2024-07-05T12:32:01.460" v="22"/>
          <ac:spMkLst>
            <pc:docMk/>
            <pc:sldMk cId="192098022" sldId="2147481877"/>
            <ac:spMk id="4" creationId="{E3DC18C2-2997-9ABE-5ED0-6D8C4B0749E2}"/>
          </ac:spMkLst>
        </pc:spChg>
        <pc:spChg chg="del">
          <ac:chgData name="Olha Perminova (UA)" userId="3a6a8ff4-9418-475a-a23d-87d0c5689c66" providerId="ADAL" clId="{53BC5A52-8424-4628-B81B-003D4332FD6E}" dt="2024-07-05T12:32:00.752" v="20" actId="478"/>
          <ac:spMkLst>
            <pc:docMk/>
            <pc:sldMk cId="192098022" sldId="2147481877"/>
            <ac:spMk id="7" creationId="{99589C5F-A268-A9F2-6268-411BE0E28F8C}"/>
          </ac:spMkLst>
        </pc:spChg>
        <pc:extLst>
          <p:ext xmlns:p="http://schemas.openxmlformats.org/presentationml/2006/main" uri="{D6D511B9-2390-475A-947B-AFAB55BFBCF1}">
            <pc226:cmChg xmlns:pc226="http://schemas.microsoft.com/office/powerpoint/2022/06/main/command" chg="mod">
              <pc226:chgData name="Olha Perminova (UA)" userId="3a6a8ff4-9418-475a-a23d-87d0c5689c66" providerId="ADAL" clId="{53BC5A52-8424-4628-B81B-003D4332FD6E}" dt="2024-07-05T12:32:00.788" v="21" actId="2056"/>
              <pc2:cmMkLst xmlns:pc2="http://schemas.microsoft.com/office/powerpoint/2019/9/main/command">
                <pc:docMk/>
                <pc:sldMk cId="192098022" sldId="2147481877"/>
                <pc2:cmMk id="{DB80AEB0-4760-48DC-A259-CC3133760D6B}"/>
              </pc2:cmMkLst>
            </pc226:cmChg>
          </p:ext>
        </pc:extLst>
      </pc:sldChg>
      <pc:sldChg chg="modSp mod ord">
        <pc:chgData name="Olha Perminova (UA)" userId="3a6a8ff4-9418-475a-a23d-87d0c5689c66" providerId="ADAL" clId="{53BC5A52-8424-4628-B81B-003D4332FD6E}" dt="2024-07-05T12:44:03.855" v="235" actId="400"/>
        <pc:sldMkLst>
          <pc:docMk/>
          <pc:sldMk cId="839732171" sldId="2147481882"/>
        </pc:sldMkLst>
        <pc:spChg chg="mod">
          <ac:chgData name="Olha Perminova (UA)" userId="3a6a8ff4-9418-475a-a23d-87d0c5689c66" providerId="ADAL" clId="{53BC5A52-8424-4628-B81B-003D4332FD6E}" dt="2024-07-05T12:30:08.723" v="6" actId="14100"/>
          <ac:spMkLst>
            <pc:docMk/>
            <pc:sldMk cId="839732171" sldId="2147481882"/>
            <ac:spMk id="5" creationId="{7E4ED79F-2C53-B555-2F4D-21E619D1E11A}"/>
          </ac:spMkLst>
        </pc:spChg>
        <pc:spChg chg="mod">
          <ac:chgData name="Olha Perminova (UA)" userId="3a6a8ff4-9418-475a-a23d-87d0c5689c66" providerId="ADAL" clId="{53BC5A52-8424-4628-B81B-003D4332FD6E}" dt="2024-07-05T12:44:03.855" v="235" actId="400"/>
          <ac:spMkLst>
            <pc:docMk/>
            <pc:sldMk cId="839732171" sldId="2147481882"/>
            <ac:spMk id="7" creationId="{A888C8B2-08EF-AD1A-331D-84B1819E13EE}"/>
          </ac:spMkLst>
        </pc:spChg>
      </pc:sldChg>
      <pc:sldChg chg="addSp delSp modSp mod">
        <pc:chgData name="Olha Perminova (UA)" userId="3a6a8ff4-9418-475a-a23d-87d0c5689c66" providerId="ADAL" clId="{53BC5A52-8424-4628-B81B-003D4332FD6E}" dt="2024-07-05T12:32:05.933" v="24"/>
        <pc:sldMkLst>
          <pc:docMk/>
          <pc:sldMk cId="1076096228" sldId="2147481883"/>
        </pc:sldMkLst>
        <pc:spChg chg="add mod">
          <ac:chgData name="Olha Perminova (UA)" userId="3a6a8ff4-9418-475a-a23d-87d0c5689c66" providerId="ADAL" clId="{53BC5A52-8424-4628-B81B-003D4332FD6E}" dt="2024-07-05T12:32:05.933" v="24"/>
          <ac:spMkLst>
            <pc:docMk/>
            <pc:sldMk cId="1076096228" sldId="2147481883"/>
            <ac:spMk id="2" creationId="{9EBB1A10-B839-59E0-2CA7-70BDCBFE568A}"/>
          </ac:spMkLst>
        </pc:spChg>
        <pc:spChg chg="del">
          <ac:chgData name="Olha Perminova (UA)" userId="3a6a8ff4-9418-475a-a23d-87d0c5689c66" providerId="ADAL" clId="{53BC5A52-8424-4628-B81B-003D4332FD6E}" dt="2024-07-05T12:32:05.536" v="23" actId="478"/>
          <ac:spMkLst>
            <pc:docMk/>
            <pc:sldMk cId="1076096228" sldId="2147481883"/>
            <ac:spMk id="5" creationId="{77809E40-37CF-33A7-7901-D1413BC4E7D9}"/>
          </ac:spMkLst>
        </pc:spChg>
      </pc:sldChg>
      <pc:sldChg chg="addSp delSp modSp mod">
        <pc:chgData name="Olha Perminova (UA)" userId="3a6a8ff4-9418-475a-a23d-87d0c5689c66" providerId="ADAL" clId="{53BC5A52-8424-4628-B81B-003D4332FD6E}" dt="2024-07-05T12:37:45.813" v="149"/>
        <pc:sldMkLst>
          <pc:docMk/>
          <pc:sldMk cId="2731229360" sldId="2147481895"/>
        </pc:sldMkLst>
        <pc:spChg chg="del">
          <ac:chgData name="Olha Perminova (UA)" userId="3a6a8ff4-9418-475a-a23d-87d0c5689c66" providerId="ADAL" clId="{53BC5A52-8424-4628-B81B-003D4332FD6E}" dt="2024-07-05T12:37:45.457" v="148" actId="478"/>
          <ac:spMkLst>
            <pc:docMk/>
            <pc:sldMk cId="2731229360" sldId="2147481895"/>
            <ac:spMk id="3" creationId="{3C51BFB5-F916-5BE2-0E6F-7E9812C79E56}"/>
          </ac:spMkLst>
        </pc:spChg>
        <pc:spChg chg="mod">
          <ac:chgData name="Olha Perminova (UA)" userId="3a6a8ff4-9418-475a-a23d-87d0c5689c66" providerId="ADAL" clId="{53BC5A52-8424-4628-B81B-003D4332FD6E}" dt="2024-07-05T12:37:45.813" v="149"/>
          <ac:spMkLst>
            <pc:docMk/>
            <pc:sldMk cId="2731229360" sldId="2147481895"/>
            <ac:spMk id="6" creationId="{BA7798C8-BDDE-4B8B-DCC8-A356D9A7A6B1}"/>
          </ac:spMkLst>
        </pc:spChg>
        <pc:spChg chg="mod">
          <ac:chgData name="Olha Perminova (UA)" userId="3a6a8ff4-9418-475a-a23d-87d0c5689c66" providerId="ADAL" clId="{53BC5A52-8424-4628-B81B-003D4332FD6E}" dt="2024-07-05T12:37:45.813" v="149"/>
          <ac:spMkLst>
            <pc:docMk/>
            <pc:sldMk cId="2731229360" sldId="2147481895"/>
            <ac:spMk id="8" creationId="{9E2570FC-7969-0455-2B83-CF8E700A75D9}"/>
          </ac:spMkLst>
        </pc:spChg>
        <pc:spChg chg="mod">
          <ac:chgData name="Olha Perminova (UA)" userId="3a6a8ff4-9418-475a-a23d-87d0c5689c66" providerId="ADAL" clId="{53BC5A52-8424-4628-B81B-003D4332FD6E}" dt="2024-07-05T12:37:45.813" v="149"/>
          <ac:spMkLst>
            <pc:docMk/>
            <pc:sldMk cId="2731229360" sldId="2147481895"/>
            <ac:spMk id="9" creationId="{55B92B7E-F0E6-F902-3E34-7DE3DB33AB42}"/>
          </ac:spMkLst>
        </pc:spChg>
        <pc:spChg chg="mod">
          <ac:chgData name="Olha Perminova (UA)" userId="3a6a8ff4-9418-475a-a23d-87d0c5689c66" providerId="ADAL" clId="{53BC5A52-8424-4628-B81B-003D4332FD6E}" dt="2024-07-05T12:37:45.813" v="149"/>
          <ac:spMkLst>
            <pc:docMk/>
            <pc:sldMk cId="2731229360" sldId="2147481895"/>
            <ac:spMk id="12" creationId="{CAA26C44-BC46-A053-03DA-9547043CC33A}"/>
          </ac:spMkLst>
        </pc:spChg>
        <pc:spChg chg="mod">
          <ac:chgData name="Olha Perminova (UA)" userId="3a6a8ff4-9418-475a-a23d-87d0c5689c66" providerId="ADAL" clId="{53BC5A52-8424-4628-B81B-003D4332FD6E}" dt="2024-07-05T12:37:45.813" v="149"/>
          <ac:spMkLst>
            <pc:docMk/>
            <pc:sldMk cId="2731229360" sldId="2147481895"/>
            <ac:spMk id="13" creationId="{9D5B72D6-97E0-7CB6-A1E3-3548EC940159}"/>
          </ac:spMkLst>
        </pc:spChg>
        <pc:spChg chg="mod">
          <ac:chgData name="Olha Perminova (UA)" userId="3a6a8ff4-9418-475a-a23d-87d0c5689c66" providerId="ADAL" clId="{53BC5A52-8424-4628-B81B-003D4332FD6E}" dt="2024-07-05T12:37:45.813" v="149"/>
          <ac:spMkLst>
            <pc:docMk/>
            <pc:sldMk cId="2731229360" sldId="2147481895"/>
            <ac:spMk id="15" creationId="{94CE87CE-F992-746A-F7EE-F89885C22B6C}"/>
          </ac:spMkLst>
        </pc:spChg>
        <pc:spChg chg="add mod">
          <ac:chgData name="Olha Perminova (UA)" userId="3a6a8ff4-9418-475a-a23d-87d0c5689c66" providerId="ADAL" clId="{53BC5A52-8424-4628-B81B-003D4332FD6E}" dt="2024-07-05T12:37:45.813" v="149"/>
          <ac:spMkLst>
            <pc:docMk/>
            <pc:sldMk cId="2731229360" sldId="2147481895"/>
            <ac:spMk id="23" creationId="{8152A51C-B7D7-2B7F-BE19-FDED47A059BD}"/>
          </ac:spMkLst>
        </pc:spChg>
        <pc:grpChg chg="del">
          <ac:chgData name="Olha Perminova (UA)" userId="3a6a8ff4-9418-475a-a23d-87d0c5689c66" providerId="ADAL" clId="{53BC5A52-8424-4628-B81B-003D4332FD6E}" dt="2024-07-05T12:37:45.457" v="148" actId="478"/>
          <ac:grpSpMkLst>
            <pc:docMk/>
            <pc:sldMk cId="2731229360" sldId="2147481895"/>
            <ac:grpSpMk id="4" creationId="{F9B473E4-9604-F305-FE62-A37A1E7638B6}"/>
          </ac:grpSpMkLst>
        </pc:grpChg>
        <pc:grpChg chg="add mod">
          <ac:chgData name="Olha Perminova (UA)" userId="3a6a8ff4-9418-475a-a23d-87d0c5689c66" providerId="ADAL" clId="{53BC5A52-8424-4628-B81B-003D4332FD6E}" dt="2024-07-05T12:37:45.813" v="149"/>
          <ac:grpSpMkLst>
            <pc:docMk/>
            <pc:sldMk cId="2731229360" sldId="2147481895"/>
            <ac:grpSpMk id="5" creationId="{7FB143EA-D991-6E75-106E-C60FAEBDE682}"/>
          </ac:grpSpMkLst>
        </pc:grpChg>
      </pc:sldChg>
      <pc:sldChg chg="addSp delSp modSp mod">
        <pc:chgData name="Olha Perminova (UA)" userId="3a6a8ff4-9418-475a-a23d-87d0c5689c66" providerId="ADAL" clId="{53BC5A52-8424-4628-B81B-003D4332FD6E}" dt="2024-07-05T12:36:36.960" v="63"/>
        <pc:sldMkLst>
          <pc:docMk/>
          <pc:sldMk cId="3817097256" sldId="2147481898"/>
        </pc:sldMkLst>
        <pc:spChg chg="del">
          <ac:chgData name="Olha Perminova (UA)" userId="3a6a8ff4-9418-475a-a23d-87d0c5689c66" providerId="ADAL" clId="{53BC5A52-8424-4628-B81B-003D4332FD6E}" dt="2024-07-05T12:36:36.502" v="62" actId="478"/>
          <ac:spMkLst>
            <pc:docMk/>
            <pc:sldMk cId="3817097256" sldId="2147481898"/>
            <ac:spMk id="4" creationId="{EBA7BF60-0AE3-D651-C97F-6030A71AE8DD}"/>
          </ac:spMkLst>
        </pc:spChg>
        <pc:spChg chg="mod">
          <ac:chgData name="Olha Perminova (UA)" userId="3a6a8ff4-9418-475a-a23d-87d0c5689c66" providerId="ADAL" clId="{53BC5A52-8424-4628-B81B-003D4332FD6E}" dt="2024-07-05T12:36:36.960" v="63"/>
          <ac:spMkLst>
            <pc:docMk/>
            <pc:sldMk cId="3817097256" sldId="2147481898"/>
            <ac:spMk id="27" creationId="{8D11325A-D5C0-D0C4-8B72-47051C0C03E7}"/>
          </ac:spMkLst>
        </pc:spChg>
        <pc:spChg chg="mod">
          <ac:chgData name="Olha Perminova (UA)" userId="3a6a8ff4-9418-475a-a23d-87d0c5689c66" providerId="ADAL" clId="{53BC5A52-8424-4628-B81B-003D4332FD6E}" dt="2024-07-05T12:36:36.960" v="63"/>
          <ac:spMkLst>
            <pc:docMk/>
            <pc:sldMk cId="3817097256" sldId="2147481898"/>
            <ac:spMk id="28" creationId="{DD49B79F-B2B4-683B-F3CC-9940BC51A4A8}"/>
          </ac:spMkLst>
        </pc:spChg>
        <pc:spChg chg="mod">
          <ac:chgData name="Olha Perminova (UA)" userId="3a6a8ff4-9418-475a-a23d-87d0c5689c66" providerId="ADAL" clId="{53BC5A52-8424-4628-B81B-003D4332FD6E}" dt="2024-07-05T12:36:36.960" v="63"/>
          <ac:spMkLst>
            <pc:docMk/>
            <pc:sldMk cId="3817097256" sldId="2147481898"/>
            <ac:spMk id="29" creationId="{673D4FF6-8ADE-625D-6485-2F0E0A0822AB}"/>
          </ac:spMkLst>
        </pc:spChg>
        <pc:spChg chg="mod">
          <ac:chgData name="Olha Perminova (UA)" userId="3a6a8ff4-9418-475a-a23d-87d0c5689c66" providerId="ADAL" clId="{53BC5A52-8424-4628-B81B-003D4332FD6E}" dt="2024-07-05T12:36:36.960" v="63"/>
          <ac:spMkLst>
            <pc:docMk/>
            <pc:sldMk cId="3817097256" sldId="2147481898"/>
            <ac:spMk id="30" creationId="{0637771F-C954-E34F-8AB4-EC64601B092B}"/>
          </ac:spMkLst>
        </pc:spChg>
        <pc:spChg chg="mod">
          <ac:chgData name="Olha Perminova (UA)" userId="3a6a8ff4-9418-475a-a23d-87d0c5689c66" providerId="ADAL" clId="{53BC5A52-8424-4628-B81B-003D4332FD6E}" dt="2024-07-05T12:36:36.960" v="63"/>
          <ac:spMkLst>
            <pc:docMk/>
            <pc:sldMk cId="3817097256" sldId="2147481898"/>
            <ac:spMk id="31" creationId="{22E47382-439D-A5C6-2474-155DFB68AA86}"/>
          </ac:spMkLst>
        </pc:spChg>
        <pc:spChg chg="mod">
          <ac:chgData name="Olha Perminova (UA)" userId="3a6a8ff4-9418-475a-a23d-87d0c5689c66" providerId="ADAL" clId="{53BC5A52-8424-4628-B81B-003D4332FD6E}" dt="2024-07-05T12:36:36.960" v="63"/>
          <ac:spMkLst>
            <pc:docMk/>
            <pc:sldMk cId="3817097256" sldId="2147481898"/>
            <ac:spMk id="32" creationId="{33064F98-F883-135A-0C59-7460CC728E40}"/>
          </ac:spMkLst>
        </pc:spChg>
        <pc:spChg chg="add mod">
          <ac:chgData name="Olha Perminova (UA)" userId="3a6a8ff4-9418-475a-a23d-87d0c5689c66" providerId="ADAL" clId="{53BC5A52-8424-4628-B81B-003D4332FD6E}" dt="2024-07-05T12:36:36.960" v="63"/>
          <ac:spMkLst>
            <pc:docMk/>
            <pc:sldMk cId="3817097256" sldId="2147481898"/>
            <ac:spMk id="38" creationId="{AB77D2D2-26C0-042F-B4C2-A6272C772DEA}"/>
          </ac:spMkLst>
        </pc:spChg>
        <pc:grpChg chg="del">
          <ac:chgData name="Olha Perminova (UA)" userId="3a6a8ff4-9418-475a-a23d-87d0c5689c66" providerId="ADAL" clId="{53BC5A52-8424-4628-B81B-003D4332FD6E}" dt="2024-07-05T12:36:36.502" v="62" actId="478"/>
          <ac:grpSpMkLst>
            <pc:docMk/>
            <pc:sldMk cId="3817097256" sldId="2147481898"/>
            <ac:grpSpMk id="6" creationId="{B534E434-CB1C-7C6D-A614-6975C26EB5C5}"/>
          </ac:grpSpMkLst>
        </pc:grpChg>
        <pc:grpChg chg="add mod">
          <ac:chgData name="Olha Perminova (UA)" userId="3a6a8ff4-9418-475a-a23d-87d0c5689c66" providerId="ADAL" clId="{53BC5A52-8424-4628-B81B-003D4332FD6E}" dt="2024-07-05T12:36:36.960" v="63"/>
          <ac:grpSpMkLst>
            <pc:docMk/>
            <pc:sldMk cId="3817097256" sldId="2147481898"/>
            <ac:grpSpMk id="26" creationId="{ED46B1EE-AB35-8D22-B5E6-F8F6CC208837}"/>
          </ac:grpSpMkLst>
        </pc:grpChg>
      </pc:sldChg>
      <pc:sldChg chg="addSp delSp modSp mod">
        <pc:chgData name="Olha Perminova (UA)" userId="3a6a8ff4-9418-475a-a23d-87d0c5689c66" providerId="ADAL" clId="{53BC5A52-8424-4628-B81B-003D4332FD6E}" dt="2024-07-05T12:35:38.434" v="48" actId="122"/>
        <pc:sldMkLst>
          <pc:docMk/>
          <pc:sldMk cId="365397333" sldId="2147481900"/>
        </pc:sldMkLst>
        <pc:spChg chg="del">
          <ac:chgData name="Olha Perminova (UA)" userId="3a6a8ff4-9418-475a-a23d-87d0c5689c66" providerId="ADAL" clId="{53BC5A52-8424-4628-B81B-003D4332FD6E}" dt="2024-07-05T12:35:22.533" v="44" actId="478"/>
          <ac:spMkLst>
            <pc:docMk/>
            <pc:sldMk cId="365397333" sldId="2147481900"/>
            <ac:spMk id="3" creationId="{AF59673E-73CB-6DB6-BB7C-CE1C0484AA98}"/>
          </ac:spMkLst>
        </pc:spChg>
        <pc:spChg chg="add mod">
          <ac:chgData name="Olha Perminova (UA)" userId="3a6a8ff4-9418-475a-a23d-87d0c5689c66" providerId="ADAL" clId="{53BC5A52-8424-4628-B81B-003D4332FD6E}" dt="2024-07-05T12:35:22.865" v="45"/>
          <ac:spMkLst>
            <pc:docMk/>
            <pc:sldMk cId="365397333" sldId="2147481900"/>
            <ac:spMk id="5" creationId="{3B7B17C8-5179-7A5A-717F-5F3472100E71}"/>
          </ac:spMkLst>
        </pc:spChg>
        <pc:spChg chg="mod">
          <ac:chgData name="Olha Perminova (UA)" userId="3a6a8ff4-9418-475a-a23d-87d0c5689c66" providerId="ADAL" clId="{53BC5A52-8424-4628-B81B-003D4332FD6E}" dt="2024-07-05T12:35:38.434" v="48" actId="122"/>
          <ac:spMkLst>
            <pc:docMk/>
            <pc:sldMk cId="365397333" sldId="2147481900"/>
            <ac:spMk id="9" creationId="{68FCCA4E-5399-0011-B276-61D5ADFBFE2C}"/>
          </ac:spMkLst>
        </pc:spChg>
      </pc:sldChg>
      <pc:sldChg chg="addSp delSp modSp mod">
        <pc:chgData name="Olha Perminova (UA)" userId="3a6a8ff4-9418-475a-a23d-87d0c5689c66" providerId="ADAL" clId="{53BC5A52-8424-4628-B81B-003D4332FD6E}" dt="2024-07-05T12:35:52.473" v="52"/>
        <pc:sldMkLst>
          <pc:docMk/>
          <pc:sldMk cId="2785126703" sldId="2147481904"/>
        </pc:sldMkLst>
        <pc:spChg chg="del">
          <ac:chgData name="Olha Perminova (UA)" userId="3a6a8ff4-9418-475a-a23d-87d0c5689c66" providerId="ADAL" clId="{53BC5A52-8424-4628-B81B-003D4332FD6E}" dt="2024-07-05T12:35:51.974" v="51" actId="478"/>
          <ac:spMkLst>
            <pc:docMk/>
            <pc:sldMk cId="2785126703" sldId="2147481904"/>
            <ac:spMk id="6" creationId="{BB5AE894-C7E9-7EC5-6F97-2F99D72E73F5}"/>
          </ac:spMkLst>
        </pc:spChg>
        <pc:spChg chg="mod">
          <ac:chgData name="Olha Perminova (UA)" userId="3a6a8ff4-9418-475a-a23d-87d0c5689c66" providerId="ADAL" clId="{53BC5A52-8424-4628-B81B-003D4332FD6E}" dt="2024-07-05T12:35:52.473" v="52"/>
          <ac:spMkLst>
            <pc:docMk/>
            <pc:sldMk cId="2785126703" sldId="2147481904"/>
            <ac:spMk id="8" creationId="{287107D2-E82A-BC3A-6C32-FA16B3F10C03}"/>
          </ac:spMkLst>
        </pc:spChg>
        <pc:spChg chg="mod">
          <ac:chgData name="Olha Perminova (UA)" userId="3a6a8ff4-9418-475a-a23d-87d0c5689c66" providerId="ADAL" clId="{53BC5A52-8424-4628-B81B-003D4332FD6E}" dt="2024-07-05T12:35:52.473" v="52"/>
          <ac:spMkLst>
            <pc:docMk/>
            <pc:sldMk cId="2785126703" sldId="2147481904"/>
            <ac:spMk id="9" creationId="{76D81295-DB6C-549D-4BB8-7549C99AB0AB}"/>
          </ac:spMkLst>
        </pc:spChg>
        <pc:spChg chg="mod">
          <ac:chgData name="Olha Perminova (UA)" userId="3a6a8ff4-9418-475a-a23d-87d0c5689c66" providerId="ADAL" clId="{53BC5A52-8424-4628-B81B-003D4332FD6E}" dt="2024-07-05T12:35:52.473" v="52"/>
          <ac:spMkLst>
            <pc:docMk/>
            <pc:sldMk cId="2785126703" sldId="2147481904"/>
            <ac:spMk id="10" creationId="{544BE605-7E4A-3F90-7E8E-085274DFA4CD}"/>
          </ac:spMkLst>
        </pc:spChg>
        <pc:spChg chg="mod">
          <ac:chgData name="Olha Perminova (UA)" userId="3a6a8ff4-9418-475a-a23d-87d0c5689c66" providerId="ADAL" clId="{53BC5A52-8424-4628-B81B-003D4332FD6E}" dt="2024-07-05T12:35:52.473" v="52"/>
          <ac:spMkLst>
            <pc:docMk/>
            <pc:sldMk cId="2785126703" sldId="2147481904"/>
            <ac:spMk id="16" creationId="{C8EC5FD3-E661-E98C-4717-1603ABA52DA6}"/>
          </ac:spMkLst>
        </pc:spChg>
        <pc:spChg chg="mod">
          <ac:chgData name="Olha Perminova (UA)" userId="3a6a8ff4-9418-475a-a23d-87d0c5689c66" providerId="ADAL" clId="{53BC5A52-8424-4628-B81B-003D4332FD6E}" dt="2024-07-05T12:35:52.473" v="52"/>
          <ac:spMkLst>
            <pc:docMk/>
            <pc:sldMk cId="2785126703" sldId="2147481904"/>
            <ac:spMk id="22" creationId="{65BF5865-7C7A-6515-5717-40B2B843DEF2}"/>
          </ac:spMkLst>
        </pc:spChg>
        <pc:spChg chg="mod">
          <ac:chgData name="Olha Perminova (UA)" userId="3a6a8ff4-9418-475a-a23d-87d0c5689c66" providerId="ADAL" clId="{53BC5A52-8424-4628-B81B-003D4332FD6E}" dt="2024-07-05T12:35:52.473" v="52"/>
          <ac:spMkLst>
            <pc:docMk/>
            <pc:sldMk cId="2785126703" sldId="2147481904"/>
            <ac:spMk id="29" creationId="{ED23486D-AFD4-FA38-B6D7-FE900D87F2F4}"/>
          </ac:spMkLst>
        </pc:spChg>
        <pc:spChg chg="add mod">
          <ac:chgData name="Olha Perminova (UA)" userId="3a6a8ff4-9418-475a-a23d-87d0c5689c66" providerId="ADAL" clId="{53BC5A52-8424-4628-B81B-003D4332FD6E}" dt="2024-07-05T12:35:52.473" v="52"/>
          <ac:spMkLst>
            <pc:docMk/>
            <pc:sldMk cId="2785126703" sldId="2147481904"/>
            <ac:spMk id="30" creationId="{93782E13-1C3D-8DE3-938D-556CFF0F20BA}"/>
          </ac:spMkLst>
        </pc:spChg>
        <pc:grpChg chg="add mod">
          <ac:chgData name="Olha Perminova (UA)" userId="3a6a8ff4-9418-475a-a23d-87d0c5689c66" providerId="ADAL" clId="{53BC5A52-8424-4628-B81B-003D4332FD6E}" dt="2024-07-05T12:35:52.473" v="52"/>
          <ac:grpSpMkLst>
            <pc:docMk/>
            <pc:sldMk cId="2785126703" sldId="2147481904"/>
            <ac:grpSpMk id="7" creationId="{1CD58C0E-86BD-156A-7AB4-EF7F45D9A7DD}"/>
          </ac:grpSpMkLst>
        </pc:grpChg>
        <pc:grpChg chg="del">
          <ac:chgData name="Olha Perminova (UA)" userId="3a6a8ff4-9418-475a-a23d-87d0c5689c66" providerId="ADAL" clId="{53BC5A52-8424-4628-B81B-003D4332FD6E}" dt="2024-07-05T12:35:51.974" v="51" actId="478"/>
          <ac:grpSpMkLst>
            <pc:docMk/>
            <pc:sldMk cId="2785126703" sldId="2147481904"/>
            <ac:grpSpMk id="31" creationId="{6024F4C3-61C2-AF47-F821-4853E8B8D58F}"/>
          </ac:grpSpMkLst>
        </pc:grpChg>
      </pc:sldChg>
      <pc:sldChg chg="addSp delSp modSp mod">
        <pc:chgData name="Olha Perminova (UA)" userId="3a6a8ff4-9418-475a-a23d-87d0c5689c66" providerId="ADAL" clId="{53BC5A52-8424-4628-B81B-003D4332FD6E}" dt="2024-07-05T12:35:59.785" v="56" actId="478"/>
        <pc:sldMkLst>
          <pc:docMk/>
          <pc:sldMk cId="4233423074" sldId="2147481905"/>
        </pc:sldMkLst>
        <pc:spChg chg="del">
          <ac:chgData name="Olha Perminova (UA)" userId="3a6a8ff4-9418-475a-a23d-87d0c5689c66" providerId="ADAL" clId="{53BC5A52-8424-4628-B81B-003D4332FD6E}" dt="2024-07-05T12:35:56.724" v="53" actId="478"/>
          <ac:spMkLst>
            <pc:docMk/>
            <pc:sldMk cId="4233423074" sldId="2147481905"/>
            <ac:spMk id="5" creationId="{2CEB3D9C-E816-F65C-9AF8-BCBDCD9B5290}"/>
          </ac:spMkLst>
        </pc:spChg>
        <pc:spChg chg="mod">
          <ac:chgData name="Olha Perminova (UA)" userId="3a6a8ff4-9418-475a-a23d-87d0c5689c66" providerId="ADAL" clId="{53BC5A52-8424-4628-B81B-003D4332FD6E}" dt="2024-07-05T12:35:58.437" v="54"/>
          <ac:spMkLst>
            <pc:docMk/>
            <pc:sldMk cId="4233423074" sldId="2147481905"/>
            <ac:spMk id="30" creationId="{F1663D38-157A-E3CB-0E1B-8A6A6F4A76C2}"/>
          </ac:spMkLst>
        </pc:spChg>
        <pc:spChg chg="mod">
          <ac:chgData name="Olha Perminova (UA)" userId="3a6a8ff4-9418-475a-a23d-87d0c5689c66" providerId="ADAL" clId="{53BC5A52-8424-4628-B81B-003D4332FD6E}" dt="2024-07-05T12:35:58.437" v="54"/>
          <ac:spMkLst>
            <pc:docMk/>
            <pc:sldMk cId="4233423074" sldId="2147481905"/>
            <ac:spMk id="32" creationId="{19A35C29-31A1-ED6A-949E-46828FAA4D8D}"/>
          </ac:spMkLst>
        </pc:spChg>
        <pc:spChg chg="mod">
          <ac:chgData name="Olha Perminova (UA)" userId="3a6a8ff4-9418-475a-a23d-87d0c5689c66" providerId="ADAL" clId="{53BC5A52-8424-4628-B81B-003D4332FD6E}" dt="2024-07-05T12:35:58.437" v="54"/>
          <ac:spMkLst>
            <pc:docMk/>
            <pc:sldMk cId="4233423074" sldId="2147481905"/>
            <ac:spMk id="33" creationId="{558E8EE5-876F-DDFB-223E-B9703606AF37}"/>
          </ac:spMkLst>
        </pc:spChg>
        <pc:spChg chg="mod">
          <ac:chgData name="Olha Perminova (UA)" userId="3a6a8ff4-9418-475a-a23d-87d0c5689c66" providerId="ADAL" clId="{53BC5A52-8424-4628-B81B-003D4332FD6E}" dt="2024-07-05T12:35:58.437" v="54"/>
          <ac:spMkLst>
            <pc:docMk/>
            <pc:sldMk cId="4233423074" sldId="2147481905"/>
            <ac:spMk id="34" creationId="{3D63C52F-5E93-274E-AB59-C10A879467D6}"/>
          </ac:spMkLst>
        </pc:spChg>
        <pc:spChg chg="mod">
          <ac:chgData name="Olha Perminova (UA)" userId="3a6a8ff4-9418-475a-a23d-87d0c5689c66" providerId="ADAL" clId="{53BC5A52-8424-4628-B81B-003D4332FD6E}" dt="2024-07-05T12:35:58.437" v="54"/>
          <ac:spMkLst>
            <pc:docMk/>
            <pc:sldMk cId="4233423074" sldId="2147481905"/>
            <ac:spMk id="35" creationId="{D1806201-A3D7-0680-9279-4459005017F4}"/>
          </ac:spMkLst>
        </pc:spChg>
        <pc:spChg chg="mod">
          <ac:chgData name="Olha Perminova (UA)" userId="3a6a8ff4-9418-475a-a23d-87d0c5689c66" providerId="ADAL" clId="{53BC5A52-8424-4628-B81B-003D4332FD6E}" dt="2024-07-05T12:35:58.437" v="54"/>
          <ac:spMkLst>
            <pc:docMk/>
            <pc:sldMk cId="4233423074" sldId="2147481905"/>
            <ac:spMk id="36" creationId="{11134A33-81C1-CD59-7AA6-5CFF29F4C444}"/>
          </ac:spMkLst>
        </pc:spChg>
        <pc:spChg chg="add mod">
          <ac:chgData name="Olha Perminova (UA)" userId="3a6a8ff4-9418-475a-a23d-87d0c5689c66" providerId="ADAL" clId="{53BC5A52-8424-4628-B81B-003D4332FD6E}" dt="2024-07-05T12:35:58.437" v="54"/>
          <ac:spMkLst>
            <pc:docMk/>
            <pc:sldMk cId="4233423074" sldId="2147481905"/>
            <ac:spMk id="37" creationId="{DE03C864-B977-3D6F-78BE-1C0291F95A24}"/>
          </ac:spMkLst>
        </pc:spChg>
        <pc:spChg chg="mod">
          <ac:chgData name="Olha Perminova (UA)" userId="3a6a8ff4-9418-475a-a23d-87d0c5689c66" providerId="ADAL" clId="{53BC5A52-8424-4628-B81B-003D4332FD6E}" dt="2024-07-05T12:35:58.649" v="55"/>
          <ac:spMkLst>
            <pc:docMk/>
            <pc:sldMk cId="4233423074" sldId="2147481905"/>
            <ac:spMk id="39" creationId="{E6044D0F-4829-B1EF-589E-0D4B33B73CC3}"/>
          </ac:spMkLst>
        </pc:spChg>
        <pc:spChg chg="mod">
          <ac:chgData name="Olha Perminova (UA)" userId="3a6a8ff4-9418-475a-a23d-87d0c5689c66" providerId="ADAL" clId="{53BC5A52-8424-4628-B81B-003D4332FD6E}" dt="2024-07-05T12:35:58.649" v="55"/>
          <ac:spMkLst>
            <pc:docMk/>
            <pc:sldMk cId="4233423074" sldId="2147481905"/>
            <ac:spMk id="40" creationId="{17122591-FF3D-B031-FA47-385C647D9E67}"/>
          </ac:spMkLst>
        </pc:spChg>
        <pc:spChg chg="mod">
          <ac:chgData name="Olha Perminova (UA)" userId="3a6a8ff4-9418-475a-a23d-87d0c5689c66" providerId="ADAL" clId="{53BC5A52-8424-4628-B81B-003D4332FD6E}" dt="2024-07-05T12:35:58.649" v="55"/>
          <ac:spMkLst>
            <pc:docMk/>
            <pc:sldMk cId="4233423074" sldId="2147481905"/>
            <ac:spMk id="41" creationId="{A9E6023A-1006-29F4-5AB2-BC66925C7C71}"/>
          </ac:spMkLst>
        </pc:spChg>
        <pc:spChg chg="mod">
          <ac:chgData name="Olha Perminova (UA)" userId="3a6a8ff4-9418-475a-a23d-87d0c5689c66" providerId="ADAL" clId="{53BC5A52-8424-4628-B81B-003D4332FD6E}" dt="2024-07-05T12:35:58.649" v="55"/>
          <ac:spMkLst>
            <pc:docMk/>
            <pc:sldMk cId="4233423074" sldId="2147481905"/>
            <ac:spMk id="42" creationId="{812C1E3D-77C5-CDFA-7ADA-C6144DA005DD}"/>
          </ac:spMkLst>
        </pc:spChg>
        <pc:spChg chg="mod">
          <ac:chgData name="Olha Perminova (UA)" userId="3a6a8ff4-9418-475a-a23d-87d0c5689c66" providerId="ADAL" clId="{53BC5A52-8424-4628-B81B-003D4332FD6E}" dt="2024-07-05T12:35:58.649" v="55"/>
          <ac:spMkLst>
            <pc:docMk/>
            <pc:sldMk cId="4233423074" sldId="2147481905"/>
            <ac:spMk id="43" creationId="{A86FDB8F-C7AB-A179-BB8A-6052C434D2B5}"/>
          </ac:spMkLst>
        </pc:spChg>
        <pc:spChg chg="mod">
          <ac:chgData name="Olha Perminova (UA)" userId="3a6a8ff4-9418-475a-a23d-87d0c5689c66" providerId="ADAL" clId="{53BC5A52-8424-4628-B81B-003D4332FD6E}" dt="2024-07-05T12:35:58.649" v="55"/>
          <ac:spMkLst>
            <pc:docMk/>
            <pc:sldMk cId="4233423074" sldId="2147481905"/>
            <ac:spMk id="44" creationId="{CB073D3D-DA0E-849C-9826-FEE6738B1E4D}"/>
          </ac:spMkLst>
        </pc:spChg>
        <pc:spChg chg="add del mod">
          <ac:chgData name="Olha Perminova (UA)" userId="3a6a8ff4-9418-475a-a23d-87d0c5689c66" providerId="ADAL" clId="{53BC5A52-8424-4628-B81B-003D4332FD6E}" dt="2024-07-05T12:35:59.785" v="56" actId="478"/>
          <ac:spMkLst>
            <pc:docMk/>
            <pc:sldMk cId="4233423074" sldId="2147481905"/>
            <ac:spMk id="45" creationId="{C6D21088-B17B-B6CB-32D1-BBB26E070E27}"/>
          </ac:spMkLst>
        </pc:spChg>
        <pc:grpChg chg="add mod">
          <ac:chgData name="Olha Perminova (UA)" userId="3a6a8ff4-9418-475a-a23d-87d0c5689c66" providerId="ADAL" clId="{53BC5A52-8424-4628-B81B-003D4332FD6E}" dt="2024-07-05T12:35:58.437" v="54"/>
          <ac:grpSpMkLst>
            <pc:docMk/>
            <pc:sldMk cId="4233423074" sldId="2147481905"/>
            <ac:grpSpMk id="6" creationId="{1EA8DF44-D351-9020-6ECD-CA21C851FCA3}"/>
          </ac:grpSpMkLst>
        </pc:grpChg>
        <pc:grpChg chg="del">
          <ac:chgData name="Olha Perminova (UA)" userId="3a6a8ff4-9418-475a-a23d-87d0c5689c66" providerId="ADAL" clId="{53BC5A52-8424-4628-B81B-003D4332FD6E}" dt="2024-07-05T12:35:56.724" v="53" actId="478"/>
          <ac:grpSpMkLst>
            <pc:docMk/>
            <pc:sldMk cId="4233423074" sldId="2147481905"/>
            <ac:grpSpMk id="31" creationId="{7811B578-D81A-6045-8E23-860DCEC7B570}"/>
          </ac:grpSpMkLst>
        </pc:grpChg>
        <pc:grpChg chg="add del mod">
          <ac:chgData name="Olha Perminova (UA)" userId="3a6a8ff4-9418-475a-a23d-87d0c5689c66" providerId="ADAL" clId="{53BC5A52-8424-4628-B81B-003D4332FD6E}" dt="2024-07-05T12:35:59.785" v="56" actId="478"/>
          <ac:grpSpMkLst>
            <pc:docMk/>
            <pc:sldMk cId="4233423074" sldId="2147481905"/>
            <ac:grpSpMk id="38" creationId="{DAB228E8-FEE9-E51C-A31E-92D23C51DA63}"/>
          </ac:grpSpMkLst>
        </pc:grpChg>
      </pc:sldChg>
      <pc:sldChg chg="addSp delSp modSp mod">
        <pc:chgData name="Olha Perminova (UA)" userId="3a6a8ff4-9418-475a-a23d-87d0c5689c66" providerId="ADAL" clId="{53BC5A52-8424-4628-B81B-003D4332FD6E}" dt="2024-07-05T12:43:43.630" v="233" actId="400"/>
        <pc:sldMkLst>
          <pc:docMk/>
          <pc:sldMk cId="3128847407" sldId="2147481907"/>
        </pc:sldMkLst>
        <pc:spChg chg="mod">
          <ac:chgData name="Olha Perminova (UA)" userId="3a6a8ff4-9418-475a-a23d-87d0c5689c66" providerId="ADAL" clId="{53BC5A52-8424-4628-B81B-003D4332FD6E}" dt="2024-07-05T12:37:13.040" v="120" actId="948"/>
          <ac:spMkLst>
            <pc:docMk/>
            <pc:sldMk cId="3128847407" sldId="2147481907"/>
            <ac:spMk id="2" creationId="{00000000-0000-0000-0000-000000000000}"/>
          </ac:spMkLst>
        </pc:spChg>
        <pc:spChg chg="del">
          <ac:chgData name="Olha Perminova (UA)" userId="3a6a8ff4-9418-475a-a23d-87d0c5689c66" providerId="ADAL" clId="{53BC5A52-8424-4628-B81B-003D4332FD6E}" dt="2024-07-05T12:36:41.331" v="64" actId="478"/>
          <ac:spMkLst>
            <pc:docMk/>
            <pc:sldMk cId="3128847407" sldId="2147481907"/>
            <ac:spMk id="3" creationId="{F1A5A26E-574D-2AC5-4F80-E48A4066AE2F}"/>
          </ac:spMkLst>
        </pc:spChg>
        <pc:spChg chg="mod">
          <ac:chgData name="Olha Perminova (UA)" userId="3a6a8ff4-9418-475a-a23d-87d0c5689c66" providerId="ADAL" clId="{53BC5A52-8424-4628-B81B-003D4332FD6E}" dt="2024-07-05T12:43:43.630" v="233" actId="400"/>
          <ac:spMkLst>
            <pc:docMk/>
            <pc:sldMk cId="3128847407" sldId="2147481907"/>
            <ac:spMk id="12" creationId="{31B489AB-B63C-C230-6622-9D4AB850D8E4}"/>
          </ac:spMkLst>
        </pc:spChg>
        <pc:spChg chg="mod">
          <ac:chgData name="Olha Perminova (UA)" userId="3a6a8ff4-9418-475a-a23d-87d0c5689c66" providerId="ADAL" clId="{53BC5A52-8424-4628-B81B-003D4332FD6E}" dt="2024-07-05T12:36:42.088" v="65"/>
          <ac:spMkLst>
            <pc:docMk/>
            <pc:sldMk cId="3128847407" sldId="2147481907"/>
            <ac:spMk id="14" creationId="{CE0ED5A3-7F1F-9D71-7607-F845A47D7FD1}"/>
          </ac:spMkLst>
        </pc:spChg>
        <pc:spChg chg="mod">
          <ac:chgData name="Olha Perminova (UA)" userId="3a6a8ff4-9418-475a-a23d-87d0c5689c66" providerId="ADAL" clId="{53BC5A52-8424-4628-B81B-003D4332FD6E}" dt="2024-07-05T12:36:42.088" v="65"/>
          <ac:spMkLst>
            <pc:docMk/>
            <pc:sldMk cId="3128847407" sldId="2147481907"/>
            <ac:spMk id="15" creationId="{C41B4D09-8F9B-C095-1282-AB70E05B6F26}"/>
          </ac:spMkLst>
        </pc:spChg>
        <pc:spChg chg="mod">
          <ac:chgData name="Olha Perminova (UA)" userId="3a6a8ff4-9418-475a-a23d-87d0c5689c66" providerId="ADAL" clId="{53BC5A52-8424-4628-B81B-003D4332FD6E}" dt="2024-07-05T12:36:42.088" v="65"/>
          <ac:spMkLst>
            <pc:docMk/>
            <pc:sldMk cId="3128847407" sldId="2147481907"/>
            <ac:spMk id="16" creationId="{4C94A584-E73E-4244-8514-F1C3C12FB9C8}"/>
          </ac:spMkLst>
        </pc:spChg>
        <pc:spChg chg="mod">
          <ac:chgData name="Olha Perminova (UA)" userId="3a6a8ff4-9418-475a-a23d-87d0c5689c66" providerId="ADAL" clId="{53BC5A52-8424-4628-B81B-003D4332FD6E}" dt="2024-07-05T12:36:42.088" v="65"/>
          <ac:spMkLst>
            <pc:docMk/>
            <pc:sldMk cId="3128847407" sldId="2147481907"/>
            <ac:spMk id="17" creationId="{DFDB10B3-F946-4D2B-2517-9AAF5B53ECFF}"/>
          </ac:spMkLst>
        </pc:spChg>
        <pc:spChg chg="mod">
          <ac:chgData name="Olha Perminova (UA)" userId="3a6a8ff4-9418-475a-a23d-87d0c5689c66" providerId="ADAL" clId="{53BC5A52-8424-4628-B81B-003D4332FD6E}" dt="2024-07-05T12:36:42.088" v="65"/>
          <ac:spMkLst>
            <pc:docMk/>
            <pc:sldMk cId="3128847407" sldId="2147481907"/>
            <ac:spMk id="18" creationId="{B525D9AB-6C8B-618A-3215-9A39FED64404}"/>
          </ac:spMkLst>
        </pc:spChg>
        <pc:spChg chg="mod">
          <ac:chgData name="Olha Perminova (UA)" userId="3a6a8ff4-9418-475a-a23d-87d0c5689c66" providerId="ADAL" clId="{53BC5A52-8424-4628-B81B-003D4332FD6E}" dt="2024-07-05T12:36:42.088" v="65"/>
          <ac:spMkLst>
            <pc:docMk/>
            <pc:sldMk cId="3128847407" sldId="2147481907"/>
            <ac:spMk id="19" creationId="{81278C30-EC8F-66AF-79BA-4F26E9183ACF}"/>
          </ac:spMkLst>
        </pc:spChg>
        <pc:spChg chg="add mod">
          <ac:chgData name="Olha Perminova (UA)" userId="3a6a8ff4-9418-475a-a23d-87d0c5689c66" providerId="ADAL" clId="{53BC5A52-8424-4628-B81B-003D4332FD6E}" dt="2024-07-05T12:36:42.088" v="65"/>
          <ac:spMkLst>
            <pc:docMk/>
            <pc:sldMk cId="3128847407" sldId="2147481907"/>
            <ac:spMk id="20" creationId="{38E1F6C2-4D9A-2180-E8A1-590F485CB304}"/>
          </ac:spMkLst>
        </pc:spChg>
        <pc:spChg chg="add del mod modVis">
          <ac:chgData name="Olha Perminova (UA)" userId="3a6a8ff4-9418-475a-a23d-87d0c5689c66" providerId="ADAL" clId="{53BC5A52-8424-4628-B81B-003D4332FD6E}" dt="2024-07-05T12:36:58.585" v="95"/>
          <ac:spMkLst>
            <pc:docMk/>
            <pc:sldMk cId="3128847407" sldId="2147481907"/>
            <ac:spMk id="21" creationId="{102CCF06-6A3C-5138-A4A1-1094EC298E50}"/>
          </ac:spMkLst>
        </pc:spChg>
        <pc:spChg chg="mod">
          <ac:chgData name="Olha Perminova (UA)" userId="3a6a8ff4-9418-475a-a23d-87d0c5689c66" providerId="ADAL" clId="{53BC5A52-8424-4628-B81B-003D4332FD6E}" dt="2024-07-05T12:37:36.048" v="144"/>
          <ac:spMkLst>
            <pc:docMk/>
            <pc:sldMk cId="3128847407" sldId="2147481907"/>
            <ac:spMk id="30" creationId="{599C105C-E759-9E51-8975-9D2076801334}"/>
          </ac:spMkLst>
        </pc:spChg>
        <pc:spChg chg="mod">
          <ac:chgData name="Olha Perminova (UA)" userId="3a6a8ff4-9418-475a-a23d-87d0c5689c66" providerId="ADAL" clId="{53BC5A52-8424-4628-B81B-003D4332FD6E}" dt="2024-07-05T12:37:36.048" v="144"/>
          <ac:spMkLst>
            <pc:docMk/>
            <pc:sldMk cId="3128847407" sldId="2147481907"/>
            <ac:spMk id="31" creationId="{31044172-21D0-2137-CB7B-46CFB7412A3D}"/>
          </ac:spMkLst>
        </pc:spChg>
        <pc:spChg chg="mod">
          <ac:chgData name="Olha Perminova (UA)" userId="3a6a8ff4-9418-475a-a23d-87d0c5689c66" providerId="ADAL" clId="{53BC5A52-8424-4628-B81B-003D4332FD6E}" dt="2024-07-05T12:37:36.048" v="144"/>
          <ac:spMkLst>
            <pc:docMk/>
            <pc:sldMk cId="3128847407" sldId="2147481907"/>
            <ac:spMk id="32" creationId="{50E7E0E3-815F-1370-9731-BD58688F7607}"/>
          </ac:spMkLst>
        </pc:spChg>
        <pc:spChg chg="mod">
          <ac:chgData name="Olha Perminova (UA)" userId="3a6a8ff4-9418-475a-a23d-87d0c5689c66" providerId="ADAL" clId="{53BC5A52-8424-4628-B81B-003D4332FD6E}" dt="2024-07-05T12:37:36.048" v="144"/>
          <ac:spMkLst>
            <pc:docMk/>
            <pc:sldMk cId="3128847407" sldId="2147481907"/>
            <ac:spMk id="33" creationId="{7CE1E4D2-8278-2A12-6DE3-1D90648C4D25}"/>
          </ac:spMkLst>
        </pc:spChg>
        <pc:spChg chg="mod">
          <ac:chgData name="Olha Perminova (UA)" userId="3a6a8ff4-9418-475a-a23d-87d0c5689c66" providerId="ADAL" clId="{53BC5A52-8424-4628-B81B-003D4332FD6E}" dt="2024-07-05T12:37:36.048" v="144"/>
          <ac:spMkLst>
            <pc:docMk/>
            <pc:sldMk cId="3128847407" sldId="2147481907"/>
            <ac:spMk id="34" creationId="{B161BDD4-FAF9-4EE3-B717-3A0B75625D1B}"/>
          </ac:spMkLst>
        </pc:spChg>
        <pc:spChg chg="mod">
          <ac:chgData name="Olha Perminova (UA)" userId="3a6a8ff4-9418-475a-a23d-87d0c5689c66" providerId="ADAL" clId="{53BC5A52-8424-4628-B81B-003D4332FD6E}" dt="2024-07-05T12:37:36.048" v="144"/>
          <ac:spMkLst>
            <pc:docMk/>
            <pc:sldMk cId="3128847407" sldId="2147481907"/>
            <ac:spMk id="35" creationId="{F4455D3A-E8AD-AA3E-325B-2401AEA40537}"/>
          </ac:spMkLst>
        </pc:spChg>
        <pc:spChg chg="add del mod">
          <ac:chgData name="Olha Perminova (UA)" userId="3a6a8ff4-9418-475a-a23d-87d0c5689c66" providerId="ADAL" clId="{53BC5A52-8424-4628-B81B-003D4332FD6E}" dt="2024-07-05T12:37:36.843" v="145"/>
          <ac:spMkLst>
            <pc:docMk/>
            <pc:sldMk cId="3128847407" sldId="2147481907"/>
            <ac:spMk id="36" creationId="{D38AD2D5-E1F0-A07D-576B-24D96C9992D2}"/>
          </ac:spMkLst>
        </pc:spChg>
        <pc:spChg chg="mod">
          <ac:chgData name="Olha Perminova (UA)" userId="3a6a8ff4-9418-475a-a23d-87d0c5689c66" providerId="ADAL" clId="{53BC5A52-8424-4628-B81B-003D4332FD6E}" dt="2024-07-05T12:37:23.614" v="130" actId="20577"/>
          <ac:spMkLst>
            <pc:docMk/>
            <pc:sldMk cId="3128847407" sldId="2147481907"/>
            <ac:spMk id="54" creationId="{8E63A1AA-701B-5F45-B838-1BDFB0811BF3}"/>
          </ac:spMkLst>
        </pc:spChg>
        <pc:spChg chg="mod">
          <ac:chgData name="Olha Perminova (UA)" userId="3a6a8ff4-9418-475a-a23d-87d0c5689c66" providerId="ADAL" clId="{53BC5A52-8424-4628-B81B-003D4332FD6E}" dt="2024-07-05T12:36:54.727" v="67" actId="14100"/>
          <ac:spMkLst>
            <pc:docMk/>
            <pc:sldMk cId="3128847407" sldId="2147481907"/>
            <ac:spMk id="55" creationId="{5829EF3D-2765-04A5-F92B-707E4ECA376A}"/>
          </ac:spMkLst>
        </pc:spChg>
        <pc:spChg chg="mod">
          <ac:chgData name="Olha Perminova (UA)" userId="3a6a8ff4-9418-475a-a23d-87d0c5689c66" providerId="ADAL" clId="{53BC5A52-8424-4628-B81B-003D4332FD6E}" dt="2024-07-05T12:37:09.140" v="115"/>
          <ac:spMkLst>
            <pc:docMk/>
            <pc:sldMk cId="3128847407" sldId="2147481907"/>
            <ac:spMk id="57" creationId="{C5E31F34-FCB1-0D67-2136-2084D697E02B}"/>
          </ac:spMkLst>
        </pc:spChg>
        <pc:spChg chg="mod">
          <ac:chgData name="Olha Perminova (UA)" userId="3a6a8ff4-9418-475a-a23d-87d0c5689c66" providerId="ADAL" clId="{53BC5A52-8424-4628-B81B-003D4332FD6E}" dt="2024-07-05T12:37:15.467" v="129" actId="14100"/>
          <ac:spMkLst>
            <pc:docMk/>
            <pc:sldMk cId="3128847407" sldId="2147481907"/>
            <ac:spMk id="60" creationId="{EEFC052F-1E24-EE1F-2A55-AFB2ACA441EF}"/>
          </ac:spMkLst>
        </pc:spChg>
        <pc:spChg chg="mod">
          <ac:chgData name="Olha Perminova (UA)" userId="3a6a8ff4-9418-475a-a23d-87d0c5689c66" providerId="ADAL" clId="{53BC5A52-8424-4628-B81B-003D4332FD6E}" dt="2024-07-05T12:36:52.651" v="66" actId="14100"/>
          <ac:spMkLst>
            <pc:docMk/>
            <pc:sldMk cId="3128847407" sldId="2147481907"/>
            <ac:spMk id="75" creationId="{409F003D-2BCA-88C0-5842-A181453CF1F7}"/>
          </ac:spMkLst>
        </pc:spChg>
        <pc:spChg chg="mod">
          <ac:chgData name="Olha Perminova (UA)" userId="3a6a8ff4-9418-475a-a23d-87d0c5689c66" providerId="ADAL" clId="{53BC5A52-8424-4628-B81B-003D4332FD6E}" dt="2024-07-05T12:37:13.054" v="124"/>
          <ac:spMkLst>
            <pc:docMk/>
            <pc:sldMk cId="3128847407" sldId="2147481907"/>
            <ac:spMk id="77" creationId="{E2B14FFD-89ED-0A4E-6408-0C0AEFFB101A}"/>
          </ac:spMkLst>
        </pc:spChg>
        <pc:grpChg chg="del">
          <ac:chgData name="Olha Perminova (UA)" userId="3a6a8ff4-9418-475a-a23d-87d0c5689c66" providerId="ADAL" clId="{53BC5A52-8424-4628-B81B-003D4332FD6E}" dt="2024-07-05T12:36:41.331" v="64" actId="478"/>
          <ac:grpSpMkLst>
            <pc:docMk/>
            <pc:sldMk cId="3128847407" sldId="2147481907"/>
            <ac:grpSpMk id="5" creationId="{2E5C4B12-A1C3-EEA5-4D70-B9A7A6A9EC17}"/>
          </ac:grpSpMkLst>
        </pc:grpChg>
        <pc:grpChg chg="add mod">
          <ac:chgData name="Olha Perminova (UA)" userId="3a6a8ff4-9418-475a-a23d-87d0c5689c66" providerId="ADAL" clId="{53BC5A52-8424-4628-B81B-003D4332FD6E}" dt="2024-07-05T12:36:42.088" v="65"/>
          <ac:grpSpMkLst>
            <pc:docMk/>
            <pc:sldMk cId="3128847407" sldId="2147481907"/>
            <ac:grpSpMk id="13" creationId="{3E77A534-9B64-C05F-9C18-E393BDF20F2A}"/>
          </ac:grpSpMkLst>
        </pc:grpChg>
        <pc:grpChg chg="add del mod">
          <ac:chgData name="Olha Perminova (UA)" userId="3a6a8ff4-9418-475a-a23d-87d0c5689c66" providerId="ADAL" clId="{53BC5A52-8424-4628-B81B-003D4332FD6E}" dt="2024-07-05T12:37:36.843" v="145"/>
          <ac:grpSpMkLst>
            <pc:docMk/>
            <pc:sldMk cId="3128847407" sldId="2147481907"/>
            <ac:grpSpMk id="29" creationId="{56387F3E-CAED-AEE0-2D5E-6962922B267B}"/>
          </ac:grpSpMkLst>
        </pc:grpChg>
        <pc:graphicFrameChg chg="add mod ord modVis replST">
          <ac:chgData name="Olha Perminova (UA)" userId="3a6a8ff4-9418-475a-a23d-87d0c5689c66" providerId="ADAL" clId="{53BC5A52-8424-4628-B81B-003D4332FD6E}" dt="2024-07-05T12:37:13.054" v="128"/>
          <ac:graphicFrameMkLst>
            <pc:docMk/>
            <pc:sldMk cId="3128847407" sldId="2147481907"/>
            <ac:graphicFrameMk id="22" creationId="{FDC09029-2632-F2A2-F3C1-B999D89E6C97}"/>
          </ac:graphicFrameMkLst>
        </pc:graphicFrameChg>
      </pc:sldChg>
      <pc:sldChg chg="addSp delSp modSp mod">
        <pc:chgData name="Olha Perminova (UA)" userId="3a6a8ff4-9418-475a-a23d-87d0c5689c66" providerId="ADAL" clId="{53BC5A52-8424-4628-B81B-003D4332FD6E}" dt="2024-07-05T12:41:15.798" v="176"/>
        <pc:sldMkLst>
          <pc:docMk/>
          <pc:sldMk cId="372668532" sldId="2147481911"/>
        </pc:sldMkLst>
        <pc:spChg chg="del">
          <ac:chgData name="Olha Perminova (UA)" userId="3a6a8ff4-9418-475a-a23d-87d0c5689c66" providerId="ADAL" clId="{53BC5A52-8424-4628-B81B-003D4332FD6E}" dt="2024-07-05T12:41:15.373" v="175" actId="478"/>
          <ac:spMkLst>
            <pc:docMk/>
            <pc:sldMk cId="372668532" sldId="2147481911"/>
            <ac:spMk id="2" creationId="{53B30FED-9B53-D0C4-3815-3E91A10C1E57}"/>
          </ac:spMkLst>
        </pc:spChg>
        <pc:spChg chg="mod">
          <ac:chgData name="Olha Perminova (UA)" userId="3a6a8ff4-9418-475a-a23d-87d0c5689c66" providerId="ADAL" clId="{53BC5A52-8424-4628-B81B-003D4332FD6E}" dt="2024-07-05T12:41:15.798" v="176"/>
          <ac:spMkLst>
            <pc:docMk/>
            <pc:sldMk cId="372668532" sldId="2147481911"/>
            <ac:spMk id="12" creationId="{3D36EA2F-DCBA-501D-0D7A-E0E6D6CBDF3F}"/>
          </ac:spMkLst>
        </pc:spChg>
        <pc:spChg chg="mod">
          <ac:chgData name="Olha Perminova (UA)" userId="3a6a8ff4-9418-475a-a23d-87d0c5689c66" providerId="ADAL" clId="{53BC5A52-8424-4628-B81B-003D4332FD6E}" dt="2024-07-05T12:41:15.798" v="176"/>
          <ac:spMkLst>
            <pc:docMk/>
            <pc:sldMk cId="372668532" sldId="2147481911"/>
            <ac:spMk id="13" creationId="{F28B25F6-9FCC-E434-3E46-B02E04484E4F}"/>
          </ac:spMkLst>
        </pc:spChg>
        <pc:spChg chg="mod">
          <ac:chgData name="Olha Perminova (UA)" userId="3a6a8ff4-9418-475a-a23d-87d0c5689c66" providerId="ADAL" clId="{53BC5A52-8424-4628-B81B-003D4332FD6E}" dt="2024-07-05T12:41:15.798" v="176"/>
          <ac:spMkLst>
            <pc:docMk/>
            <pc:sldMk cId="372668532" sldId="2147481911"/>
            <ac:spMk id="14" creationId="{354EB8FE-F514-E367-63EF-AA0BFF0F4427}"/>
          </ac:spMkLst>
        </pc:spChg>
        <pc:spChg chg="mod">
          <ac:chgData name="Olha Perminova (UA)" userId="3a6a8ff4-9418-475a-a23d-87d0c5689c66" providerId="ADAL" clId="{53BC5A52-8424-4628-B81B-003D4332FD6E}" dt="2024-07-05T12:41:15.798" v="176"/>
          <ac:spMkLst>
            <pc:docMk/>
            <pc:sldMk cId="372668532" sldId="2147481911"/>
            <ac:spMk id="15" creationId="{DB7AB565-FD2D-7210-E81B-9CFE078A96A6}"/>
          </ac:spMkLst>
        </pc:spChg>
        <pc:spChg chg="mod">
          <ac:chgData name="Olha Perminova (UA)" userId="3a6a8ff4-9418-475a-a23d-87d0c5689c66" providerId="ADAL" clId="{53BC5A52-8424-4628-B81B-003D4332FD6E}" dt="2024-07-05T12:41:15.798" v="176"/>
          <ac:spMkLst>
            <pc:docMk/>
            <pc:sldMk cId="372668532" sldId="2147481911"/>
            <ac:spMk id="16" creationId="{519B76A7-F612-ECEA-58CC-63E390A23C41}"/>
          </ac:spMkLst>
        </pc:spChg>
        <pc:spChg chg="mod">
          <ac:chgData name="Olha Perminova (UA)" userId="3a6a8ff4-9418-475a-a23d-87d0c5689c66" providerId="ADAL" clId="{53BC5A52-8424-4628-B81B-003D4332FD6E}" dt="2024-07-05T12:41:15.798" v="176"/>
          <ac:spMkLst>
            <pc:docMk/>
            <pc:sldMk cId="372668532" sldId="2147481911"/>
            <ac:spMk id="17" creationId="{4A3E121B-1EDF-20CF-7C23-9FC3D0B41421}"/>
          </ac:spMkLst>
        </pc:spChg>
        <pc:spChg chg="add mod">
          <ac:chgData name="Olha Perminova (UA)" userId="3a6a8ff4-9418-475a-a23d-87d0c5689c66" providerId="ADAL" clId="{53BC5A52-8424-4628-B81B-003D4332FD6E}" dt="2024-07-05T12:41:15.798" v="176"/>
          <ac:spMkLst>
            <pc:docMk/>
            <pc:sldMk cId="372668532" sldId="2147481911"/>
            <ac:spMk id="18" creationId="{0279911C-9EA8-AFD5-1190-67BE44AFA226}"/>
          </ac:spMkLst>
        </pc:spChg>
        <pc:grpChg chg="add mod">
          <ac:chgData name="Olha Perminova (UA)" userId="3a6a8ff4-9418-475a-a23d-87d0c5689c66" providerId="ADAL" clId="{53BC5A52-8424-4628-B81B-003D4332FD6E}" dt="2024-07-05T12:41:15.798" v="176"/>
          <ac:grpSpMkLst>
            <pc:docMk/>
            <pc:sldMk cId="372668532" sldId="2147481911"/>
            <ac:grpSpMk id="9" creationId="{026AD003-7E1A-D7A7-E778-8D3F41A3621E}"/>
          </ac:grpSpMkLst>
        </pc:grpChg>
        <pc:grpChg chg="del">
          <ac:chgData name="Olha Perminova (UA)" userId="3a6a8ff4-9418-475a-a23d-87d0c5689c66" providerId="ADAL" clId="{53BC5A52-8424-4628-B81B-003D4332FD6E}" dt="2024-07-05T12:41:15.373" v="175" actId="478"/>
          <ac:grpSpMkLst>
            <pc:docMk/>
            <pc:sldMk cId="372668532" sldId="2147481911"/>
            <ac:grpSpMk id="35" creationId="{17F9ACE5-F250-DAA2-5DE6-31C24F5F6124}"/>
          </ac:grpSpMkLst>
        </pc:grpChg>
      </pc:sldChg>
      <pc:sldChg chg="addSp delSp modSp mod">
        <pc:chgData name="Olha Perminova (UA)" userId="3a6a8ff4-9418-475a-a23d-87d0c5689c66" providerId="ADAL" clId="{53BC5A52-8424-4628-B81B-003D4332FD6E}" dt="2024-07-05T12:35:48.164" v="50"/>
        <pc:sldMkLst>
          <pc:docMk/>
          <pc:sldMk cId="902380533" sldId="2147481912"/>
        </pc:sldMkLst>
        <pc:spChg chg="del">
          <ac:chgData name="Olha Perminova (UA)" userId="3a6a8ff4-9418-475a-a23d-87d0c5689c66" providerId="ADAL" clId="{53BC5A52-8424-4628-B81B-003D4332FD6E}" dt="2024-07-05T12:35:47.767" v="49" actId="478"/>
          <ac:spMkLst>
            <pc:docMk/>
            <pc:sldMk cId="902380533" sldId="2147481912"/>
            <ac:spMk id="2" creationId="{54AE6F26-EA3E-592F-41FC-B23FB4F07D34}"/>
          </ac:spMkLst>
        </pc:spChg>
        <pc:spChg chg="mod">
          <ac:chgData name="Olha Perminova (UA)" userId="3a6a8ff4-9418-475a-a23d-87d0c5689c66" providerId="ADAL" clId="{53BC5A52-8424-4628-B81B-003D4332FD6E}" dt="2024-07-05T12:35:48.164" v="50"/>
          <ac:spMkLst>
            <pc:docMk/>
            <pc:sldMk cId="902380533" sldId="2147481912"/>
            <ac:spMk id="6" creationId="{6D0E901A-DD5D-99D9-F5D1-A7CCE552DAF6}"/>
          </ac:spMkLst>
        </pc:spChg>
        <pc:spChg chg="mod">
          <ac:chgData name="Olha Perminova (UA)" userId="3a6a8ff4-9418-475a-a23d-87d0c5689c66" providerId="ADAL" clId="{53BC5A52-8424-4628-B81B-003D4332FD6E}" dt="2024-07-05T12:35:48.164" v="50"/>
          <ac:spMkLst>
            <pc:docMk/>
            <pc:sldMk cId="902380533" sldId="2147481912"/>
            <ac:spMk id="7" creationId="{AE147389-6B8F-1E50-2654-DCB3A19F98A4}"/>
          </ac:spMkLst>
        </pc:spChg>
        <pc:spChg chg="mod">
          <ac:chgData name="Olha Perminova (UA)" userId="3a6a8ff4-9418-475a-a23d-87d0c5689c66" providerId="ADAL" clId="{53BC5A52-8424-4628-B81B-003D4332FD6E}" dt="2024-07-05T12:35:48.164" v="50"/>
          <ac:spMkLst>
            <pc:docMk/>
            <pc:sldMk cId="902380533" sldId="2147481912"/>
            <ac:spMk id="9" creationId="{DCA8B7AC-D792-23A9-1165-F057324A5E3C}"/>
          </ac:spMkLst>
        </pc:spChg>
        <pc:spChg chg="mod">
          <ac:chgData name="Olha Perminova (UA)" userId="3a6a8ff4-9418-475a-a23d-87d0c5689c66" providerId="ADAL" clId="{53BC5A52-8424-4628-B81B-003D4332FD6E}" dt="2024-07-05T12:35:48.164" v="50"/>
          <ac:spMkLst>
            <pc:docMk/>
            <pc:sldMk cId="902380533" sldId="2147481912"/>
            <ac:spMk id="10" creationId="{8FB4B04D-9DC4-CC24-F95C-4479076A70FF}"/>
          </ac:spMkLst>
        </pc:spChg>
        <pc:spChg chg="mod">
          <ac:chgData name="Olha Perminova (UA)" userId="3a6a8ff4-9418-475a-a23d-87d0c5689c66" providerId="ADAL" clId="{53BC5A52-8424-4628-B81B-003D4332FD6E}" dt="2024-07-05T12:35:48.164" v="50"/>
          <ac:spMkLst>
            <pc:docMk/>
            <pc:sldMk cId="902380533" sldId="2147481912"/>
            <ac:spMk id="16" creationId="{43C4A778-0529-2841-7484-AED6C5EDEB32}"/>
          </ac:spMkLst>
        </pc:spChg>
        <pc:spChg chg="mod">
          <ac:chgData name="Olha Perminova (UA)" userId="3a6a8ff4-9418-475a-a23d-87d0c5689c66" providerId="ADAL" clId="{53BC5A52-8424-4628-B81B-003D4332FD6E}" dt="2024-07-05T12:35:48.164" v="50"/>
          <ac:spMkLst>
            <pc:docMk/>
            <pc:sldMk cId="902380533" sldId="2147481912"/>
            <ac:spMk id="29" creationId="{5E1D6329-2C7E-C05C-7C29-98E664C37F14}"/>
          </ac:spMkLst>
        </pc:spChg>
        <pc:spChg chg="add mod">
          <ac:chgData name="Olha Perminova (UA)" userId="3a6a8ff4-9418-475a-a23d-87d0c5689c66" providerId="ADAL" clId="{53BC5A52-8424-4628-B81B-003D4332FD6E}" dt="2024-07-05T12:35:48.164" v="50"/>
          <ac:spMkLst>
            <pc:docMk/>
            <pc:sldMk cId="902380533" sldId="2147481912"/>
            <ac:spMk id="30" creationId="{0D8A044E-CC32-07F8-7FE9-32A7C0639205}"/>
          </ac:spMkLst>
        </pc:spChg>
        <pc:grpChg chg="add mod">
          <ac:chgData name="Olha Perminova (UA)" userId="3a6a8ff4-9418-475a-a23d-87d0c5689c66" providerId="ADAL" clId="{53BC5A52-8424-4628-B81B-003D4332FD6E}" dt="2024-07-05T12:35:48.164" v="50"/>
          <ac:grpSpMkLst>
            <pc:docMk/>
            <pc:sldMk cId="902380533" sldId="2147481912"/>
            <ac:grpSpMk id="3" creationId="{9585B227-8C56-F79A-D635-01816587A2C6}"/>
          </ac:grpSpMkLst>
        </pc:grpChg>
        <pc:grpChg chg="del">
          <ac:chgData name="Olha Perminova (UA)" userId="3a6a8ff4-9418-475a-a23d-87d0c5689c66" providerId="ADAL" clId="{53BC5A52-8424-4628-B81B-003D4332FD6E}" dt="2024-07-05T12:35:47.767" v="49" actId="478"/>
          <ac:grpSpMkLst>
            <pc:docMk/>
            <pc:sldMk cId="902380533" sldId="2147481912"/>
            <ac:grpSpMk id="31" creationId="{7127EB1B-DE96-DC39-9146-CEF726D947BF}"/>
          </ac:grpSpMkLst>
        </pc:grpChg>
      </pc:sldChg>
      <pc:sldChg chg="addSp delSp modSp mod">
        <pc:chgData name="Olha Perminova (UA)" userId="3a6a8ff4-9418-475a-a23d-87d0c5689c66" providerId="ADAL" clId="{53BC5A52-8424-4628-B81B-003D4332FD6E}" dt="2024-07-05T12:41:19.504" v="178"/>
        <pc:sldMkLst>
          <pc:docMk/>
          <pc:sldMk cId="2494049098" sldId="2147481919"/>
        </pc:sldMkLst>
        <pc:spChg chg="del">
          <ac:chgData name="Olha Perminova (UA)" userId="3a6a8ff4-9418-475a-a23d-87d0c5689c66" providerId="ADAL" clId="{53BC5A52-8424-4628-B81B-003D4332FD6E}" dt="2024-07-05T12:41:19.131" v="177" actId="478"/>
          <ac:spMkLst>
            <pc:docMk/>
            <pc:sldMk cId="2494049098" sldId="2147481919"/>
            <ac:spMk id="2" creationId="{BEC6511E-C33A-6752-120D-B54808D54898}"/>
          </ac:spMkLst>
        </pc:spChg>
        <pc:spChg chg="mod">
          <ac:chgData name="Olha Perminova (UA)" userId="3a6a8ff4-9418-475a-a23d-87d0c5689c66" providerId="ADAL" clId="{53BC5A52-8424-4628-B81B-003D4332FD6E}" dt="2024-07-05T12:41:19.504" v="178"/>
          <ac:spMkLst>
            <pc:docMk/>
            <pc:sldMk cId="2494049098" sldId="2147481919"/>
            <ac:spMk id="4" creationId="{31250316-1110-946F-3CBD-52C0F26D3A3C}"/>
          </ac:spMkLst>
        </pc:spChg>
        <pc:spChg chg="mod">
          <ac:chgData name="Olha Perminova (UA)" userId="3a6a8ff4-9418-475a-a23d-87d0c5689c66" providerId="ADAL" clId="{53BC5A52-8424-4628-B81B-003D4332FD6E}" dt="2024-07-05T12:41:19.504" v="178"/>
          <ac:spMkLst>
            <pc:docMk/>
            <pc:sldMk cId="2494049098" sldId="2147481919"/>
            <ac:spMk id="6" creationId="{5C4CAB3D-55A2-8617-3D2A-240AA10A140B}"/>
          </ac:spMkLst>
        </pc:spChg>
        <pc:spChg chg="mod">
          <ac:chgData name="Olha Perminova (UA)" userId="3a6a8ff4-9418-475a-a23d-87d0c5689c66" providerId="ADAL" clId="{53BC5A52-8424-4628-B81B-003D4332FD6E}" dt="2024-07-05T12:41:19.504" v="178"/>
          <ac:spMkLst>
            <pc:docMk/>
            <pc:sldMk cId="2494049098" sldId="2147481919"/>
            <ac:spMk id="7" creationId="{90822E6F-124F-B574-A7E1-DB22DA97284E}"/>
          </ac:spMkLst>
        </pc:spChg>
        <pc:spChg chg="mod">
          <ac:chgData name="Olha Perminova (UA)" userId="3a6a8ff4-9418-475a-a23d-87d0c5689c66" providerId="ADAL" clId="{53BC5A52-8424-4628-B81B-003D4332FD6E}" dt="2024-07-05T12:41:19.504" v="178"/>
          <ac:spMkLst>
            <pc:docMk/>
            <pc:sldMk cId="2494049098" sldId="2147481919"/>
            <ac:spMk id="8" creationId="{00ED93F6-9143-8C26-3F96-E439CF07E307}"/>
          </ac:spMkLst>
        </pc:spChg>
        <pc:spChg chg="mod">
          <ac:chgData name="Olha Perminova (UA)" userId="3a6a8ff4-9418-475a-a23d-87d0c5689c66" providerId="ADAL" clId="{53BC5A52-8424-4628-B81B-003D4332FD6E}" dt="2024-07-05T12:41:19.504" v="178"/>
          <ac:spMkLst>
            <pc:docMk/>
            <pc:sldMk cId="2494049098" sldId="2147481919"/>
            <ac:spMk id="9" creationId="{AC9CF26B-148A-E465-1438-D4B63F863305}"/>
          </ac:spMkLst>
        </pc:spChg>
        <pc:spChg chg="mod">
          <ac:chgData name="Olha Perminova (UA)" userId="3a6a8ff4-9418-475a-a23d-87d0c5689c66" providerId="ADAL" clId="{53BC5A52-8424-4628-B81B-003D4332FD6E}" dt="2024-07-05T12:41:19.504" v="178"/>
          <ac:spMkLst>
            <pc:docMk/>
            <pc:sldMk cId="2494049098" sldId="2147481919"/>
            <ac:spMk id="10" creationId="{68B00629-906D-B93B-BF36-81C30CCF9515}"/>
          </ac:spMkLst>
        </pc:spChg>
        <pc:spChg chg="add mod">
          <ac:chgData name="Olha Perminova (UA)" userId="3a6a8ff4-9418-475a-a23d-87d0c5689c66" providerId="ADAL" clId="{53BC5A52-8424-4628-B81B-003D4332FD6E}" dt="2024-07-05T12:41:19.504" v="178"/>
          <ac:spMkLst>
            <pc:docMk/>
            <pc:sldMk cId="2494049098" sldId="2147481919"/>
            <ac:spMk id="11" creationId="{9BDE25C1-5C0F-02C7-B9C5-218660525B36}"/>
          </ac:spMkLst>
        </pc:spChg>
        <pc:grpChg chg="add mod">
          <ac:chgData name="Olha Perminova (UA)" userId="3a6a8ff4-9418-475a-a23d-87d0c5689c66" providerId="ADAL" clId="{53BC5A52-8424-4628-B81B-003D4332FD6E}" dt="2024-07-05T12:41:19.504" v="178"/>
          <ac:grpSpMkLst>
            <pc:docMk/>
            <pc:sldMk cId="2494049098" sldId="2147481919"/>
            <ac:grpSpMk id="3" creationId="{0044053A-C95C-B3CD-8CB7-AA8C508AFC18}"/>
          </ac:grpSpMkLst>
        </pc:grpChg>
        <pc:grpChg chg="del">
          <ac:chgData name="Olha Perminova (UA)" userId="3a6a8ff4-9418-475a-a23d-87d0c5689c66" providerId="ADAL" clId="{53BC5A52-8424-4628-B81B-003D4332FD6E}" dt="2024-07-05T12:41:19.131" v="177" actId="478"/>
          <ac:grpSpMkLst>
            <pc:docMk/>
            <pc:sldMk cId="2494049098" sldId="2147481919"/>
            <ac:grpSpMk id="30" creationId="{FC3C1F91-1680-0B6A-54D2-EE443C4A1D73}"/>
          </ac:grpSpMkLst>
        </pc:grpChg>
      </pc:sldChg>
      <pc:sldChg chg="addSp delSp modSp mod">
        <pc:chgData name="Olha Perminova (UA)" userId="3a6a8ff4-9418-475a-a23d-87d0c5689c66" providerId="ADAL" clId="{53BC5A52-8424-4628-B81B-003D4332FD6E}" dt="2024-07-05T12:41:24.374" v="180"/>
        <pc:sldMkLst>
          <pc:docMk/>
          <pc:sldMk cId="1622579242" sldId="2147481920"/>
        </pc:sldMkLst>
        <pc:spChg chg="del">
          <ac:chgData name="Olha Perminova (UA)" userId="3a6a8ff4-9418-475a-a23d-87d0c5689c66" providerId="ADAL" clId="{53BC5A52-8424-4628-B81B-003D4332FD6E}" dt="2024-07-05T12:41:23.965" v="179" actId="478"/>
          <ac:spMkLst>
            <pc:docMk/>
            <pc:sldMk cId="1622579242" sldId="2147481920"/>
            <ac:spMk id="3" creationId="{A810622E-1DC6-3A6A-4471-12536EFD6CD5}"/>
          </ac:spMkLst>
        </pc:spChg>
        <pc:spChg chg="mod">
          <ac:chgData name="Olha Perminova (UA)" userId="3a6a8ff4-9418-475a-a23d-87d0c5689c66" providerId="ADAL" clId="{53BC5A52-8424-4628-B81B-003D4332FD6E}" dt="2024-07-05T12:41:24.374" v="180"/>
          <ac:spMkLst>
            <pc:docMk/>
            <pc:sldMk cId="1622579242" sldId="2147481920"/>
            <ac:spMk id="6" creationId="{0B4A7424-751B-36FD-BE3A-BB5C3DED7A87}"/>
          </ac:spMkLst>
        </pc:spChg>
        <pc:spChg chg="mod">
          <ac:chgData name="Olha Perminova (UA)" userId="3a6a8ff4-9418-475a-a23d-87d0c5689c66" providerId="ADAL" clId="{53BC5A52-8424-4628-B81B-003D4332FD6E}" dt="2024-07-05T12:41:24.374" v="180"/>
          <ac:spMkLst>
            <pc:docMk/>
            <pc:sldMk cId="1622579242" sldId="2147481920"/>
            <ac:spMk id="7" creationId="{9A9F80D7-1305-EA01-225C-8E4C031D06B2}"/>
          </ac:spMkLst>
        </pc:spChg>
        <pc:spChg chg="mod">
          <ac:chgData name="Olha Perminova (UA)" userId="3a6a8ff4-9418-475a-a23d-87d0c5689c66" providerId="ADAL" clId="{53BC5A52-8424-4628-B81B-003D4332FD6E}" dt="2024-07-05T12:41:24.374" v="180"/>
          <ac:spMkLst>
            <pc:docMk/>
            <pc:sldMk cId="1622579242" sldId="2147481920"/>
            <ac:spMk id="8" creationId="{E2C1805E-6EF4-9546-F7E4-3542F63D31B2}"/>
          </ac:spMkLst>
        </pc:spChg>
        <pc:spChg chg="mod">
          <ac:chgData name="Olha Perminova (UA)" userId="3a6a8ff4-9418-475a-a23d-87d0c5689c66" providerId="ADAL" clId="{53BC5A52-8424-4628-B81B-003D4332FD6E}" dt="2024-07-05T12:41:24.374" v="180"/>
          <ac:spMkLst>
            <pc:docMk/>
            <pc:sldMk cId="1622579242" sldId="2147481920"/>
            <ac:spMk id="9" creationId="{81862811-4CC2-A059-CCB2-B6CAF71A4143}"/>
          </ac:spMkLst>
        </pc:spChg>
        <pc:spChg chg="mod">
          <ac:chgData name="Olha Perminova (UA)" userId="3a6a8ff4-9418-475a-a23d-87d0c5689c66" providerId="ADAL" clId="{53BC5A52-8424-4628-B81B-003D4332FD6E}" dt="2024-07-05T12:41:24.374" v="180"/>
          <ac:spMkLst>
            <pc:docMk/>
            <pc:sldMk cId="1622579242" sldId="2147481920"/>
            <ac:spMk id="10" creationId="{93A6DFF5-C0E5-6BD9-B1BF-D8CAB47FD9BA}"/>
          </ac:spMkLst>
        </pc:spChg>
        <pc:spChg chg="mod">
          <ac:chgData name="Olha Perminova (UA)" userId="3a6a8ff4-9418-475a-a23d-87d0c5689c66" providerId="ADAL" clId="{53BC5A52-8424-4628-B81B-003D4332FD6E}" dt="2024-07-05T12:41:24.374" v="180"/>
          <ac:spMkLst>
            <pc:docMk/>
            <pc:sldMk cId="1622579242" sldId="2147481920"/>
            <ac:spMk id="11" creationId="{0212F4D5-E9DA-ECD1-9612-75B3EB5BBA8B}"/>
          </ac:spMkLst>
        </pc:spChg>
        <pc:spChg chg="add mod">
          <ac:chgData name="Olha Perminova (UA)" userId="3a6a8ff4-9418-475a-a23d-87d0c5689c66" providerId="ADAL" clId="{53BC5A52-8424-4628-B81B-003D4332FD6E}" dt="2024-07-05T12:41:24.374" v="180"/>
          <ac:spMkLst>
            <pc:docMk/>
            <pc:sldMk cId="1622579242" sldId="2147481920"/>
            <ac:spMk id="12" creationId="{121C3322-2CDE-FBBC-CAC7-EAC434258C95}"/>
          </ac:spMkLst>
        </pc:spChg>
        <pc:grpChg chg="add mod">
          <ac:chgData name="Olha Perminova (UA)" userId="3a6a8ff4-9418-475a-a23d-87d0c5689c66" providerId="ADAL" clId="{53BC5A52-8424-4628-B81B-003D4332FD6E}" dt="2024-07-05T12:41:24.374" v="180"/>
          <ac:grpSpMkLst>
            <pc:docMk/>
            <pc:sldMk cId="1622579242" sldId="2147481920"/>
            <ac:grpSpMk id="4" creationId="{475F6135-C375-7D30-1089-5B7153387518}"/>
          </ac:grpSpMkLst>
        </pc:grpChg>
        <pc:grpChg chg="del">
          <ac:chgData name="Olha Perminova (UA)" userId="3a6a8ff4-9418-475a-a23d-87d0c5689c66" providerId="ADAL" clId="{53BC5A52-8424-4628-B81B-003D4332FD6E}" dt="2024-07-05T12:41:23.965" v="179" actId="478"/>
          <ac:grpSpMkLst>
            <pc:docMk/>
            <pc:sldMk cId="1622579242" sldId="2147481920"/>
            <ac:grpSpMk id="37" creationId="{018D9F7E-FBDC-E589-CD13-C0E8D0B821BB}"/>
          </ac:grpSpMkLst>
        </pc:grpChg>
      </pc:sldChg>
      <pc:sldChg chg="addSp delSp modSp mod">
        <pc:chgData name="Olha Perminova (UA)" userId="3a6a8ff4-9418-475a-a23d-87d0c5689c66" providerId="ADAL" clId="{53BC5A52-8424-4628-B81B-003D4332FD6E}" dt="2024-07-05T12:40:22.806" v="162"/>
        <pc:sldMkLst>
          <pc:docMk/>
          <pc:sldMk cId="4049782693" sldId="2147481949"/>
        </pc:sldMkLst>
        <pc:spChg chg="del">
          <ac:chgData name="Olha Perminova (UA)" userId="3a6a8ff4-9418-475a-a23d-87d0c5689c66" providerId="ADAL" clId="{53BC5A52-8424-4628-B81B-003D4332FD6E}" dt="2024-07-05T12:37:54.624" v="152" actId="478"/>
          <ac:spMkLst>
            <pc:docMk/>
            <pc:sldMk cId="4049782693" sldId="2147481949"/>
            <ac:spMk id="5" creationId="{086D1611-A8EB-5349-ECAA-820ED5B230C5}"/>
          </ac:spMkLst>
        </pc:spChg>
        <pc:spChg chg="mod">
          <ac:chgData name="Olha Perminova (UA)" userId="3a6a8ff4-9418-475a-a23d-87d0c5689c66" providerId="ADAL" clId="{53BC5A52-8424-4628-B81B-003D4332FD6E}" dt="2024-07-05T12:37:55.180" v="153"/>
          <ac:spMkLst>
            <pc:docMk/>
            <pc:sldMk cId="4049782693" sldId="2147481949"/>
            <ac:spMk id="14" creationId="{742AC6B8-6B73-75CC-42D8-ECE794A0309F}"/>
          </ac:spMkLst>
        </pc:spChg>
        <pc:spChg chg="mod">
          <ac:chgData name="Olha Perminova (UA)" userId="3a6a8ff4-9418-475a-a23d-87d0c5689c66" providerId="ADAL" clId="{53BC5A52-8424-4628-B81B-003D4332FD6E}" dt="2024-07-05T12:37:55.180" v="153"/>
          <ac:spMkLst>
            <pc:docMk/>
            <pc:sldMk cId="4049782693" sldId="2147481949"/>
            <ac:spMk id="15" creationId="{23BCB059-834A-571E-CBC6-8D15929A09AD}"/>
          </ac:spMkLst>
        </pc:spChg>
        <pc:spChg chg="mod">
          <ac:chgData name="Olha Perminova (UA)" userId="3a6a8ff4-9418-475a-a23d-87d0c5689c66" providerId="ADAL" clId="{53BC5A52-8424-4628-B81B-003D4332FD6E}" dt="2024-07-05T12:37:55.180" v="153"/>
          <ac:spMkLst>
            <pc:docMk/>
            <pc:sldMk cId="4049782693" sldId="2147481949"/>
            <ac:spMk id="16" creationId="{EBBA4D02-5900-E739-27D7-4AA0289021E1}"/>
          </ac:spMkLst>
        </pc:spChg>
        <pc:spChg chg="mod">
          <ac:chgData name="Olha Perminova (UA)" userId="3a6a8ff4-9418-475a-a23d-87d0c5689c66" providerId="ADAL" clId="{53BC5A52-8424-4628-B81B-003D4332FD6E}" dt="2024-07-05T12:37:55.180" v="153"/>
          <ac:spMkLst>
            <pc:docMk/>
            <pc:sldMk cId="4049782693" sldId="2147481949"/>
            <ac:spMk id="17" creationId="{89D7B7F4-D7C9-20BE-5055-2DACCF634DF9}"/>
          </ac:spMkLst>
        </pc:spChg>
        <pc:spChg chg="mod">
          <ac:chgData name="Olha Perminova (UA)" userId="3a6a8ff4-9418-475a-a23d-87d0c5689c66" providerId="ADAL" clId="{53BC5A52-8424-4628-B81B-003D4332FD6E}" dt="2024-07-05T12:37:55.180" v="153"/>
          <ac:spMkLst>
            <pc:docMk/>
            <pc:sldMk cId="4049782693" sldId="2147481949"/>
            <ac:spMk id="18" creationId="{51E16BF2-2DC5-5C82-F995-EE50D37D7AEC}"/>
          </ac:spMkLst>
        </pc:spChg>
        <pc:spChg chg="mod">
          <ac:chgData name="Olha Perminova (UA)" userId="3a6a8ff4-9418-475a-a23d-87d0c5689c66" providerId="ADAL" clId="{53BC5A52-8424-4628-B81B-003D4332FD6E}" dt="2024-07-05T12:37:55.180" v="153"/>
          <ac:spMkLst>
            <pc:docMk/>
            <pc:sldMk cId="4049782693" sldId="2147481949"/>
            <ac:spMk id="19" creationId="{A0BDE01F-59E5-66A2-7EBE-521254DF9633}"/>
          </ac:spMkLst>
        </pc:spChg>
        <pc:spChg chg="add del mod">
          <ac:chgData name="Olha Perminova (UA)" userId="3a6a8ff4-9418-475a-a23d-87d0c5689c66" providerId="ADAL" clId="{53BC5A52-8424-4628-B81B-003D4332FD6E}" dt="2024-07-05T12:40:22.252" v="161" actId="478"/>
          <ac:spMkLst>
            <pc:docMk/>
            <pc:sldMk cId="4049782693" sldId="2147481949"/>
            <ac:spMk id="20" creationId="{DA4FEA82-C0E0-67EE-CB88-7A5D2179FE12}"/>
          </ac:spMkLst>
        </pc:spChg>
        <pc:spChg chg="mod">
          <ac:chgData name="Olha Perminova (UA)" userId="3a6a8ff4-9418-475a-a23d-87d0c5689c66" providerId="ADAL" clId="{53BC5A52-8424-4628-B81B-003D4332FD6E}" dt="2024-07-05T12:40:22.806" v="162"/>
          <ac:spMkLst>
            <pc:docMk/>
            <pc:sldMk cId="4049782693" sldId="2147481949"/>
            <ac:spMk id="35" creationId="{78FDFB4D-FA51-B5D6-E764-4A010A81449B}"/>
          </ac:spMkLst>
        </pc:spChg>
        <pc:spChg chg="mod">
          <ac:chgData name="Olha Perminova (UA)" userId="3a6a8ff4-9418-475a-a23d-87d0c5689c66" providerId="ADAL" clId="{53BC5A52-8424-4628-B81B-003D4332FD6E}" dt="2024-07-05T12:40:22.806" v="162"/>
          <ac:spMkLst>
            <pc:docMk/>
            <pc:sldMk cId="4049782693" sldId="2147481949"/>
            <ac:spMk id="36" creationId="{D60D94DC-B7AB-B9A0-B564-49CBD5620C6D}"/>
          </ac:spMkLst>
        </pc:spChg>
        <pc:spChg chg="mod">
          <ac:chgData name="Olha Perminova (UA)" userId="3a6a8ff4-9418-475a-a23d-87d0c5689c66" providerId="ADAL" clId="{53BC5A52-8424-4628-B81B-003D4332FD6E}" dt="2024-07-05T12:40:22.806" v="162"/>
          <ac:spMkLst>
            <pc:docMk/>
            <pc:sldMk cId="4049782693" sldId="2147481949"/>
            <ac:spMk id="37" creationId="{A2FE14FF-80A1-FB77-8ED8-BC7A59DE0BB0}"/>
          </ac:spMkLst>
        </pc:spChg>
        <pc:spChg chg="mod">
          <ac:chgData name="Olha Perminova (UA)" userId="3a6a8ff4-9418-475a-a23d-87d0c5689c66" providerId="ADAL" clId="{53BC5A52-8424-4628-B81B-003D4332FD6E}" dt="2024-07-05T12:40:22.806" v="162"/>
          <ac:spMkLst>
            <pc:docMk/>
            <pc:sldMk cId="4049782693" sldId="2147481949"/>
            <ac:spMk id="60" creationId="{A020183F-52C9-D25D-2C4B-4BD1566A8C62}"/>
          </ac:spMkLst>
        </pc:spChg>
        <pc:spChg chg="mod">
          <ac:chgData name="Olha Perminova (UA)" userId="3a6a8ff4-9418-475a-a23d-87d0c5689c66" providerId="ADAL" clId="{53BC5A52-8424-4628-B81B-003D4332FD6E}" dt="2024-07-05T12:40:22.806" v="162"/>
          <ac:spMkLst>
            <pc:docMk/>
            <pc:sldMk cId="4049782693" sldId="2147481949"/>
            <ac:spMk id="61" creationId="{B664AF37-7808-6C03-A139-0599F6FD0A9B}"/>
          </ac:spMkLst>
        </pc:spChg>
        <pc:spChg chg="mod">
          <ac:chgData name="Olha Perminova (UA)" userId="3a6a8ff4-9418-475a-a23d-87d0c5689c66" providerId="ADAL" clId="{53BC5A52-8424-4628-B81B-003D4332FD6E}" dt="2024-07-05T12:40:22.806" v="162"/>
          <ac:spMkLst>
            <pc:docMk/>
            <pc:sldMk cId="4049782693" sldId="2147481949"/>
            <ac:spMk id="62" creationId="{9A5A9F6E-CE1E-8DA6-E6BC-895D2DC12E01}"/>
          </ac:spMkLst>
        </pc:spChg>
        <pc:spChg chg="mod">
          <ac:chgData name="Olha Perminova (UA)" userId="3a6a8ff4-9418-475a-a23d-87d0c5689c66" providerId="ADAL" clId="{53BC5A52-8424-4628-B81B-003D4332FD6E}" dt="2024-07-05T12:40:22.806" v="162"/>
          <ac:spMkLst>
            <pc:docMk/>
            <pc:sldMk cId="4049782693" sldId="2147481949"/>
            <ac:spMk id="63" creationId="{56A308FF-6C7D-1DD9-F4FD-44BD1CA987A0}"/>
          </ac:spMkLst>
        </pc:spChg>
        <pc:spChg chg="add mod">
          <ac:chgData name="Olha Perminova (UA)" userId="3a6a8ff4-9418-475a-a23d-87d0c5689c66" providerId="ADAL" clId="{53BC5A52-8424-4628-B81B-003D4332FD6E}" dt="2024-07-05T12:40:22.806" v="162"/>
          <ac:spMkLst>
            <pc:docMk/>
            <pc:sldMk cId="4049782693" sldId="2147481949"/>
            <ac:spMk id="64" creationId="{D03E5E85-A0F5-2106-75EB-3074E2E17CCF}"/>
          </ac:spMkLst>
        </pc:spChg>
        <pc:grpChg chg="del">
          <ac:chgData name="Olha Perminova (UA)" userId="3a6a8ff4-9418-475a-a23d-87d0c5689c66" providerId="ADAL" clId="{53BC5A52-8424-4628-B81B-003D4332FD6E}" dt="2024-07-05T12:37:54.624" v="152" actId="478"/>
          <ac:grpSpMkLst>
            <pc:docMk/>
            <pc:sldMk cId="4049782693" sldId="2147481949"/>
            <ac:grpSpMk id="3" creationId="{0F5BC93F-5FAE-52F1-C6AB-940899A2DBC4}"/>
          </ac:grpSpMkLst>
        </pc:grpChg>
        <pc:grpChg chg="add del mod">
          <ac:chgData name="Olha Perminova (UA)" userId="3a6a8ff4-9418-475a-a23d-87d0c5689c66" providerId="ADAL" clId="{53BC5A52-8424-4628-B81B-003D4332FD6E}" dt="2024-07-05T12:40:22.252" v="161" actId="478"/>
          <ac:grpSpMkLst>
            <pc:docMk/>
            <pc:sldMk cId="4049782693" sldId="2147481949"/>
            <ac:grpSpMk id="8" creationId="{A9622B3D-FBD0-E8E3-AEC6-F25ECC25AEE1}"/>
          </ac:grpSpMkLst>
        </pc:grpChg>
        <pc:grpChg chg="add mod">
          <ac:chgData name="Olha Perminova (UA)" userId="3a6a8ff4-9418-475a-a23d-87d0c5689c66" providerId="ADAL" clId="{53BC5A52-8424-4628-B81B-003D4332FD6E}" dt="2024-07-05T12:40:22.806" v="162"/>
          <ac:grpSpMkLst>
            <pc:docMk/>
            <pc:sldMk cId="4049782693" sldId="2147481949"/>
            <ac:grpSpMk id="33" creationId="{A05425C7-8148-987A-2A38-B199C2885C9C}"/>
          </ac:grpSpMkLst>
        </pc:grpChg>
      </pc:sldChg>
      <pc:sldChg chg="addSp delSp modSp mod">
        <pc:chgData name="Olha Perminova (UA)" userId="3a6a8ff4-9418-475a-a23d-87d0c5689c66" providerId="ADAL" clId="{53BC5A52-8424-4628-B81B-003D4332FD6E}" dt="2024-07-05T12:40:26.415" v="164"/>
        <pc:sldMkLst>
          <pc:docMk/>
          <pc:sldMk cId="3702537864" sldId="2147481950"/>
        </pc:sldMkLst>
        <pc:spChg chg="del">
          <ac:chgData name="Olha Perminova (UA)" userId="3a6a8ff4-9418-475a-a23d-87d0c5689c66" providerId="ADAL" clId="{53BC5A52-8424-4628-B81B-003D4332FD6E}" dt="2024-07-05T12:37:58.704" v="154" actId="478"/>
          <ac:spMkLst>
            <pc:docMk/>
            <pc:sldMk cId="3702537864" sldId="2147481950"/>
            <ac:spMk id="2" creationId="{189AAD48-35FC-8847-29DA-E65F60AECE6B}"/>
          </ac:spMkLst>
        </pc:spChg>
        <pc:spChg chg="mod">
          <ac:chgData name="Olha Perminova (UA)" userId="3a6a8ff4-9418-475a-a23d-87d0c5689c66" providerId="ADAL" clId="{53BC5A52-8424-4628-B81B-003D4332FD6E}" dt="2024-07-05T12:37:58.857" v="155"/>
          <ac:spMkLst>
            <pc:docMk/>
            <pc:sldMk cId="3702537864" sldId="2147481950"/>
            <ac:spMk id="6" creationId="{EF5403D1-3E51-5C47-0A01-FEBB81406FA5}"/>
          </ac:spMkLst>
        </pc:spChg>
        <pc:spChg chg="mod">
          <ac:chgData name="Olha Perminova (UA)" userId="3a6a8ff4-9418-475a-a23d-87d0c5689c66" providerId="ADAL" clId="{53BC5A52-8424-4628-B81B-003D4332FD6E}" dt="2024-07-05T12:37:58.857" v="155"/>
          <ac:spMkLst>
            <pc:docMk/>
            <pc:sldMk cId="3702537864" sldId="2147481950"/>
            <ac:spMk id="7" creationId="{F537B746-1CED-9C8A-CC35-5A6FAEBAEBF3}"/>
          </ac:spMkLst>
        </pc:spChg>
        <pc:spChg chg="mod">
          <ac:chgData name="Olha Perminova (UA)" userId="3a6a8ff4-9418-475a-a23d-87d0c5689c66" providerId="ADAL" clId="{53BC5A52-8424-4628-B81B-003D4332FD6E}" dt="2024-07-05T12:37:58.857" v="155"/>
          <ac:spMkLst>
            <pc:docMk/>
            <pc:sldMk cId="3702537864" sldId="2147481950"/>
            <ac:spMk id="8" creationId="{664F5F55-37B7-6590-D2F5-4FBDA81B5B22}"/>
          </ac:spMkLst>
        </pc:spChg>
        <pc:spChg chg="mod">
          <ac:chgData name="Olha Perminova (UA)" userId="3a6a8ff4-9418-475a-a23d-87d0c5689c66" providerId="ADAL" clId="{53BC5A52-8424-4628-B81B-003D4332FD6E}" dt="2024-07-05T12:37:58.857" v="155"/>
          <ac:spMkLst>
            <pc:docMk/>
            <pc:sldMk cId="3702537864" sldId="2147481950"/>
            <ac:spMk id="9" creationId="{881CAE11-FEFF-B4FA-028D-5A4D41B7085A}"/>
          </ac:spMkLst>
        </pc:spChg>
        <pc:spChg chg="mod">
          <ac:chgData name="Olha Perminova (UA)" userId="3a6a8ff4-9418-475a-a23d-87d0c5689c66" providerId="ADAL" clId="{53BC5A52-8424-4628-B81B-003D4332FD6E}" dt="2024-07-05T12:37:58.857" v="155"/>
          <ac:spMkLst>
            <pc:docMk/>
            <pc:sldMk cId="3702537864" sldId="2147481950"/>
            <ac:spMk id="11" creationId="{FF540944-10BD-1EB0-C30C-068CA8392F80}"/>
          </ac:spMkLst>
        </pc:spChg>
        <pc:spChg chg="mod">
          <ac:chgData name="Olha Perminova (UA)" userId="3a6a8ff4-9418-475a-a23d-87d0c5689c66" providerId="ADAL" clId="{53BC5A52-8424-4628-B81B-003D4332FD6E}" dt="2024-07-05T12:37:58.857" v="155"/>
          <ac:spMkLst>
            <pc:docMk/>
            <pc:sldMk cId="3702537864" sldId="2147481950"/>
            <ac:spMk id="12" creationId="{5C40E782-6B12-3D57-85BD-5A638F38C381}"/>
          </ac:spMkLst>
        </pc:spChg>
        <pc:spChg chg="add del mod">
          <ac:chgData name="Olha Perminova (UA)" userId="3a6a8ff4-9418-475a-a23d-87d0c5689c66" providerId="ADAL" clId="{53BC5A52-8424-4628-B81B-003D4332FD6E}" dt="2024-07-05T12:40:26.042" v="163" actId="478"/>
          <ac:spMkLst>
            <pc:docMk/>
            <pc:sldMk cId="3702537864" sldId="2147481950"/>
            <ac:spMk id="42" creationId="{399EF47F-75DF-CD7D-921E-A54D9EFAA3D1}"/>
          </ac:spMkLst>
        </pc:spChg>
        <pc:spChg chg="mod">
          <ac:chgData name="Olha Perminova (UA)" userId="3a6a8ff4-9418-475a-a23d-87d0c5689c66" providerId="ADAL" clId="{53BC5A52-8424-4628-B81B-003D4332FD6E}" dt="2024-07-05T12:40:26.415" v="164"/>
          <ac:spMkLst>
            <pc:docMk/>
            <pc:sldMk cId="3702537864" sldId="2147481950"/>
            <ac:spMk id="44" creationId="{F466F695-77ED-2E88-0E20-894885A7E9BA}"/>
          </ac:spMkLst>
        </pc:spChg>
        <pc:spChg chg="mod">
          <ac:chgData name="Olha Perminova (UA)" userId="3a6a8ff4-9418-475a-a23d-87d0c5689c66" providerId="ADAL" clId="{53BC5A52-8424-4628-B81B-003D4332FD6E}" dt="2024-07-05T12:40:26.415" v="164"/>
          <ac:spMkLst>
            <pc:docMk/>
            <pc:sldMk cId="3702537864" sldId="2147481950"/>
            <ac:spMk id="45" creationId="{A99C89E1-EC6F-E61B-62BB-842B160158E5}"/>
          </ac:spMkLst>
        </pc:spChg>
        <pc:spChg chg="mod">
          <ac:chgData name="Olha Perminova (UA)" userId="3a6a8ff4-9418-475a-a23d-87d0c5689c66" providerId="ADAL" clId="{53BC5A52-8424-4628-B81B-003D4332FD6E}" dt="2024-07-05T12:40:26.415" v="164"/>
          <ac:spMkLst>
            <pc:docMk/>
            <pc:sldMk cId="3702537864" sldId="2147481950"/>
            <ac:spMk id="46" creationId="{9850E09F-1276-78CF-826B-2CC8C980E974}"/>
          </ac:spMkLst>
        </pc:spChg>
        <pc:spChg chg="mod">
          <ac:chgData name="Olha Perminova (UA)" userId="3a6a8ff4-9418-475a-a23d-87d0c5689c66" providerId="ADAL" clId="{53BC5A52-8424-4628-B81B-003D4332FD6E}" dt="2024-07-05T12:40:26.415" v="164"/>
          <ac:spMkLst>
            <pc:docMk/>
            <pc:sldMk cId="3702537864" sldId="2147481950"/>
            <ac:spMk id="47" creationId="{784E9862-9311-10F8-46D3-F17E5CD2482F}"/>
          </ac:spMkLst>
        </pc:spChg>
        <pc:spChg chg="mod">
          <ac:chgData name="Olha Perminova (UA)" userId="3a6a8ff4-9418-475a-a23d-87d0c5689c66" providerId="ADAL" clId="{53BC5A52-8424-4628-B81B-003D4332FD6E}" dt="2024-07-05T12:40:26.415" v="164"/>
          <ac:spMkLst>
            <pc:docMk/>
            <pc:sldMk cId="3702537864" sldId="2147481950"/>
            <ac:spMk id="48" creationId="{5160E4DF-AE98-4623-8669-EC50CECA6E94}"/>
          </ac:spMkLst>
        </pc:spChg>
        <pc:spChg chg="mod">
          <ac:chgData name="Olha Perminova (UA)" userId="3a6a8ff4-9418-475a-a23d-87d0c5689c66" providerId="ADAL" clId="{53BC5A52-8424-4628-B81B-003D4332FD6E}" dt="2024-07-05T12:40:26.415" v="164"/>
          <ac:spMkLst>
            <pc:docMk/>
            <pc:sldMk cId="3702537864" sldId="2147481950"/>
            <ac:spMk id="49" creationId="{4ADF23EC-2CBF-F9F5-E200-03BCB35F5F69}"/>
          </ac:spMkLst>
        </pc:spChg>
        <pc:spChg chg="mod">
          <ac:chgData name="Olha Perminova (UA)" userId="3a6a8ff4-9418-475a-a23d-87d0c5689c66" providerId="ADAL" clId="{53BC5A52-8424-4628-B81B-003D4332FD6E}" dt="2024-07-05T12:40:26.415" v="164"/>
          <ac:spMkLst>
            <pc:docMk/>
            <pc:sldMk cId="3702537864" sldId="2147481950"/>
            <ac:spMk id="50" creationId="{8DD0B4C6-1675-7D78-B48C-CEB62E0E21EB}"/>
          </ac:spMkLst>
        </pc:spChg>
        <pc:spChg chg="add mod">
          <ac:chgData name="Olha Perminova (UA)" userId="3a6a8ff4-9418-475a-a23d-87d0c5689c66" providerId="ADAL" clId="{53BC5A52-8424-4628-B81B-003D4332FD6E}" dt="2024-07-05T12:40:26.415" v="164"/>
          <ac:spMkLst>
            <pc:docMk/>
            <pc:sldMk cId="3702537864" sldId="2147481950"/>
            <ac:spMk id="51" creationId="{8DF7A3FD-96B0-C296-BC50-D924E4FDD575}"/>
          </ac:spMkLst>
        </pc:spChg>
        <pc:grpChg chg="del">
          <ac:chgData name="Olha Perminova (UA)" userId="3a6a8ff4-9418-475a-a23d-87d0c5689c66" providerId="ADAL" clId="{53BC5A52-8424-4628-B81B-003D4332FD6E}" dt="2024-07-05T12:37:58.704" v="154" actId="478"/>
          <ac:grpSpMkLst>
            <pc:docMk/>
            <pc:sldMk cId="3702537864" sldId="2147481950"/>
            <ac:grpSpMk id="3" creationId="{DB2CD9FC-FA73-D3B1-C5A3-AF38C8F42AEE}"/>
          </ac:grpSpMkLst>
        </pc:grpChg>
        <pc:grpChg chg="add del mod">
          <ac:chgData name="Olha Perminova (UA)" userId="3a6a8ff4-9418-475a-a23d-87d0c5689c66" providerId="ADAL" clId="{53BC5A52-8424-4628-B81B-003D4332FD6E}" dt="2024-07-05T12:40:26.042" v="163" actId="478"/>
          <ac:grpSpMkLst>
            <pc:docMk/>
            <pc:sldMk cId="3702537864" sldId="2147481950"/>
            <ac:grpSpMk id="5" creationId="{EE607233-B492-DECD-E509-51B90CE223FC}"/>
          </ac:grpSpMkLst>
        </pc:grpChg>
        <pc:grpChg chg="add mod">
          <ac:chgData name="Olha Perminova (UA)" userId="3a6a8ff4-9418-475a-a23d-87d0c5689c66" providerId="ADAL" clId="{53BC5A52-8424-4628-B81B-003D4332FD6E}" dt="2024-07-05T12:40:26.415" v="164"/>
          <ac:grpSpMkLst>
            <pc:docMk/>
            <pc:sldMk cId="3702537864" sldId="2147481950"/>
            <ac:grpSpMk id="43" creationId="{AFF619D9-9BEE-6766-0161-D8FF3AEF7C5A}"/>
          </ac:grpSpMkLst>
        </pc:grpChg>
      </pc:sldChg>
      <pc:sldChg chg="addSp delSp modSp mod">
        <pc:chgData name="Olha Perminova (UA)" userId="3a6a8ff4-9418-475a-a23d-87d0c5689c66" providerId="ADAL" clId="{53BC5A52-8424-4628-B81B-003D4332FD6E}" dt="2024-07-05T12:43:52.395" v="234" actId="400"/>
        <pc:sldMkLst>
          <pc:docMk/>
          <pc:sldMk cId="329214126" sldId="2147481959"/>
        </pc:sldMkLst>
        <pc:spChg chg="del">
          <ac:chgData name="Olha Perminova (UA)" userId="3a6a8ff4-9418-475a-a23d-87d0c5689c66" providerId="ADAL" clId="{53BC5A52-8424-4628-B81B-003D4332FD6E}" dt="2024-07-05T12:32:11.450" v="25" actId="478"/>
          <ac:spMkLst>
            <pc:docMk/>
            <pc:sldMk cId="329214126" sldId="2147481959"/>
            <ac:spMk id="6" creationId="{B406E0CD-6107-E269-B513-42F75DF0F104}"/>
          </ac:spMkLst>
        </pc:spChg>
        <pc:spChg chg="mod">
          <ac:chgData name="Olha Perminova (UA)" userId="3a6a8ff4-9418-475a-a23d-87d0c5689c66" providerId="ADAL" clId="{53BC5A52-8424-4628-B81B-003D4332FD6E}" dt="2024-07-05T12:43:52.395" v="234" actId="400"/>
          <ac:spMkLst>
            <pc:docMk/>
            <pc:sldMk cId="329214126" sldId="2147481959"/>
            <ac:spMk id="7" creationId="{2EC177FB-CA36-CB6F-F8FB-2945381F657F}"/>
          </ac:spMkLst>
        </pc:spChg>
        <pc:spChg chg="mod">
          <ac:chgData name="Olha Perminova (UA)" userId="3a6a8ff4-9418-475a-a23d-87d0c5689c66" providerId="ADAL" clId="{53BC5A52-8424-4628-B81B-003D4332FD6E}" dt="2024-07-05T12:34:55.873" v="28" actId="20577"/>
          <ac:spMkLst>
            <pc:docMk/>
            <pc:sldMk cId="329214126" sldId="2147481959"/>
            <ac:spMk id="10" creationId="{E7620417-CA25-4C85-685A-F9654D084E1A}"/>
          </ac:spMkLst>
        </pc:spChg>
        <pc:spChg chg="add mod">
          <ac:chgData name="Olha Perminova (UA)" userId="3a6a8ff4-9418-475a-a23d-87d0c5689c66" providerId="ADAL" clId="{53BC5A52-8424-4628-B81B-003D4332FD6E}" dt="2024-07-05T12:32:12.223" v="26"/>
          <ac:spMkLst>
            <pc:docMk/>
            <pc:sldMk cId="329214126" sldId="2147481959"/>
            <ac:spMk id="14" creationId="{2FF4A59B-3BE6-3AD9-0BDB-A4048FE82434}"/>
          </ac:spMkLst>
        </pc:spChg>
      </pc:sldChg>
      <pc:sldChg chg="addSp delSp modSp mod">
        <pc:chgData name="Olha Perminova (UA)" userId="3a6a8ff4-9418-475a-a23d-87d0c5689c66" providerId="ADAL" clId="{53BC5A52-8424-4628-B81B-003D4332FD6E}" dt="2024-07-05T12:40:18.136" v="160"/>
        <pc:sldMkLst>
          <pc:docMk/>
          <pc:sldMk cId="3061079320" sldId="2147481966"/>
        </pc:sldMkLst>
        <pc:spChg chg="del">
          <ac:chgData name="Olha Perminova (UA)" userId="3a6a8ff4-9418-475a-a23d-87d0c5689c66" providerId="ADAL" clId="{53BC5A52-8424-4628-B81B-003D4332FD6E}" dt="2024-07-05T12:38:02.689" v="156" actId="478"/>
          <ac:spMkLst>
            <pc:docMk/>
            <pc:sldMk cId="3061079320" sldId="2147481966"/>
            <ac:spMk id="3" creationId="{983E351E-2C66-EA47-8CE4-9A865EEAF3D4}"/>
          </ac:spMkLst>
        </pc:spChg>
        <pc:spChg chg="mod">
          <ac:chgData name="Olha Perminova (UA)" userId="3a6a8ff4-9418-475a-a23d-87d0c5689c66" providerId="ADAL" clId="{53BC5A52-8424-4628-B81B-003D4332FD6E}" dt="2024-07-05T12:40:10.212" v="159"/>
          <ac:spMkLst>
            <pc:docMk/>
            <pc:sldMk cId="3061079320" sldId="2147481966"/>
            <ac:spMk id="10" creationId="{7610D19B-EB2C-1658-E6CA-6B8C44EAC1A8}"/>
          </ac:spMkLst>
        </pc:spChg>
        <pc:spChg chg="mod">
          <ac:chgData name="Olha Perminova (UA)" userId="3a6a8ff4-9418-475a-a23d-87d0c5689c66" providerId="ADAL" clId="{53BC5A52-8424-4628-B81B-003D4332FD6E}" dt="2024-07-05T12:38:03.343" v="157"/>
          <ac:spMkLst>
            <pc:docMk/>
            <pc:sldMk cId="3061079320" sldId="2147481966"/>
            <ac:spMk id="22" creationId="{E1E51864-99A7-59C7-A42A-6A78BAA2250C}"/>
          </ac:spMkLst>
        </pc:spChg>
        <pc:spChg chg="mod">
          <ac:chgData name="Olha Perminova (UA)" userId="3a6a8ff4-9418-475a-a23d-87d0c5689c66" providerId="ADAL" clId="{53BC5A52-8424-4628-B81B-003D4332FD6E}" dt="2024-07-05T12:38:03.343" v="157"/>
          <ac:spMkLst>
            <pc:docMk/>
            <pc:sldMk cId="3061079320" sldId="2147481966"/>
            <ac:spMk id="25" creationId="{E73E193E-4A38-4532-6201-B2FB62EC1BFC}"/>
          </ac:spMkLst>
        </pc:spChg>
        <pc:spChg chg="mod">
          <ac:chgData name="Olha Perminova (UA)" userId="3a6a8ff4-9418-475a-a23d-87d0c5689c66" providerId="ADAL" clId="{53BC5A52-8424-4628-B81B-003D4332FD6E}" dt="2024-07-05T12:38:03.343" v="157"/>
          <ac:spMkLst>
            <pc:docMk/>
            <pc:sldMk cId="3061079320" sldId="2147481966"/>
            <ac:spMk id="26" creationId="{DD606DB2-B598-40C6-5911-417F670B287F}"/>
          </ac:spMkLst>
        </pc:spChg>
        <pc:spChg chg="mod">
          <ac:chgData name="Olha Perminova (UA)" userId="3a6a8ff4-9418-475a-a23d-87d0c5689c66" providerId="ADAL" clId="{53BC5A52-8424-4628-B81B-003D4332FD6E}" dt="2024-07-05T12:38:03.343" v="157"/>
          <ac:spMkLst>
            <pc:docMk/>
            <pc:sldMk cId="3061079320" sldId="2147481966"/>
            <ac:spMk id="27" creationId="{6556B5B7-C53F-6EDA-F38B-964DACBC973B}"/>
          </ac:spMkLst>
        </pc:spChg>
        <pc:spChg chg="mod">
          <ac:chgData name="Olha Perminova (UA)" userId="3a6a8ff4-9418-475a-a23d-87d0c5689c66" providerId="ADAL" clId="{53BC5A52-8424-4628-B81B-003D4332FD6E}" dt="2024-07-05T12:38:03.343" v="157"/>
          <ac:spMkLst>
            <pc:docMk/>
            <pc:sldMk cId="3061079320" sldId="2147481966"/>
            <ac:spMk id="28" creationId="{E99490A4-241B-1A48-51FC-429C3F026EA3}"/>
          </ac:spMkLst>
        </pc:spChg>
        <pc:spChg chg="mod">
          <ac:chgData name="Olha Perminova (UA)" userId="3a6a8ff4-9418-475a-a23d-87d0c5689c66" providerId="ADAL" clId="{53BC5A52-8424-4628-B81B-003D4332FD6E}" dt="2024-07-05T12:38:03.343" v="157"/>
          <ac:spMkLst>
            <pc:docMk/>
            <pc:sldMk cId="3061079320" sldId="2147481966"/>
            <ac:spMk id="29" creationId="{78C56C7E-4076-F07B-B24D-90CDF3A5F1EE}"/>
          </ac:spMkLst>
        </pc:spChg>
        <pc:spChg chg="add del mod">
          <ac:chgData name="Olha Perminova (UA)" userId="3a6a8ff4-9418-475a-a23d-87d0c5689c66" providerId="ADAL" clId="{53BC5A52-8424-4628-B81B-003D4332FD6E}" dt="2024-07-05T12:39:44.931" v="158" actId="478"/>
          <ac:spMkLst>
            <pc:docMk/>
            <pc:sldMk cId="3061079320" sldId="2147481966"/>
            <ac:spMk id="30" creationId="{43D62CCE-9E89-7287-E6DA-0DEA7473D90F}"/>
          </ac:spMkLst>
        </pc:spChg>
        <pc:spChg chg="add mod">
          <ac:chgData name="Olha Perminova (UA)" userId="3a6a8ff4-9418-475a-a23d-87d0c5689c66" providerId="ADAL" clId="{53BC5A52-8424-4628-B81B-003D4332FD6E}" dt="2024-07-05T12:40:18.136" v="160"/>
          <ac:spMkLst>
            <pc:docMk/>
            <pc:sldMk cId="3061079320" sldId="2147481966"/>
            <ac:spMk id="31" creationId="{0E4DFE13-93BE-93CF-367C-4436121D4879}"/>
          </ac:spMkLst>
        </pc:spChg>
        <pc:grpChg chg="del">
          <ac:chgData name="Olha Perminova (UA)" userId="3a6a8ff4-9418-475a-a23d-87d0c5689c66" providerId="ADAL" clId="{53BC5A52-8424-4628-B81B-003D4332FD6E}" dt="2024-07-05T12:38:02.689" v="156" actId="478"/>
          <ac:grpSpMkLst>
            <pc:docMk/>
            <pc:sldMk cId="3061079320" sldId="2147481966"/>
            <ac:grpSpMk id="5" creationId="{15306046-6C9A-9941-5987-D1AA6146A04F}"/>
          </ac:grpSpMkLst>
        </pc:grpChg>
        <pc:grpChg chg="add del mod">
          <ac:chgData name="Olha Perminova (UA)" userId="3a6a8ff4-9418-475a-a23d-87d0c5689c66" providerId="ADAL" clId="{53BC5A52-8424-4628-B81B-003D4332FD6E}" dt="2024-07-05T12:39:44.931" v="158" actId="478"/>
          <ac:grpSpMkLst>
            <pc:docMk/>
            <pc:sldMk cId="3061079320" sldId="2147481966"/>
            <ac:grpSpMk id="20" creationId="{15861A98-ECB0-F3EE-7B53-1A4ED9853D76}"/>
          </ac:grpSpMkLst>
        </pc:grpChg>
      </pc:sldChg>
      <pc:sldChg chg="addSp delSp modSp mod">
        <pc:chgData name="Olha Perminova (UA)" userId="3a6a8ff4-9418-475a-a23d-87d0c5689c66" providerId="ADAL" clId="{53BC5A52-8424-4628-B81B-003D4332FD6E}" dt="2024-07-05T12:40:39.930" v="168"/>
        <pc:sldMkLst>
          <pc:docMk/>
          <pc:sldMk cId="2820792045" sldId="2147481968"/>
        </pc:sldMkLst>
        <pc:spChg chg="mod">
          <ac:chgData name="Olha Perminova (UA)" userId="3a6a8ff4-9418-475a-a23d-87d0c5689c66" providerId="ADAL" clId="{53BC5A52-8424-4628-B81B-003D4332FD6E}" dt="2024-07-05T12:40:39.930" v="168"/>
          <ac:spMkLst>
            <pc:docMk/>
            <pc:sldMk cId="2820792045" sldId="2147481968"/>
            <ac:spMk id="14" creationId="{2A6B0959-64A9-C16D-073B-BEF61FF5426E}"/>
          </ac:spMkLst>
        </pc:spChg>
        <pc:spChg chg="del">
          <ac:chgData name="Olha Perminova (UA)" userId="3a6a8ff4-9418-475a-a23d-87d0c5689c66" providerId="ADAL" clId="{53BC5A52-8424-4628-B81B-003D4332FD6E}" dt="2024-07-05T12:40:39.531" v="167" actId="478"/>
          <ac:spMkLst>
            <pc:docMk/>
            <pc:sldMk cId="2820792045" sldId="2147481968"/>
            <ac:spMk id="15" creationId="{5B79C17C-666F-CB52-D0B3-705685972900}"/>
          </ac:spMkLst>
        </pc:spChg>
        <pc:spChg chg="mod">
          <ac:chgData name="Olha Perminova (UA)" userId="3a6a8ff4-9418-475a-a23d-87d0c5689c66" providerId="ADAL" clId="{53BC5A52-8424-4628-B81B-003D4332FD6E}" dt="2024-07-05T12:40:39.930" v="168"/>
          <ac:spMkLst>
            <pc:docMk/>
            <pc:sldMk cId="2820792045" sldId="2147481968"/>
            <ac:spMk id="16" creationId="{D589A5DA-52A0-987A-C282-8CCC139CBE76}"/>
          </ac:spMkLst>
        </pc:spChg>
        <pc:spChg chg="mod">
          <ac:chgData name="Olha Perminova (UA)" userId="3a6a8ff4-9418-475a-a23d-87d0c5689c66" providerId="ADAL" clId="{53BC5A52-8424-4628-B81B-003D4332FD6E}" dt="2024-07-05T12:40:39.930" v="168"/>
          <ac:spMkLst>
            <pc:docMk/>
            <pc:sldMk cId="2820792045" sldId="2147481968"/>
            <ac:spMk id="20" creationId="{3419BFF7-C57F-D17F-D668-C523BCFFD328}"/>
          </ac:spMkLst>
        </pc:spChg>
        <pc:spChg chg="mod">
          <ac:chgData name="Olha Perminova (UA)" userId="3a6a8ff4-9418-475a-a23d-87d0c5689c66" providerId="ADAL" clId="{53BC5A52-8424-4628-B81B-003D4332FD6E}" dt="2024-07-05T12:40:39.930" v="168"/>
          <ac:spMkLst>
            <pc:docMk/>
            <pc:sldMk cId="2820792045" sldId="2147481968"/>
            <ac:spMk id="26" creationId="{6D3BF8B0-6D64-B80E-5A57-DD3860403957}"/>
          </ac:spMkLst>
        </pc:spChg>
        <pc:spChg chg="mod">
          <ac:chgData name="Olha Perminova (UA)" userId="3a6a8ff4-9418-475a-a23d-87d0c5689c66" providerId="ADAL" clId="{53BC5A52-8424-4628-B81B-003D4332FD6E}" dt="2024-07-05T12:40:39.930" v="168"/>
          <ac:spMkLst>
            <pc:docMk/>
            <pc:sldMk cId="2820792045" sldId="2147481968"/>
            <ac:spMk id="27" creationId="{007419FC-BD81-3B89-59CA-90FC87FBAD50}"/>
          </ac:spMkLst>
        </pc:spChg>
        <pc:spChg chg="mod">
          <ac:chgData name="Olha Perminova (UA)" userId="3a6a8ff4-9418-475a-a23d-87d0c5689c66" providerId="ADAL" clId="{53BC5A52-8424-4628-B81B-003D4332FD6E}" dt="2024-07-05T12:40:39.930" v="168"/>
          <ac:spMkLst>
            <pc:docMk/>
            <pc:sldMk cId="2820792045" sldId="2147481968"/>
            <ac:spMk id="28" creationId="{EA04123A-6BED-E7C7-D1C4-D6295941C421}"/>
          </ac:spMkLst>
        </pc:spChg>
        <pc:spChg chg="mod">
          <ac:chgData name="Olha Perminova (UA)" userId="3a6a8ff4-9418-475a-a23d-87d0c5689c66" providerId="ADAL" clId="{53BC5A52-8424-4628-B81B-003D4332FD6E}" dt="2024-07-05T12:40:39.930" v="168"/>
          <ac:spMkLst>
            <pc:docMk/>
            <pc:sldMk cId="2820792045" sldId="2147481968"/>
            <ac:spMk id="29" creationId="{293B0674-5A44-F549-5119-2D194DAFF39E}"/>
          </ac:spMkLst>
        </pc:spChg>
        <pc:spChg chg="add mod">
          <ac:chgData name="Olha Perminova (UA)" userId="3a6a8ff4-9418-475a-a23d-87d0c5689c66" providerId="ADAL" clId="{53BC5A52-8424-4628-B81B-003D4332FD6E}" dt="2024-07-05T12:40:39.930" v="168"/>
          <ac:spMkLst>
            <pc:docMk/>
            <pc:sldMk cId="2820792045" sldId="2147481968"/>
            <ac:spMk id="33" creationId="{A36B777F-095E-3C8B-0913-284B40D46EAE}"/>
          </ac:spMkLst>
        </pc:spChg>
        <pc:grpChg chg="add mod">
          <ac:chgData name="Olha Perminova (UA)" userId="3a6a8ff4-9418-475a-a23d-87d0c5689c66" providerId="ADAL" clId="{53BC5A52-8424-4628-B81B-003D4332FD6E}" dt="2024-07-05T12:40:39.930" v="168"/>
          <ac:grpSpMkLst>
            <pc:docMk/>
            <pc:sldMk cId="2820792045" sldId="2147481968"/>
            <ac:grpSpMk id="4" creationId="{8DB5A74B-7004-16D3-7B4D-66FEAD229AEC}"/>
          </ac:grpSpMkLst>
        </pc:grpChg>
        <pc:grpChg chg="del">
          <ac:chgData name="Olha Perminova (UA)" userId="3a6a8ff4-9418-475a-a23d-87d0c5689c66" providerId="ADAL" clId="{53BC5A52-8424-4628-B81B-003D4332FD6E}" dt="2024-07-05T12:40:39.531" v="167" actId="478"/>
          <ac:grpSpMkLst>
            <pc:docMk/>
            <pc:sldMk cId="2820792045" sldId="2147481968"/>
            <ac:grpSpMk id="135" creationId="{90DF27BD-9BCC-CAE8-73D7-5818428FEDC5}"/>
          </ac:grpSpMkLst>
        </pc:grpChg>
      </pc:sldChg>
      <pc:sldChg chg="addSp delSp modSp mod">
        <pc:chgData name="Olha Perminova (UA)" userId="3a6a8ff4-9418-475a-a23d-87d0c5689c66" providerId="ADAL" clId="{53BC5A52-8424-4628-B81B-003D4332FD6E}" dt="2024-07-05T12:40:36.603" v="166"/>
        <pc:sldMkLst>
          <pc:docMk/>
          <pc:sldMk cId="3998587978" sldId="2147481969"/>
        </pc:sldMkLst>
        <pc:spChg chg="mod">
          <ac:chgData name="Olha Perminova (UA)" userId="3a6a8ff4-9418-475a-a23d-87d0c5689c66" providerId="ADAL" clId="{53BC5A52-8424-4628-B81B-003D4332FD6E}" dt="2024-07-05T12:40:36.603" v="166"/>
          <ac:spMkLst>
            <pc:docMk/>
            <pc:sldMk cId="3998587978" sldId="2147481969"/>
            <ac:spMk id="5" creationId="{821169B3-8582-B4A0-73DA-A0E3F7AE659C}"/>
          </ac:spMkLst>
        </pc:spChg>
        <pc:spChg chg="mod">
          <ac:chgData name="Olha Perminova (UA)" userId="3a6a8ff4-9418-475a-a23d-87d0c5689c66" providerId="ADAL" clId="{53BC5A52-8424-4628-B81B-003D4332FD6E}" dt="2024-07-05T12:40:36.603" v="166"/>
          <ac:spMkLst>
            <pc:docMk/>
            <pc:sldMk cId="3998587978" sldId="2147481969"/>
            <ac:spMk id="6" creationId="{82CBEAE9-24F1-0D16-E24F-B54AC5D7669A}"/>
          </ac:spMkLst>
        </pc:spChg>
        <pc:spChg chg="mod">
          <ac:chgData name="Olha Perminova (UA)" userId="3a6a8ff4-9418-475a-a23d-87d0c5689c66" providerId="ADAL" clId="{53BC5A52-8424-4628-B81B-003D4332FD6E}" dt="2024-07-05T12:40:36.603" v="166"/>
          <ac:spMkLst>
            <pc:docMk/>
            <pc:sldMk cId="3998587978" sldId="2147481969"/>
            <ac:spMk id="7" creationId="{E3F4C0A6-212C-A32D-FBC8-F1D5494368F8}"/>
          </ac:spMkLst>
        </pc:spChg>
        <pc:spChg chg="mod">
          <ac:chgData name="Olha Perminova (UA)" userId="3a6a8ff4-9418-475a-a23d-87d0c5689c66" providerId="ADAL" clId="{53BC5A52-8424-4628-B81B-003D4332FD6E}" dt="2024-07-05T12:40:36.603" v="166"/>
          <ac:spMkLst>
            <pc:docMk/>
            <pc:sldMk cId="3998587978" sldId="2147481969"/>
            <ac:spMk id="8" creationId="{D11DF507-CB48-113E-978F-CF8467C24E1E}"/>
          </ac:spMkLst>
        </pc:spChg>
        <pc:spChg chg="mod">
          <ac:chgData name="Olha Perminova (UA)" userId="3a6a8ff4-9418-475a-a23d-87d0c5689c66" providerId="ADAL" clId="{53BC5A52-8424-4628-B81B-003D4332FD6E}" dt="2024-07-05T12:40:36.603" v="166"/>
          <ac:spMkLst>
            <pc:docMk/>
            <pc:sldMk cId="3998587978" sldId="2147481969"/>
            <ac:spMk id="9" creationId="{811EA47B-7A46-4748-AB95-8628A315363E}"/>
          </ac:spMkLst>
        </pc:spChg>
        <pc:spChg chg="mod">
          <ac:chgData name="Olha Perminova (UA)" userId="3a6a8ff4-9418-475a-a23d-87d0c5689c66" providerId="ADAL" clId="{53BC5A52-8424-4628-B81B-003D4332FD6E}" dt="2024-07-05T12:40:36.603" v="166"/>
          <ac:spMkLst>
            <pc:docMk/>
            <pc:sldMk cId="3998587978" sldId="2147481969"/>
            <ac:spMk id="10" creationId="{CD22E000-4BE6-0C2D-F21D-C6AF6EAE98FD}"/>
          </ac:spMkLst>
        </pc:spChg>
        <pc:spChg chg="mod">
          <ac:chgData name="Olha Perminova (UA)" userId="3a6a8ff4-9418-475a-a23d-87d0c5689c66" providerId="ADAL" clId="{53BC5A52-8424-4628-B81B-003D4332FD6E}" dt="2024-07-05T12:40:36.603" v="166"/>
          <ac:spMkLst>
            <pc:docMk/>
            <pc:sldMk cId="3998587978" sldId="2147481969"/>
            <ac:spMk id="11" creationId="{E31EE720-58F1-4712-AEE4-79B5F5B29E46}"/>
          </ac:spMkLst>
        </pc:spChg>
        <pc:spChg chg="add mod">
          <ac:chgData name="Olha Perminova (UA)" userId="3a6a8ff4-9418-475a-a23d-87d0c5689c66" providerId="ADAL" clId="{53BC5A52-8424-4628-B81B-003D4332FD6E}" dt="2024-07-05T12:40:36.603" v="166"/>
          <ac:spMkLst>
            <pc:docMk/>
            <pc:sldMk cId="3998587978" sldId="2147481969"/>
            <ac:spMk id="12" creationId="{A1BAE779-3E02-D3D6-904F-D3B552E76142}"/>
          </ac:spMkLst>
        </pc:spChg>
        <pc:spChg chg="del">
          <ac:chgData name="Olha Perminova (UA)" userId="3a6a8ff4-9418-475a-a23d-87d0c5689c66" providerId="ADAL" clId="{53BC5A52-8424-4628-B81B-003D4332FD6E}" dt="2024-07-05T12:40:36.174" v="165" actId="478"/>
          <ac:spMkLst>
            <pc:docMk/>
            <pc:sldMk cId="3998587978" sldId="2147481969"/>
            <ac:spMk id="15" creationId="{5B79C17C-666F-CB52-D0B3-705685972900}"/>
          </ac:spMkLst>
        </pc:spChg>
        <pc:grpChg chg="add mod">
          <ac:chgData name="Olha Perminova (UA)" userId="3a6a8ff4-9418-475a-a23d-87d0c5689c66" providerId="ADAL" clId="{53BC5A52-8424-4628-B81B-003D4332FD6E}" dt="2024-07-05T12:40:36.603" v="166"/>
          <ac:grpSpMkLst>
            <pc:docMk/>
            <pc:sldMk cId="3998587978" sldId="2147481969"/>
            <ac:grpSpMk id="4" creationId="{AE5B0DF2-9FD5-466F-2E3B-FA6C207198A2}"/>
          </ac:grpSpMkLst>
        </pc:grpChg>
        <pc:grpChg chg="del">
          <ac:chgData name="Olha Perminova (UA)" userId="3a6a8ff4-9418-475a-a23d-87d0c5689c66" providerId="ADAL" clId="{53BC5A52-8424-4628-B81B-003D4332FD6E}" dt="2024-07-05T12:40:36.174" v="165" actId="478"/>
          <ac:grpSpMkLst>
            <pc:docMk/>
            <pc:sldMk cId="3998587978" sldId="2147481969"/>
            <ac:grpSpMk id="135" creationId="{90DF27BD-9BCC-CAE8-73D7-5818428FEDC5}"/>
          </ac:grpSpMkLst>
        </pc:grpChg>
      </pc:sldChg>
      <pc:sldChg chg="addSp delSp modSp mod">
        <pc:chgData name="Olha Perminova (UA)" userId="3a6a8ff4-9418-475a-a23d-87d0c5689c66" providerId="ADAL" clId="{53BC5A52-8424-4628-B81B-003D4332FD6E}" dt="2024-07-05T12:36:05.016" v="58"/>
        <pc:sldMkLst>
          <pc:docMk/>
          <pc:sldMk cId="141526238" sldId="2147481970"/>
        </pc:sldMkLst>
        <pc:spChg chg="del">
          <ac:chgData name="Olha Perminova (UA)" userId="3a6a8ff4-9418-475a-a23d-87d0c5689c66" providerId="ADAL" clId="{53BC5A52-8424-4628-B81B-003D4332FD6E}" dt="2024-07-05T12:36:04.571" v="57" actId="478"/>
          <ac:spMkLst>
            <pc:docMk/>
            <pc:sldMk cId="141526238" sldId="2147481970"/>
            <ac:spMk id="5" creationId="{2CEB3D9C-E816-F65C-9AF8-BCBDCD9B5290}"/>
          </ac:spMkLst>
        </pc:spChg>
        <pc:spChg chg="mod">
          <ac:chgData name="Olha Perminova (UA)" userId="3a6a8ff4-9418-475a-a23d-87d0c5689c66" providerId="ADAL" clId="{53BC5A52-8424-4628-B81B-003D4332FD6E}" dt="2024-07-05T12:36:05.016" v="58"/>
          <ac:spMkLst>
            <pc:docMk/>
            <pc:sldMk cId="141526238" sldId="2147481970"/>
            <ac:spMk id="30" creationId="{2A73162C-C461-F94E-7569-7BD1FC8BAFE1}"/>
          </ac:spMkLst>
        </pc:spChg>
        <pc:spChg chg="mod">
          <ac:chgData name="Olha Perminova (UA)" userId="3a6a8ff4-9418-475a-a23d-87d0c5689c66" providerId="ADAL" clId="{53BC5A52-8424-4628-B81B-003D4332FD6E}" dt="2024-07-05T12:36:05.016" v="58"/>
          <ac:spMkLst>
            <pc:docMk/>
            <pc:sldMk cId="141526238" sldId="2147481970"/>
            <ac:spMk id="32" creationId="{C61B7A33-6E3F-5E3E-BB41-CDEF9FBC47E1}"/>
          </ac:spMkLst>
        </pc:spChg>
        <pc:spChg chg="mod">
          <ac:chgData name="Olha Perminova (UA)" userId="3a6a8ff4-9418-475a-a23d-87d0c5689c66" providerId="ADAL" clId="{53BC5A52-8424-4628-B81B-003D4332FD6E}" dt="2024-07-05T12:36:05.016" v="58"/>
          <ac:spMkLst>
            <pc:docMk/>
            <pc:sldMk cId="141526238" sldId="2147481970"/>
            <ac:spMk id="33" creationId="{BCB990CF-2AA2-7198-CA35-DAE0A6D62900}"/>
          </ac:spMkLst>
        </pc:spChg>
        <pc:spChg chg="mod">
          <ac:chgData name="Olha Perminova (UA)" userId="3a6a8ff4-9418-475a-a23d-87d0c5689c66" providerId="ADAL" clId="{53BC5A52-8424-4628-B81B-003D4332FD6E}" dt="2024-07-05T12:36:05.016" v="58"/>
          <ac:spMkLst>
            <pc:docMk/>
            <pc:sldMk cId="141526238" sldId="2147481970"/>
            <ac:spMk id="34" creationId="{DA8D5907-6FB8-83EC-9633-6A6901D8C8E1}"/>
          </ac:spMkLst>
        </pc:spChg>
        <pc:spChg chg="mod">
          <ac:chgData name="Olha Perminova (UA)" userId="3a6a8ff4-9418-475a-a23d-87d0c5689c66" providerId="ADAL" clId="{53BC5A52-8424-4628-B81B-003D4332FD6E}" dt="2024-07-05T12:36:05.016" v="58"/>
          <ac:spMkLst>
            <pc:docMk/>
            <pc:sldMk cId="141526238" sldId="2147481970"/>
            <ac:spMk id="35" creationId="{7FB761CB-34CA-31C2-6191-3875DB1BAA4C}"/>
          </ac:spMkLst>
        </pc:spChg>
        <pc:spChg chg="mod">
          <ac:chgData name="Olha Perminova (UA)" userId="3a6a8ff4-9418-475a-a23d-87d0c5689c66" providerId="ADAL" clId="{53BC5A52-8424-4628-B81B-003D4332FD6E}" dt="2024-07-05T12:36:05.016" v="58"/>
          <ac:spMkLst>
            <pc:docMk/>
            <pc:sldMk cId="141526238" sldId="2147481970"/>
            <ac:spMk id="36" creationId="{BD5254F6-F858-0F76-8C7B-2DE31523E0B9}"/>
          </ac:spMkLst>
        </pc:spChg>
        <pc:spChg chg="add mod">
          <ac:chgData name="Olha Perminova (UA)" userId="3a6a8ff4-9418-475a-a23d-87d0c5689c66" providerId="ADAL" clId="{53BC5A52-8424-4628-B81B-003D4332FD6E}" dt="2024-07-05T12:36:05.016" v="58"/>
          <ac:spMkLst>
            <pc:docMk/>
            <pc:sldMk cId="141526238" sldId="2147481970"/>
            <ac:spMk id="37" creationId="{171D5FF6-7F2E-D525-5371-4C80261D832E}"/>
          </ac:spMkLst>
        </pc:spChg>
        <pc:grpChg chg="add mod">
          <ac:chgData name="Olha Perminova (UA)" userId="3a6a8ff4-9418-475a-a23d-87d0c5689c66" providerId="ADAL" clId="{53BC5A52-8424-4628-B81B-003D4332FD6E}" dt="2024-07-05T12:36:05.016" v="58"/>
          <ac:grpSpMkLst>
            <pc:docMk/>
            <pc:sldMk cId="141526238" sldId="2147481970"/>
            <ac:grpSpMk id="6" creationId="{781ADB4D-3F9D-86F8-20D9-4779474C152B}"/>
          </ac:grpSpMkLst>
        </pc:grpChg>
        <pc:grpChg chg="del">
          <ac:chgData name="Olha Perminova (UA)" userId="3a6a8ff4-9418-475a-a23d-87d0c5689c66" providerId="ADAL" clId="{53BC5A52-8424-4628-B81B-003D4332FD6E}" dt="2024-07-05T12:36:04.571" v="57" actId="478"/>
          <ac:grpSpMkLst>
            <pc:docMk/>
            <pc:sldMk cId="141526238" sldId="2147481970"/>
            <ac:grpSpMk id="31" creationId="{7811B578-D81A-6045-8E23-860DCEC7B570}"/>
          </ac:grpSpMkLst>
        </pc:grpChg>
      </pc:sldChg>
    </pc:docChg>
  </pc:docChgLst>
  <pc:docChgLst>
    <pc:chgData name="Annemarija Apine (LV)" userId="S::annemarija.apine@pwc.com::546f5c59-3b8d-47fd-b739-a8fadc631053" providerId="AD" clId="Web-{98E2DA2E-C2CA-3119-A2CF-7778927036C5}"/>
    <pc:docChg chg="mod modSld">
      <pc:chgData name="Annemarija Apine (LV)" userId="S::annemarija.apine@pwc.com::546f5c59-3b8d-47fd-b739-a8fadc631053" providerId="AD" clId="Web-{98E2DA2E-C2CA-3119-A2CF-7778927036C5}" dt="2024-06-04T12:34:55.338" v="5"/>
      <pc:docMkLst>
        <pc:docMk/>
      </pc:docMkLst>
      <pc:sldChg chg="modSp addCm modCm">
        <pc:chgData name="Annemarija Apine (LV)" userId="S::annemarija.apine@pwc.com::546f5c59-3b8d-47fd-b739-a8fadc631053" providerId="AD" clId="Web-{98E2DA2E-C2CA-3119-A2CF-7778927036C5}" dt="2024-06-04T12:34:55.338" v="5"/>
        <pc:sldMkLst>
          <pc:docMk/>
          <pc:sldMk cId="192098022" sldId="2147481877"/>
        </pc:sldMkLst>
        <pc:spChg chg="mod">
          <ac:chgData name="Annemarija Apine (LV)" userId="S::annemarija.apine@pwc.com::546f5c59-3b8d-47fd-b739-a8fadc631053" providerId="AD" clId="Web-{98E2DA2E-C2CA-3119-A2CF-7778927036C5}" dt="2024-06-04T12:34:28.072" v="2" actId="20577"/>
          <ac:spMkLst>
            <pc:docMk/>
            <pc:sldMk cId="192098022" sldId="2147481877"/>
            <ac:spMk id="4" creationId="{5D11349D-67E6-D358-56A1-2A641284DFB5}"/>
          </ac:spMkLst>
        </pc:spChg>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98E2DA2E-C2CA-3119-A2CF-7778927036C5}" dt="2024-06-04T12:34:55.338" v="5"/>
              <pc2:cmMkLst xmlns:pc2="http://schemas.microsoft.com/office/powerpoint/2019/9/main/command">
                <pc:docMk/>
                <pc:sldMk cId="192098022" sldId="2147481877"/>
                <pc2:cmMk id="{2BAFDAD7-4750-421D-879A-E56EE9100927}"/>
              </pc2:cmMkLst>
              <pc226:cmRplyChg chg="add">
                <pc226:chgData name="Annemarija Apine (LV)" userId="S::annemarija.apine@pwc.com::546f5c59-3b8d-47fd-b739-a8fadc631053" providerId="AD" clId="Web-{98E2DA2E-C2CA-3119-A2CF-7778927036C5}" dt="2024-06-04T12:34:55.338" v="5"/>
                <pc2:cmRplyMkLst xmlns:pc2="http://schemas.microsoft.com/office/powerpoint/2019/9/main/command">
                  <pc:docMk/>
                  <pc:sldMk cId="192098022" sldId="2147481877"/>
                  <pc2:cmMk id="{2BAFDAD7-4750-421D-879A-E56EE9100927}"/>
                  <pc2:cmRplyMk id="{F36101E0-00D0-40D2-B79A-679E30979133}"/>
                </pc2:cmRplyMkLst>
              </pc226:cmRplyChg>
            </pc226:cmChg>
          </p:ext>
        </pc:extLst>
      </pc:sldChg>
    </pc:docChg>
  </pc:docChgLst>
  <pc:docChgLst>
    <pc:chgData name="Annemarija Apine (LV)" userId="S::annemarija.apine@pwc.com::546f5c59-3b8d-47fd-b739-a8fadc631053" providerId="AD" clId="Web-{538CCA16-C173-6D56-1770-9CDF56CAFDED}"/>
    <pc:docChg chg="delSld modSld">
      <pc:chgData name="Annemarija Apine (LV)" userId="S::annemarija.apine@pwc.com::546f5c59-3b8d-47fd-b739-a8fadc631053" providerId="AD" clId="Web-{538CCA16-C173-6D56-1770-9CDF56CAFDED}" dt="2024-05-16T13:08:16.298" v="20"/>
      <pc:docMkLst>
        <pc:docMk/>
      </pc:docMkLst>
      <pc:sldChg chg="del">
        <pc:chgData name="Annemarija Apine (LV)" userId="S::annemarija.apine@pwc.com::546f5c59-3b8d-47fd-b739-a8fadc631053" providerId="AD" clId="Web-{538CCA16-C173-6D56-1770-9CDF56CAFDED}" dt="2024-05-16T13:08:16.267" v="15"/>
        <pc:sldMkLst>
          <pc:docMk/>
          <pc:sldMk cId="0" sldId="258"/>
        </pc:sldMkLst>
      </pc:sldChg>
      <pc:sldChg chg="del">
        <pc:chgData name="Annemarija Apine (LV)" userId="S::annemarija.apine@pwc.com::546f5c59-3b8d-47fd-b739-a8fadc631053" providerId="AD" clId="Web-{538CCA16-C173-6D56-1770-9CDF56CAFDED}" dt="2024-05-16T13:08:16.204" v="1"/>
        <pc:sldMkLst>
          <pc:docMk/>
          <pc:sldMk cId="2519050060" sldId="265"/>
        </pc:sldMkLst>
      </pc:sldChg>
      <pc:sldChg chg="del">
        <pc:chgData name="Annemarija Apine (LV)" userId="S::annemarija.apine@pwc.com::546f5c59-3b8d-47fd-b739-a8fadc631053" providerId="AD" clId="Web-{538CCA16-C173-6D56-1770-9CDF56CAFDED}" dt="2024-05-16T13:08:16.267" v="13"/>
        <pc:sldMkLst>
          <pc:docMk/>
          <pc:sldMk cId="3995767015" sldId="387"/>
        </pc:sldMkLst>
      </pc:sldChg>
      <pc:sldChg chg="del">
        <pc:chgData name="Annemarija Apine (LV)" userId="S::annemarija.apine@pwc.com::546f5c59-3b8d-47fd-b739-a8fadc631053" providerId="AD" clId="Web-{538CCA16-C173-6D56-1770-9CDF56CAFDED}" dt="2024-05-16T13:08:16.235" v="10"/>
        <pc:sldMkLst>
          <pc:docMk/>
          <pc:sldMk cId="176643549" sldId="392"/>
        </pc:sldMkLst>
      </pc:sldChg>
      <pc:sldChg chg="del">
        <pc:chgData name="Annemarija Apine (LV)" userId="S::annemarija.apine@pwc.com::546f5c59-3b8d-47fd-b739-a8fadc631053" providerId="AD" clId="Web-{538CCA16-C173-6D56-1770-9CDF56CAFDED}" dt="2024-05-16T13:08:16.282" v="18"/>
        <pc:sldMkLst>
          <pc:docMk/>
          <pc:sldMk cId="4265792907" sldId="529"/>
        </pc:sldMkLst>
      </pc:sldChg>
      <pc:sldChg chg="del">
        <pc:chgData name="Annemarija Apine (LV)" userId="S::annemarija.apine@pwc.com::546f5c59-3b8d-47fd-b739-a8fadc631053" providerId="AD" clId="Web-{538CCA16-C173-6D56-1770-9CDF56CAFDED}" dt="2024-05-16T13:08:16.298" v="19"/>
        <pc:sldMkLst>
          <pc:docMk/>
          <pc:sldMk cId="4271101327" sldId="711"/>
        </pc:sldMkLst>
      </pc:sldChg>
      <pc:sldChg chg="del">
        <pc:chgData name="Annemarija Apine (LV)" userId="S::annemarija.apine@pwc.com::546f5c59-3b8d-47fd-b739-a8fadc631053" providerId="AD" clId="Web-{538CCA16-C173-6D56-1770-9CDF56CAFDED}" dt="2024-05-16T13:08:16.282" v="17"/>
        <pc:sldMkLst>
          <pc:docMk/>
          <pc:sldMk cId="1709250386" sldId="713"/>
        </pc:sldMkLst>
      </pc:sldChg>
      <pc:sldChg chg="del">
        <pc:chgData name="Annemarija Apine (LV)" userId="S::annemarija.apine@pwc.com::546f5c59-3b8d-47fd-b739-a8fadc631053" providerId="AD" clId="Web-{538CCA16-C173-6D56-1770-9CDF56CAFDED}" dt="2024-05-16T13:08:16.298" v="20"/>
        <pc:sldMkLst>
          <pc:docMk/>
          <pc:sldMk cId="1203577095" sldId="715"/>
        </pc:sldMkLst>
      </pc:sldChg>
      <pc:sldChg chg="del">
        <pc:chgData name="Annemarija Apine (LV)" userId="S::annemarija.apine@pwc.com::546f5c59-3b8d-47fd-b739-a8fadc631053" providerId="AD" clId="Web-{538CCA16-C173-6D56-1770-9CDF56CAFDED}" dt="2024-05-16T13:08:16.282" v="16"/>
        <pc:sldMkLst>
          <pc:docMk/>
          <pc:sldMk cId="3081899946" sldId="716"/>
        </pc:sldMkLst>
      </pc:sldChg>
      <pc:sldChg chg="del">
        <pc:chgData name="Annemarija Apine (LV)" userId="S::annemarija.apine@pwc.com::546f5c59-3b8d-47fd-b739-a8fadc631053" providerId="AD" clId="Web-{538CCA16-C173-6D56-1770-9CDF56CAFDED}" dt="2024-05-16T13:08:16.220" v="6"/>
        <pc:sldMkLst>
          <pc:docMk/>
          <pc:sldMk cId="2140825596" sldId="717"/>
        </pc:sldMkLst>
      </pc:sldChg>
      <pc:sldChg chg="del">
        <pc:chgData name="Annemarija Apine (LV)" userId="S::annemarija.apine@pwc.com::546f5c59-3b8d-47fd-b739-a8fadc631053" providerId="AD" clId="Web-{538CCA16-C173-6D56-1770-9CDF56CAFDED}" dt="2024-05-16T13:08:16.235" v="8"/>
        <pc:sldMkLst>
          <pc:docMk/>
          <pc:sldMk cId="0" sldId="724"/>
        </pc:sldMkLst>
      </pc:sldChg>
      <pc:sldChg chg="del">
        <pc:chgData name="Annemarija Apine (LV)" userId="S::annemarija.apine@pwc.com::546f5c59-3b8d-47fd-b739-a8fadc631053" providerId="AD" clId="Web-{538CCA16-C173-6D56-1770-9CDF56CAFDED}" dt="2024-05-16T13:08:16.220" v="5"/>
        <pc:sldMkLst>
          <pc:docMk/>
          <pc:sldMk cId="3720380803" sldId="725"/>
        </pc:sldMkLst>
      </pc:sldChg>
      <pc:sldChg chg="del">
        <pc:chgData name="Annemarija Apine (LV)" userId="S::annemarija.apine@pwc.com::546f5c59-3b8d-47fd-b739-a8fadc631053" providerId="AD" clId="Web-{538CCA16-C173-6D56-1770-9CDF56CAFDED}" dt="2024-05-16T13:08:16.220" v="4"/>
        <pc:sldMkLst>
          <pc:docMk/>
          <pc:sldMk cId="1762602753" sldId="726"/>
        </pc:sldMkLst>
      </pc:sldChg>
      <pc:sldChg chg="del">
        <pc:chgData name="Annemarija Apine (LV)" userId="S::annemarija.apine@pwc.com::546f5c59-3b8d-47fd-b739-a8fadc631053" providerId="AD" clId="Web-{538CCA16-C173-6D56-1770-9CDF56CAFDED}" dt="2024-05-16T13:08:16.204" v="3"/>
        <pc:sldMkLst>
          <pc:docMk/>
          <pc:sldMk cId="1702508433" sldId="727"/>
        </pc:sldMkLst>
      </pc:sldChg>
      <pc:sldChg chg="del">
        <pc:chgData name="Annemarija Apine (LV)" userId="S::annemarija.apine@pwc.com::546f5c59-3b8d-47fd-b739-a8fadc631053" providerId="AD" clId="Web-{538CCA16-C173-6D56-1770-9CDF56CAFDED}" dt="2024-05-16T13:08:16.204" v="2"/>
        <pc:sldMkLst>
          <pc:docMk/>
          <pc:sldMk cId="1990025065" sldId="759"/>
        </pc:sldMkLst>
      </pc:sldChg>
      <pc:sldChg chg="del">
        <pc:chgData name="Annemarija Apine (LV)" userId="S::annemarija.apine@pwc.com::546f5c59-3b8d-47fd-b739-a8fadc631053" providerId="AD" clId="Web-{538CCA16-C173-6D56-1770-9CDF56CAFDED}" dt="2024-05-16T13:08:16.267" v="14"/>
        <pc:sldMkLst>
          <pc:docMk/>
          <pc:sldMk cId="160076585" sldId="766"/>
        </pc:sldMkLst>
      </pc:sldChg>
      <pc:sldChg chg="modSp modCm">
        <pc:chgData name="Annemarija Apine (LV)" userId="S::annemarija.apine@pwc.com::546f5c59-3b8d-47fd-b739-a8fadc631053" providerId="AD" clId="Web-{538CCA16-C173-6D56-1770-9CDF56CAFDED}" dt="2024-05-16T13:08:00.454" v="0" actId="20577"/>
        <pc:sldMkLst>
          <pc:docMk/>
          <pc:sldMk cId="192098022" sldId="2147481877"/>
        </pc:sldMkLst>
        <pc:spChg chg="mod">
          <ac:chgData name="Annemarija Apine (LV)" userId="S::annemarija.apine@pwc.com::546f5c59-3b8d-47fd-b739-a8fadc631053" providerId="AD" clId="Web-{538CCA16-C173-6D56-1770-9CDF56CAFDED}" dt="2024-05-16T13:08:00.454" v="0" actId="20577"/>
          <ac:spMkLst>
            <pc:docMk/>
            <pc:sldMk cId="192098022" sldId="2147481877"/>
            <ac:spMk id="6" creationId="{2CB3F9F5-858C-1D21-4D13-EAEDABE2E74A}"/>
          </ac:spMkLst>
        </pc:spChg>
        <pc:extLst>
          <p:ext xmlns:p="http://schemas.openxmlformats.org/presentationml/2006/main" uri="{D6D511B9-2390-475A-947B-AFAB55BFBCF1}">
            <pc226:cmChg xmlns:pc226="http://schemas.microsoft.com/office/powerpoint/2022/06/main/command" chg="mod">
              <pc226:chgData name="Annemarija Apine (LV)" userId="S::annemarija.apine@pwc.com::546f5c59-3b8d-47fd-b739-a8fadc631053" providerId="AD" clId="Web-{538CCA16-C173-6D56-1770-9CDF56CAFDED}" dt="2024-05-16T13:08:00.454" v="0" actId="20577"/>
              <pc2:cmMkLst xmlns:pc2="http://schemas.microsoft.com/office/powerpoint/2019/9/main/command">
                <pc:docMk/>
                <pc:sldMk cId="192098022" sldId="2147481877"/>
                <pc2:cmMk id="{34AB9907-A448-473E-B05A-E96D68CA518A}"/>
              </pc2:cmMkLst>
            </pc226:cmChg>
          </p:ext>
        </pc:extLst>
      </pc:sldChg>
      <pc:sldChg chg="del">
        <pc:chgData name="Annemarija Apine (LV)" userId="S::annemarija.apine@pwc.com::546f5c59-3b8d-47fd-b739-a8fadc631053" providerId="AD" clId="Web-{538CCA16-C173-6D56-1770-9CDF56CAFDED}" dt="2024-05-16T13:08:16.251" v="12"/>
        <pc:sldMkLst>
          <pc:docMk/>
          <pc:sldMk cId="2160348050" sldId="2147481944"/>
        </pc:sldMkLst>
      </pc:sldChg>
      <pc:sldChg chg="del">
        <pc:chgData name="Annemarija Apine (LV)" userId="S::annemarija.apine@pwc.com::546f5c59-3b8d-47fd-b739-a8fadc631053" providerId="AD" clId="Web-{538CCA16-C173-6D56-1770-9CDF56CAFDED}" dt="2024-05-16T13:08:16.251" v="11"/>
        <pc:sldMkLst>
          <pc:docMk/>
          <pc:sldMk cId="2967609754" sldId="2147481945"/>
        </pc:sldMkLst>
      </pc:sldChg>
      <pc:sldChg chg="del">
        <pc:chgData name="Annemarija Apine (LV)" userId="S::annemarija.apine@pwc.com::546f5c59-3b8d-47fd-b739-a8fadc631053" providerId="AD" clId="Web-{538CCA16-C173-6D56-1770-9CDF56CAFDED}" dt="2024-05-16T13:08:16.235" v="9"/>
        <pc:sldMkLst>
          <pc:docMk/>
          <pc:sldMk cId="790851881" sldId="2147481946"/>
        </pc:sldMkLst>
      </pc:sldChg>
      <pc:sldChg chg="del">
        <pc:chgData name="Annemarija Apine (LV)" userId="S::annemarija.apine@pwc.com::546f5c59-3b8d-47fd-b739-a8fadc631053" providerId="AD" clId="Web-{538CCA16-C173-6D56-1770-9CDF56CAFDED}" dt="2024-05-16T13:08:16.220" v="7"/>
        <pc:sldMkLst>
          <pc:docMk/>
          <pc:sldMk cId="972494666" sldId="2147481947"/>
        </pc:sldMkLst>
      </pc:sldChg>
    </pc:docChg>
  </pc:docChgLst>
  <pc:docChgLst>
    <pc:chgData name="Kateryna Levchuk (UA)" userId="S::kateryna.levchuk@pwc.com::5dbb0cbd-4dc1-41d4-910d-5f884aef466d" providerId="AD" clId="Web-{89694F84-7348-D6C0-79E4-C0B3F9EA4431}"/>
    <pc:docChg chg="modSld">
      <pc:chgData name="Kateryna Levchuk (UA)" userId="S::kateryna.levchuk@pwc.com::5dbb0cbd-4dc1-41d4-910d-5f884aef466d" providerId="AD" clId="Web-{89694F84-7348-D6C0-79E4-C0B3F9EA4431}" dt="2024-06-10T09:17:33.629" v="111"/>
      <pc:docMkLst>
        <pc:docMk/>
      </pc:docMkLst>
      <pc:sldChg chg="addSp delSp modSp">
        <pc:chgData name="Kateryna Levchuk (UA)" userId="S::kateryna.levchuk@pwc.com::5dbb0cbd-4dc1-41d4-910d-5f884aef466d" providerId="AD" clId="Web-{89694F84-7348-D6C0-79E4-C0B3F9EA4431}" dt="2024-06-10T09:13:44.044" v="77"/>
        <pc:sldMkLst>
          <pc:docMk/>
          <pc:sldMk cId="0" sldId="317"/>
        </pc:sldMkLst>
        <pc:spChg chg="mod topLvl">
          <ac:chgData name="Kateryna Levchuk (UA)" userId="S::kateryna.levchuk@pwc.com::5dbb0cbd-4dc1-41d4-910d-5f884aef466d" providerId="AD" clId="Web-{89694F84-7348-D6C0-79E4-C0B3F9EA4431}" dt="2024-06-10T09:13:31.903" v="76" actId="1076"/>
          <ac:spMkLst>
            <pc:docMk/>
            <pc:sldMk cId="0" sldId="317"/>
            <ac:spMk id="5" creationId="{811FBC76-38A1-3D0C-CA42-D9229C2EBEB2}"/>
          </ac:spMkLst>
        </pc:spChg>
        <pc:spChg chg="mod topLvl">
          <ac:chgData name="Kateryna Levchuk (UA)" userId="S::kateryna.levchuk@pwc.com::5dbb0cbd-4dc1-41d4-910d-5f884aef466d" providerId="AD" clId="Web-{89694F84-7348-D6C0-79E4-C0B3F9EA4431}" dt="2024-06-10T09:13:31.872" v="75" actId="1076"/>
          <ac:spMkLst>
            <pc:docMk/>
            <pc:sldMk cId="0" sldId="317"/>
            <ac:spMk id="6" creationId="{854733CA-77D5-53D8-34FD-33C7350DC9E9}"/>
          </ac:spMkLst>
        </pc:spChg>
        <pc:spChg chg="mod topLvl">
          <ac:chgData name="Kateryna Levchuk (UA)" userId="S::kateryna.levchuk@pwc.com::5dbb0cbd-4dc1-41d4-910d-5f884aef466d" providerId="AD" clId="Web-{89694F84-7348-D6C0-79E4-C0B3F9EA4431}" dt="2024-06-10T09:13:31.747" v="72" actId="1076"/>
          <ac:spMkLst>
            <pc:docMk/>
            <pc:sldMk cId="0" sldId="317"/>
            <ac:spMk id="7" creationId="{BAE5EC89-5375-5422-44C1-548532963130}"/>
          </ac:spMkLst>
        </pc:spChg>
        <pc:spChg chg="mod topLvl">
          <ac:chgData name="Kateryna Levchuk (UA)" userId="S::kateryna.levchuk@pwc.com::5dbb0cbd-4dc1-41d4-910d-5f884aef466d" providerId="AD" clId="Web-{89694F84-7348-D6C0-79E4-C0B3F9EA4431}" dt="2024-06-10T09:13:31.778" v="73" actId="1076"/>
          <ac:spMkLst>
            <pc:docMk/>
            <pc:sldMk cId="0" sldId="317"/>
            <ac:spMk id="8" creationId="{7922B9AC-D06F-291B-14D6-CC66BCC27C1C}"/>
          </ac:spMkLst>
        </pc:spChg>
        <pc:spChg chg="mod topLvl">
          <ac:chgData name="Kateryna Levchuk (UA)" userId="S::kateryna.levchuk@pwc.com::5dbb0cbd-4dc1-41d4-910d-5f884aef466d" providerId="AD" clId="Web-{89694F84-7348-D6C0-79E4-C0B3F9EA4431}" dt="2024-06-10T09:13:31.841" v="74" actId="1076"/>
          <ac:spMkLst>
            <pc:docMk/>
            <pc:sldMk cId="0" sldId="317"/>
            <ac:spMk id="9" creationId="{3EEFE46F-1E14-3996-0E3A-8704BA16695C}"/>
          </ac:spMkLst>
        </pc:spChg>
        <pc:spChg chg="mod topLvl">
          <ac:chgData name="Kateryna Levchuk (UA)" userId="S::kateryna.levchuk@pwc.com::5dbb0cbd-4dc1-41d4-910d-5f884aef466d" providerId="AD" clId="Web-{89694F84-7348-D6C0-79E4-C0B3F9EA4431}" dt="2024-06-10T09:11:56.478" v="63"/>
          <ac:spMkLst>
            <pc:docMk/>
            <pc:sldMk cId="0" sldId="317"/>
            <ac:spMk id="10" creationId="{7C153D51-E589-669E-2102-30184770539A}"/>
          </ac:spMkLst>
        </pc:spChg>
        <pc:spChg chg="del">
          <ac:chgData name="Kateryna Levchuk (UA)" userId="S::kateryna.levchuk@pwc.com::5dbb0cbd-4dc1-41d4-910d-5f884aef466d" providerId="AD" clId="Web-{89694F84-7348-D6C0-79E4-C0B3F9EA4431}" dt="2024-06-10T09:01:25.317" v="40"/>
          <ac:spMkLst>
            <pc:docMk/>
            <pc:sldMk cId="0" sldId="317"/>
            <ac:spMk id="11" creationId="{CA5D8FF2-E36A-CFBC-2EF3-7BE51989331D}"/>
          </ac:spMkLst>
        </pc:spChg>
        <pc:spChg chg="del">
          <ac:chgData name="Kateryna Levchuk (UA)" userId="S::kateryna.levchuk@pwc.com::5dbb0cbd-4dc1-41d4-910d-5f884aef466d" providerId="AD" clId="Web-{89694F84-7348-D6C0-79E4-C0B3F9EA4431}" dt="2024-06-10T09:05:28.138" v="43"/>
          <ac:spMkLst>
            <pc:docMk/>
            <pc:sldMk cId="0" sldId="317"/>
            <ac:spMk id="12" creationId="{59783A96-B5FE-DDBB-D9D0-8B2BC464F04F}"/>
          </ac:spMkLst>
        </pc:spChg>
        <pc:spChg chg="add mod">
          <ac:chgData name="Kateryna Levchuk (UA)" userId="S::kateryna.levchuk@pwc.com::5dbb0cbd-4dc1-41d4-910d-5f884aef466d" providerId="AD" clId="Web-{89694F84-7348-D6C0-79E4-C0B3F9EA4431}" dt="2024-06-10T09:13:11.981" v="71" actId="1076"/>
          <ac:spMkLst>
            <pc:docMk/>
            <pc:sldMk cId="0" sldId="317"/>
            <ac:spMk id="15" creationId="{31A2804C-4571-7FEE-08F8-B950DFA9EE6A}"/>
          </ac:spMkLst>
        </pc:spChg>
        <pc:spChg chg="mod">
          <ac:chgData name="Kateryna Levchuk (UA)" userId="S::kateryna.levchuk@pwc.com::5dbb0cbd-4dc1-41d4-910d-5f884aef466d" providerId="AD" clId="Web-{89694F84-7348-D6C0-79E4-C0B3F9EA4431}" dt="2024-06-10T09:05:42.828" v="46" actId="20577"/>
          <ac:spMkLst>
            <pc:docMk/>
            <pc:sldMk cId="0" sldId="317"/>
            <ac:spMk id="21" creationId="{81BA8ACB-F717-622A-8E55-7DDEAFC69175}"/>
          </ac:spMkLst>
        </pc:spChg>
        <pc:grpChg chg="del mod">
          <ac:chgData name="Kateryna Levchuk (UA)" userId="S::kateryna.levchuk@pwc.com::5dbb0cbd-4dc1-41d4-910d-5f884aef466d" providerId="AD" clId="Web-{89694F84-7348-D6C0-79E4-C0B3F9EA4431}" dt="2024-06-10T09:11:56.478" v="63"/>
          <ac:grpSpMkLst>
            <pc:docMk/>
            <pc:sldMk cId="0" sldId="317"/>
            <ac:grpSpMk id="2" creationId="{7DD15C27-0EEF-6252-C492-2DB4D44A4344}"/>
          </ac:grpSpMkLst>
        </pc:grpChg>
        <pc:grpChg chg="add">
          <ac:chgData name="Kateryna Levchuk (UA)" userId="S::kateryna.levchuk@pwc.com::5dbb0cbd-4dc1-41d4-910d-5f884aef466d" providerId="AD" clId="Web-{89694F84-7348-D6C0-79E4-C0B3F9EA4431}" dt="2024-06-10T09:13:44.044" v="77"/>
          <ac:grpSpMkLst>
            <pc:docMk/>
            <pc:sldMk cId="0" sldId="317"/>
            <ac:grpSpMk id="16" creationId="{4D2927F5-FDFD-6294-32A1-D2C0E893BC44}"/>
          </ac:grpSpMkLst>
        </pc:grpChg>
        <pc:cxnChg chg="del">
          <ac:chgData name="Kateryna Levchuk (UA)" userId="S::kateryna.levchuk@pwc.com::5dbb0cbd-4dc1-41d4-910d-5f884aef466d" providerId="AD" clId="Web-{89694F84-7348-D6C0-79E4-C0B3F9EA4431}" dt="2024-06-10T09:05:45.419" v="47"/>
          <ac:cxnSpMkLst>
            <pc:docMk/>
            <pc:sldMk cId="0" sldId="317"/>
            <ac:cxnSpMk id="14" creationId="{65702FDC-13D4-230D-4AE7-857EDCD012F2}"/>
          </ac:cxnSpMkLst>
        </pc:cxnChg>
      </pc:sldChg>
      <pc:sldChg chg="addSp delSp">
        <pc:chgData name="Kateryna Levchuk (UA)" userId="S::kateryna.levchuk@pwc.com::5dbb0cbd-4dc1-41d4-910d-5f884aef466d" providerId="AD" clId="Web-{89694F84-7348-D6C0-79E4-C0B3F9EA4431}" dt="2024-06-10T09:14:53.249" v="84"/>
        <pc:sldMkLst>
          <pc:docMk/>
          <pc:sldMk cId="12612729" sldId="761"/>
        </pc:sldMkLst>
        <pc:grpChg chg="del">
          <ac:chgData name="Kateryna Levchuk (UA)" userId="S::kateryna.levchuk@pwc.com::5dbb0cbd-4dc1-41d4-910d-5f884aef466d" providerId="AD" clId="Web-{89694F84-7348-D6C0-79E4-C0B3F9EA4431}" dt="2024-06-10T09:14:27.561" v="80"/>
          <ac:grpSpMkLst>
            <pc:docMk/>
            <pc:sldMk cId="12612729" sldId="761"/>
            <ac:grpSpMk id="12" creationId="{075ADFF6-DF93-E786-67DB-96E9161F3009}"/>
          </ac:grpSpMkLst>
        </pc:grpChg>
        <pc:grpChg chg="add">
          <ac:chgData name="Kateryna Levchuk (UA)" userId="S::kateryna.levchuk@pwc.com::5dbb0cbd-4dc1-41d4-910d-5f884aef466d" providerId="AD" clId="Web-{89694F84-7348-D6C0-79E4-C0B3F9EA4431}" dt="2024-06-10T09:14:53.249" v="84"/>
          <ac:grpSpMkLst>
            <pc:docMk/>
            <pc:sldMk cId="12612729" sldId="761"/>
            <ac:grpSpMk id="20" creationId="{FB3BEC61-025B-6D0D-E17D-745069E934D3}"/>
          </ac:grpSpMkLst>
        </pc:grpChg>
      </pc:sldChg>
      <pc:sldChg chg="addSp delSp">
        <pc:chgData name="Kateryna Levchuk (UA)" userId="S::kateryna.levchuk@pwc.com::5dbb0cbd-4dc1-41d4-910d-5f884aef466d" providerId="AD" clId="Web-{89694F84-7348-D6C0-79E4-C0B3F9EA4431}" dt="2024-06-10T09:15:25.985" v="88"/>
        <pc:sldMkLst>
          <pc:docMk/>
          <pc:sldMk cId="2326445928" sldId="764"/>
        </pc:sldMkLst>
        <pc:grpChg chg="del">
          <ac:chgData name="Kateryna Levchuk (UA)" userId="S::kateryna.levchuk@pwc.com::5dbb0cbd-4dc1-41d4-910d-5f884aef466d" providerId="AD" clId="Web-{89694F84-7348-D6C0-79E4-C0B3F9EA4431}" dt="2024-06-10T09:15:19.532" v="87"/>
          <ac:grpSpMkLst>
            <pc:docMk/>
            <pc:sldMk cId="2326445928" sldId="764"/>
            <ac:grpSpMk id="15" creationId="{8BEC1D25-1C62-3C3C-097B-F25E500AE7CA}"/>
          </ac:grpSpMkLst>
        </pc:grpChg>
        <pc:grpChg chg="add">
          <ac:chgData name="Kateryna Levchuk (UA)" userId="S::kateryna.levchuk@pwc.com::5dbb0cbd-4dc1-41d4-910d-5f884aef466d" providerId="AD" clId="Web-{89694F84-7348-D6C0-79E4-C0B3F9EA4431}" dt="2024-06-10T09:15:25.985" v="88"/>
          <ac:grpSpMkLst>
            <pc:docMk/>
            <pc:sldMk cId="2326445928" sldId="764"/>
            <ac:grpSpMk id="29" creationId="{4EF30B58-5B05-2B67-0AC2-1ECB4FBF171A}"/>
          </ac:grpSpMkLst>
        </pc:grpChg>
      </pc:sldChg>
      <pc:sldChg chg="addSp delSp">
        <pc:chgData name="Kateryna Levchuk (UA)" userId="S::kateryna.levchuk@pwc.com::5dbb0cbd-4dc1-41d4-910d-5f884aef466d" providerId="AD" clId="Web-{89694F84-7348-D6C0-79E4-C0B3F9EA4431}" dt="2024-06-10T09:14:56.861" v="85"/>
        <pc:sldMkLst>
          <pc:docMk/>
          <pc:sldMk cId="2731229360" sldId="2147481895"/>
        </pc:sldMkLst>
        <pc:grpChg chg="del">
          <ac:chgData name="Kateryna Levchuk (UA)" userId="S::kateryna.levchuk@pwc.com::5dbb0cbd-4dc1-41d4-910d-5f884aef466d" providerId="AD" clId="Web-{89694F84-7348-D6C0-79E4-C0B3F9EA4431}" dt="2024-06-10T09:14:33.921" v="81"/>
          <ac:grpSpMkLst>
            <pc:docMk/>
            <pc:sldMk cId="2731229360" sldId="2147481895"/>
            <ac:grpSpMk id="16" creationId="{9A690DFF-F5A3-BA45-3611-03F7B2D90D7E}"/>
          </ac:grpSpMkLst>
        </pc:grpChg>
        <pc:grpChg chg="add">
          <ac:chgData name="Kateryna Levchuk (UA)" userId="S::kateryna.levchuk@pwc.com::5dbb0cbd-4dc1-41d4-910d-5f884aef466d" providerId="AD" clId="Web-{89694F84-7348-D6C0-79E4-C0B3F9EA4431}" dt="2024-06-10T09:14:56.861" v="85"/>
          <ac:grpSpMkLst>
            <pc:docMk/>
            <pc:sldMk cId="2731229360" sldId="2147481895"/>
            <ac:grpSpMk id="28" creationId="{B2BD5B18-D144-5FFC-3A18-87947608F67B}"/>
          </ac:grpSpMkLst>
        </pc:grpChg>
      </pc:sldChg>
      <pc:sldChg chg="addSp delSp">
        <pc:chgData name="Kateryna Levchuk (UA)" userId="S::kateryna.levchuk@pwc.com::5dbb0cbd-4dc1-41d4-910d-5f884aef466d" providerId="AD" clId="Web-{89694F84-7348-D6C0-79E4-C0B3F9EA4431}" dt="2024-06-10T09:14:46.765" v="82"/>
        <pc:sldMkLst>
          <pc:docMk/>
          <pc:sldMk cId="3817097256" sldId="2147481898"/>
        </pc:sldMkLst>
        <pc:grpChg chg="del">
          <ac:chgData name="Kateryna Levchuk (UA)" userId="S::kateryna.levchuk@pwc.com::5dbb0cbd-4dc1-41d4-910d-5f884aef466d" providerId="AD" clId="Web-{89694F84-7348-D6C0-79E4-C0B3F9EA4431}" dt="2024-06-10T09:14:22.702" v="78"/>
          <ac:grpSpMkLst>
            <pc:docMk/>
            <pc:sldMk cId="3817097256" sldId="2147481898"/>
            <ac:grpSpMk id="6" creationId="{E4E12CDE-063B-643C-0E17-DA8F84BAEE7F}"/>
          </ac:grpSpMkLst>
        </pc:grpChg>
        <pc:grpChg chg="add">
          <ac:chgData name="Kateryna Levchuk (UA)" userId="S::kateryna.levchuk@pwc.com::5dbb0cbd-4dc1-41d4-910d-5f884aef466d" providerId="AD" clId="Web-{89694F84-7348-D6C0-79E4-C0B3F9EA4431}" dt="2024-06-10T09:14:46.765" v="82"/>
          <ac:grpSpMkLst>
            <pc:docMk/>
            <pc:sldMk cId="3817097256" sldId="2147481898"/>
            <ac:grpSpMk id="40" creationId="{50EC229A-DFC3-CED2-E0F9-218064EDB3F4}"/>
          </ac:grpSpMkLst>
        </pc:grpChg>
      </pc:sldChg>
      <pc:sldChg chg="addSp delSp">
        <pc:chgData name="Kateryna Levchuk (UA)" userId="S::kateryna.levchuk@pwc.com::5dbb0cbd-4dc1-41d4-910d-5f884aef466d" providerId="AD" clId="Web-{89694F84-7348-D6C0-79E4-C0B3F9EA4431}" dt="2024-06-10T09:14:50.656" v="83"/>
        <pc:sldMkLst>
          <pc:docMk/>
          <pc:sldMk cId="3128847407" sldId="2147481907"/>
        </pc:sldMkLst>
        <pc:grpChg chg="del">
          <ac:chgData name="Kateryna Levchuk (UA)" userId="S::kateryna.levchuk@pwc.com::5dbb0cbd-4dc1-41d4-910d-5f884aef466d" providerId="AD" clId="Web-{89694F84-7348-D6C0-79E4-C0B3F9EA4431}" dt="2024-06-10T09:14:25.092" v="79"/>
          <ac:grpSpMkLst>
            <pc:docMk/>
            <pc:sldMk cId="3128847407" sldId="2147481907"/>
            <ac:grpSpMk id="5" creationId="{AE591392-AD16-8406-4F83-751B2E4413AF}"/>
          </ac:grpSpMkLst>
        </pc:grpChg>
        <pc:grpChg chg="add">
          <ac:chgData name="Kateryna Levchuk (UA)" userId="S::kateryna.levchuk@pwc.com::5dbb0cbd-4dc1-41d4-910d-5f884aef466d" providerId="AD" clId="Web-{89694F84-7348-D6C0-79E4-C0B3F9EA4431}" dt="2024-06-10T09:14:50.656" v="83"/>
          <ac:grpSpMkLst>
            <pc:docMk/>
            <pc:sldMk cId="3128847407" sldId="2147481907"/>
            <ac:grpSpMk id="21" creationId="{2C541B34-1CC4-0C2B-DEAE-6E87154D1CC0}"/>
          </ac:grpSpMkLst>
        </pc:grpChg>
      </pc:sldChg>
      <pc:sldChg chg="addSp delSp modSp">
        <pc:chgData name="Kateryna Levchuk (UA)" userId="S::kateryna.levchuk@pwc.com::5dbb0cbd-4dc1-41d4-910d-5f884aef466d" providerId="AD" clId="Web-{89694F84-7348-D6C0-79E4-C0B3F9EA4431}" dt="2024-06-10T09:17:01.613" v="107" actId="20577"/>
        <pc:sldMkLst>
          <pc:docMk/>
          <pc:sldMk cId="4049782693" sldId="2147481949"/>
        </pc:sldMkLst>
        <pc:spChg chg="mod">
          <ac:chgData name="Kateryna Levchuk (UA)" userId="S::kateryna.levchuk@pwc.com::5dbb0cbd-4dc1-41d4-910d-5f884aef466d" providerId="AD" clId="Web-{89694F84-7348-D6C0-79E4-C0B3F9EA4431}" dt="2024-06-10T09:17:01.613" v="107" actId="20577"/>
          <ac:spMkLst>
            <pc:docMk/>
            <pc:sldMk cId="4049782693" sldId="2147481949"/>
            <ac:spMk id="16" creationId="{76ECEC02-3AA3-3758-5646-8F4EF14443C4}"/>
          </ac:spMkLst>
        </pc:spChg>
        <pc:spChg chg="del">
          <ac:chgData name="Kateryna Levchuk (UA)" userId="S::kateryna.levchuk@pwc.com::5dbb0cbd-4dc1-41d4-910d-5f884aef466d" providerId="AD" clId="Web-{89694F84-7348-D6C0-79E4-C0B3F9EA4431}" dt="2024-06-10T09:15:57.767" v="95"/>
          <ac:spMkLst>
            <pc:docMk/>
            <pc:sldMk cId="4049782693" sldId="2147481949"/>
            <ac:spMk id="31" creationId="{1F923310-D545-8319-5288-1680450C02DE}"/>
          </ac:spMkLst>
        </pc:spChg>
        <pc:grpChg chg="add mod">
          <ac:chgData name="Kateryna Levchuk (UA)" userId="S::kateryna.levchuk@pwc.com::5dbb0cbd-4dc1-41d4-910d-5f884aef466d" providerId="AD" clId="Web-{89694F84-7348-D6C0-79E4-C0B3F9EA4431}" dt="2024-06-10T09:16:06.924" v="97" actId="1076"/>
          <ac:grpSpMkLst>
            <pc:docMk/>
            <pc:sldMk cId="4049782693" sldId="2147481949"/>
            <ac:grpSpMk id="20" creationId="{D1E08981-553E-44D6-D155-4360CA62754A}"/>
          </ac:grpSpMkLst>
        </pc:grpChg>
        <pc:grpChg chg="add del">
          <ac:chgData name="Kateryna Levchuk (UA)" userId="S::kateryna.levchuk@pwc.com::5dbb0cbd-4dc1-41d4-910d-5f884aef466d" providerId="AD" clId="Web-{89694F84-7348-D6C0-79E4-C0B3F9EA4431}" dt="2024-06-10T09:15:59.595" v="96"/>
          <ac:grpSpMkLst>
            <pc:docMk/>
            <pc:sldMk cId="4049782693" sldId="2147481949"/>
            <ac:grpSpMk id="21" creationId="{E89CF5C6-105E-175F-BDEF-9177B2CAFA55}"/>
          </ac:grpSpMkLst>
        </pc:grpChg>
      </pc:sldChg>
      <pc:sldChg chg="addSp delSp">
        <pc:chgData name="Kateryna Levchuk (UA)" userId="S::kateryna.levchuk@pwc.com::5dbb0cbd-4dc1-41d4-910d-5f884aef466d" providerId="AD" clId="Web-{89694F84-7348-D6C0-79E4-C0B3F9EA4431}" dt="2024-06-10T09:17:10.191" v="108"/>
        <pc:sldMkLst>
          <pc:docMk/>
          <pc:sldMk cId="3702537864" sldId="2147481950"/>
        </pc:sldMkLst>
        <pc:grpChg chg="del">
          <ac:chgData name="Kateryna Levchuk (UA)" userId="S::kateryna.levchuk@pwc.com::5dbb0cbd-4dc1-41d4-910d-5f884aef466d" providerId="AD" clId="Web-{89694F84-7348-D6C0-79E4-C0B3F9EA4431}" dt="2024-06-10T09:16:20.862" v="98"/>
          <ac:grpSpMkLst>
            <pc:docMk/>
            <pc:sldMk cId="3702537864" sldId="2147481950"/>
            <ac:grpSpMk id="13" creationId="{DD6B9F2D-C80C-4589-88C5-CEB86E67838B}"/>
          </ac:grpSpMkLst>
        </pc:grpChg>
        <pc:grpChg chg="add">
          <ac:chgData name="Kateryna Levchuk (UA)" userId="S::kateryna.levchuk@pwc.com::5dbb0cbd-4dc1-41d4-910d-5f884aef466d" providerId="AD" clId="Web-{89694F84-7348-D6C0-79E4-C0B3F9EA4431}" dt="2024-06-10T09:17:10.191" v="108"/>
          <ac:grpSpMkLst>
            <pc:docMk/>
            <pc:sldMk cId="3702537864" sldId="2147481950"/>
            <ac:grpSpMk id="44" creationId="{6A96F7A7-599B-B54C-5478-6A50842BFC2C}"/>
          </ac:grpSpMkLst>
        </pc:grpChg>
      </pc:sldChg>
      <pc:sldChg chg="addSp delSp">
        <pc:chgData name="Kateryna Levchuk (UA)" userId="S::kateryna.levchuk@pwc.com::5dbb0cbd-4dc1-41d4-910d-5f884aef466d" providerId="AD" clId="Web-{89694F84-7348-D6C0-79E4-C0B3F9EA4431}" dt="2024-06-10T09:17:16.473" v="109"/>
        <pc:sldMkLst>
          <pc:docMk/>
          <pc:sldMk cId="3939567711" sldId="2147481951"/>
        </pc:sldMkLst>
        <pc:grpChg chg="del">
          <ac:chgData name="Kateryna Levchuk (UA)" userId="S::kateryna.levchuk@pwc.com::5dbb0cbd-4dc1-41d4-910d-5f884aef466d" providerId="AD" clId="Web-{89694F84-7348-D6C0-79E4-C0B3F9EA4431}" dt="2024-06-10T09:16:22.799" v="99"/>
          <ac:grpSpMkLst>
            <pc:docMk/>
            <pc:sldMk cId="3939567711" sldId="2147481951"/>
            <ac:grpSpMk id="13" creationId="{0F421062-B37E-BE00-D345-8B9853B48463}"/>
          </ac:grpSpMkLst>
        </pc:grpChg>
        <pc:grpChg chg="add">
          <ac:chgData name="Kateryna Levchuk (UA)" userId="S::kateryna.levchuk@pwc.com::5dbb0cbd-4dc1-41d4-910d-5f884aef466d" providerId="AD" clId="Web-{89694F84-7348-D6C0-79E4-C0B3F9EA4431}" dt="2024-06-10T09:17:16.473" v="109"/>
          <ac:grpSpMkLst>
            <pc:docMk/>
            <pc:sldMk cId="3939567711" sldId="2147481951"/>
            <ac:grpSpMk id="24" creationId="{F563CE39-E9A0-FC8F-917A-CBE225CFC4D4}"/>
          </ac:grpSpMkLst>
        </pc:grpChg>
      </pc:sldChg>
      <pc:sldChg chg="addSp delSp">
        <pc:chgData name="Kateryna Levchuk (UA)" userId="S::kateryna.levchuk@pwc.com::5dbb0cbd-4dc1-41d4-910d-5f884aef466d" providerId="AD" clId="Web-{89694F84-7348-D6C0-79E4-C0B3F9EA4431}" dt="2024-06-10T09:17:29.692" v="110"/>
        <pc:sldMkLst>
          <pc:docMk/>
          <pc:sldMk cId="8764514" sldId="2147481952"/>
        </pc:sldMkLst>
        <pc:grpChg chg="del">
          <ac:chgData name="Kateryna Levchuk (UA)" userId="S::kateryna.levchuk@pwc.com::5dbb0cbd-4dc1-41d4-910d-5f884aef466d" providerId="AD" clId="Web-{89694F84-7348-D6C0-79E4-C0B3F9EA4431}" dt="2024-06-10T09:16:24.830" v="100"/>
          <ac:grpSpMkLst>
            <pc:docMk/>
            <pc:sldMk cId="8764514" sldId="2147481952"/>
            <ac:grpSpMk id="25" creationId="{48FFE816-4D00-428F-9877-278C6CE65D6B}"/>
          </ac:grpSpMkLst>
        </pc:grpChg>
        <pc:grpChg chg="add">
          <ac:chgData name="Kateryna Levchuk (UA)" userId="S::kateryna.levchuk@pwc.com::5dbb0cbd-4dc1-41d4-910d-5f884aef466d" providerId="AD" clId="Web-{89694F84-7348-D6C0-79E4-C0B3F9EA4431}" dt="2024-06-10T09:17:29.692" v="110"/>
          <ac:grpSpMkLst>
            <pc:docMk/>
            <pc:sldMk cId="8764514" sldId="2147481952"/>
            <ac:grpSpMk id="33" creationId="{97B78DF5-D688-FC90-51A7-E3DCA72B1ACA}"/>
          </ac:grpSpMkLst>
        </pc:grpChg>
      </pc:sldChg>
      <pc:sldChg chg="addSp delSp">
        <pc:chgData name="Kateryna Levchuk (UA)" userId="S::kateryna.levchuk@pwc.com::5dbb0cbd-4dc1-41d4-910d-5f884aef466d" providerId="AD" clId="Web-{89694F84-7348-D6C0-79E4-C0B3F9EA4431}" dt="2024-06-10T09:17:33.629" v="111"/>
        <pc:sldMkLst>
          <pc:docMk/>
          <pc:sldMk cId="2037616446" sldId="2147481956"/>
        </pc:sldMkLst>
        <pc:grpChg chg="del">
          <ac:chgData name="Kateryna Levchuk (UA)" userId="S::kateryna.levchuk@pwc.com::5dbb0cbd-4dc1-41d4-910d-5f884aef466d" providerId="AD" clId="Web-{89694F84-7348-D6C0-79E4-C0B3F9EA4431}" dt="2024-06-10T09:16:26.799" v="101"/>
          <ac:grpSpMkLst>
            <pc:docMk/>
            <pc:sldMk cId="2037616446" sldId="2147481956"/>
            <ac:grpSpMk id="27" creationId="{8FE3F3F9-D30A-08C8-46E9-268874574523}"/>
          </ac:grpSpMkLst>
        </pc:grpChg>
        <pc:grpChg chg="add">
          <ac:chgData name="Kateryna Levchuk (UA)" userId="S::kateryna.levchuk@pwc.com::5dbb0cbd-4dc1-41d4-910d-5f884aef466d" providerId="AD" clId="Web-{89694F84-7348-D6C0-79E4-C0B3F9EA4431}" dt="2024-06-10T09:17:33.629" v="111"/>
          <ac:grpSpMkLst>
            <pc:docMk/>
            <pc:sldMk cId="2037616446" sldId="2147481956"/>
            <ac:grpSpMk id="35" creationId="{4216885A-4A4B-1C3E-A617-B432B7DE257E}"/>
          </ac:grpSpMkLst>
        </pc:grpChg>
      </pc:sldChg>
    </pc:docChg>
  </pc:docChgLst>
  <pc:docChgLst>
    <pc:chgData name="Sindija Kirsteine (LV)" userId="5f25501a-2215-4bb3-9d9c-8d1484ffa7c1" providerId="ADAL" clId="{51D5C41C-2C44-4178-AD42-66376DC5DEB0}"/>
    <pc:docChg chg="custSel modSld replTag">
      <pc:chgData name="Sindija Kirsteine (LV)" userId="5f25501a-2215-4bb3-9d9c-8d1484ffa7c1" providerId="ADAL" clId="{51D5C41C-2C44-4178-AD42-66376DC5DEB0}" dt="2024-06-10T12:33:02.147" v="306"/>
      <pc:docMkLst>
        <pc:docMk/>
      </pc:docMkLst>
      <pc:sldChg chg="modSp mod">
        <pc:chgData name="Sindija Kirsteine (LV)" userId="5f25501a-2215-4bb3-9d9c-8d1484ffa7c1" providerId="ADAL" clId="{51D5C41C-2C44-4178-AD42-66376DC5DEB0}" dt="2024-06-10T11:36:39.392" v="13" actId="20577"/>
        <pc:sldMkLst>
          <pc:docMk/>
          <pc:sldMk cId="839732171" sldId="2147481882"/>
        </pc:sldMkLst>
        <pc:spChg chg="mod">
          <ac:chgData name="Sindija Kirsteine (LV)" userId="5f25501a-2215-4bb3-9d9c-8d1484ffa7c1" providerId="ADAL" clId="{51D5C41C-2C44-4178-AD42-66376DC5DEB0}" dt="2024-06-10T11:36:39.392" v="13" actId="20577"/>
          <ac:spMkLst>
            <pc:docMk/>
            <pc:sldMk cId="839732171" sldId="2147481882"/>
            <ac:spMk id="2" creationId="{44641C4F-F07F-7C71-88DD-EEFC9A9A1906}"/>
          </ac:spMkLst>
        </pc:spChg>
      </pc:sldChg>
      <pc:sldChg chg="delSp mod">
        <pc:chgData name="Sindija Kirsteine (LV)" userId="5f25501a-2215-4bb3-9d9c-8d1484ffa7c1" providerId="ADAL" clId="{51D5C41C-2C44-4178-AD42-66376DC5DEB0}" dt="2024-06-10T12:13:17.729" v="32" actId="478"/>
        <pc:sldMkLst>
          <pc:docMk/>
          <pc:sldMk cId="796361483" sldId="2147481942"/>
        </pc:sldMkLst>
        <pc:grpChg chg="del">
          <ac:chgData name="Sindija Kirsteine (LV)" userId="5f25501a-2215-4bb3-9d9c-8d1484ffa7c1" providerId="ADAL" clId="{51D5C41C-2C44-4178-AD42-66376DC5DEB0}" dt="2024-06-10T12:13:17.729" v="32" actId="478"/>
          <ac:grpSpMkLst>
            <pc:docMk/>
            <pc:sldMk cId="796361483" sldId="2147481942"/>
            <ac:grpSpMk id="6" creationId="{0B95653E-AFE7-717A-C0B2-7D21283242CF}"/>
          </ac:grpSpMkLst>
        </pc:grpChg>
      </pc:sldChg>
      <pc:sldChg chg="addSp delSp modSp mod">
        <pc:chgData name="Sindija Kirsteine (LV)" userId="5f25501a-2215-4bb3-9d9c-8d1484ffa7c1" providerId="ADAL" clId="{51D5C41C-2C44-4178-AD42-66376DC5DEB0}" dt="2024-06-10T12:33:02.147" v="306"/>
        <pc:sldMkLst>
          <pc:docMk/>
          <pc:sldMk cId="1261692589" sldId="2147481953"/>
        </pc:sldMkLst>
        <pc:spChg chg="add mod">
          <ac:chgData name="Sindija Kirsteine (LV)" userId="5f25501a-2215-4bb3-9d9c-8d1484ffa7c1" providerId="ADAL" clId="{51D5C41C-2C44-4178-AD42-66376DC5DEB0}" dt="2024-06-10T12:33:02.147" v="306"/>
          <ac:spMkLst>
            <pc:docMk/>
            <pc:sldMk cId="1261692589" sldId="2147481953"/>
            <ac:spMk id="8" creationId="{2DC02BE8-0FB7-BFBB-8E6A-A3F42A34D907}"/>
          </ac:spMkLst>
        </pc:spChg>
        <pc:grpChg chg="del">
          <ac:chgData name="Sindija Kirsteine (LV)" userId="5f25501a-2215-4bb3-9d9c-8d1484ffa7c1" providerId="ADAL" clId="{51D5C41C-2C44-4178-AD42-66376DC5DEB0}" dt="2024-06-10T12:13:20.270" v="34" actId="478"/>
          <ac:grpSpMkLst>
            <pc:docMk/>
            <pc:sldMk cId="1261692589" sldId="2147481953"/>
            <ac:grpSpMk id="8" creationId="{31AE564F-7AF8-2218-EFDF-3396876D8519}"/>
          </ac:grpSpMkLst>
        </pc:grpChg>
      </pc:sldChg>
      <pc:sldChg chg="addSp modSp mod">
        <pc:chgData name="Sindija Kirsteine (LV)" userId="5f25501a-2215-4bb3-9d9c-8d1484ffa7c1" providerId="ADAL" clId="{51D5C41C-2C44-4178-AD42-66376DC5DEB0}" dt="2024-06-10T12:14:47.038" v="281" actId="20577"/>
        <pc:sldMkLst>
          <pc:docMk/>
          <pc:sldMk cId="2248175541" sldId="2147481958"/>
        </pc:sldMkLst>
        <pc:spChg chg="add mod">
          <ac:chgData name="Sindija Kirsteine (LV)" userId="5f25501a-2215-4bb3-9d9c-8d1484ffa7c1" providerId="ADAL" clId="{51D5C41C-2C44-4178-AD42-66376DC5DEB0}" dt="2024-06-10T12:14:47.038" v="281" actId="20577"/>
          <ac:spMkLst>
            <pc:docMk/>
            <pc:sldMk cId="2248175541" sldId="2147481958"/>
            <ac:spMk id="2" creationId="{FFC448EE-BD0B-565D-940C-2AF0B89867AE}"/>
          </ac:spMkLst>
        </pc:spChg>
      </pc:sldChg>
      <pc:sldChg chg="delSp mod">
        <pc:chgData name="Sindija Kirsteine (LV)" userId="5f25501a-2215-4bb3-9d9c-8d1484ffa7c1" providerId="ADAL" clId="{51D5C41C-2C44-4178-AD42-66376DC5DEB0}" dt="2024-06-10T12:13:16.085" v="30" actId="478"/>
        <pc:sldMkLst>
          <pc:docMk/>
          <pc:sldMk cId="1527880861" sldId="2147481962"/>
        </pc:sldMkLst>
        <pc:grpChg chg="del">
          <ac:chgData name="Sindija Kirsteine (LV)" userId="5f25501a-2215-4bb3-9d9c-8d1484ffa7c1" providerId="ADAL" clId="{51D5C41C-2C44-4178-AD42-66376DC5DEB0}" dt="2024-06-10T12:13:16.085" v="30" actId="478"/>
          <ac:grpSpMkLst>
            <pc:docMk/>
            <pc:sldMk cId="1527880861" sldId="2147481962"/>
            <ac:grpSpMk id="2" creationId="{ECAE55E1-A001-CEFC-4B22-12C7E105490E}"/>
          </ac:grpSpMkLst>
        </pc:grpChg>
      </pc:sldChg>
      <pc:sldChg chg="delSp mod">
        <pc:chgData name="Sindija Kirsteine (LV)" userId="5f25501a-2215-4bb3-9d9c-8d1484ffa7c1" providerId="ADAL" clId="{51D5C41C-2C44-4178-AD42-66376DC5DEB0}" dt="2024-06-10T12:13:14.069" v="28" actId="478"/>
        <pc:sldMkLst>
          <pc:docMk/>
          <pc:sldMk cId="3140329955" sldId="2147481963"/>
        </pc:sldMkLst>
        <pc:grpChg chg="del">
          <ac:chgData name="Sindija Kirsteine (LV)" userId="5f25501a-2215-4bb3-9d9c-8d1484ffa7c1" providerId="ADAL" clId="{51D5C41C-2C44-4178-AD42-66376DC5DEB0}" dt="2024-06-10T12:13:14.069" v="28" actId="478"/>
          <ac:grpSpMkLst>
            <pc:docMk/>
            <pc:sldMk cId="3140329955" sldId="2147481963"/>
            <ac:grpSpMk id="2" creationId="{837E6BD3-01FD-8171-7D26-B95141EA14C9}"/>
          </ac:grpSpMkLst>
        </pc:grpChg>
      </pc:sldChg>
    </pc:docChg>
  </pc:docChgLst>
  <pc:docChgLst>
    <pc:chgData name="Ramona Daukste (LV)" userId="cb110d71-928f-4029-96c9-9e7c32e592fe" providerId="ADAL" clId="{75FF6114-160F-4D09-B25E-CAC201F065FB}"/>
    <pc:docChg chg="modSld sldOrd">
      <pc:chgData name="Ramona Daukste (LV)" userId="cb110d71-928f-4029-96c9-9e7c32e592fe" providerId="ADAL" clId="{75FF6114-160F-4D09-B25E-CAC201F065FB}" dt="2024-06-06T06:04:45.560" v="25" actId="20577"/>
      <pc:docMkLst>
        <pc:docMk/>
      </pc:docMkLst>
      <pc:sldChg chg="addCm">
        <pc:chgData name="Ramona Daukste (LV)" userId="cb110d71-928f-4029-96c9-9e7c32e592fe" providerId="ADAL" clId="{75FF6114-160F-4D09-B25E-CAC201F065FB}" dt="2024-06-06T05:53:45.011" v="23"/>
        <pc:sldMkLst>
          <pc:docMk/>
          <pc:sldMk cId="0" sldId="317"/>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53:45.011" v="23"/>
              <pc2:cmMkLst xmlns:pc2="http://schemas.microsoft.com/office/powerpoint/2019/9/main/command">
                <pc:docMk/>
                <pc:sldMk cId="0" sldId="317"/>
                <pc2:cmMk id="{4A1AB072-8859-46AB-BD17-FA8F74F5D532}"/>
              </pc2:cmMkLst>
            </pc226:cmChg>
          </p:ext>
        </pc:extLst>
      </pc:sldChg>
      <pc:sldChg chg="modCm">
        <pc:chgData name="Ramona Daukste (LV)" userId="cb110d71-928f-4029-96c9-9e7c32e592fe" providerId="ADAL" clId="{75FF6114-160F-4D09-B25E-CAC201F065FB}" dt="2024-06-06T05:41:41.863" v="1"/>
        <pc:sldMkLst>
          <pc:docMk/>
          <pc:sldMk cId="192098022" sldId="2147481877"/>
        </pc:sldMkLst>
        <pc:extLst>
          <p:ext xmlns:p="http://schemas.openxmlformats.org/presentationml/2006/main" uri="{D6D511B9-2390-475A-947B-AFAB55BFBCF1}">
            <pc226:cmChg xmlns:pc226="http://schemas.microsoft.com/office/powerpoint/2022/06/main/command" chg="">
              <pc226:chgData name="Ramona Daukste (LV)" userId="cb110d71-928f-4029-96c9-9e7c32e592fe" providerId="ADAL" clId="{75FF6114-160F-4D09-B25E-CAC201F065FB}" dt="2024-06-06T05:41:41.863" v="1"/>
              <pc2:cmMkLst xmlns:pc2="http://schemas.microsoft.com/office/powerpoint/2019/9/main/command">
                <pc:docMk/>
                <pc:sldMk cId="192098022" sldId="2147481877"/>
                <pc2:cmMk id="{42340CB7-382F-4BFC-9464-B01F4E65E661}"/>
              </pc2:cmMkLst>
              <pc226:cmRplyChg chg="add">
                <pc226:chgData name="Ramona Daukste (LV)" userId="cb110d71-928f-4029-96c9-9e7c32e592fe" providerId="ADAL" clId="{75FF6114-160F-4D09-B25E-CAC201F065FB}" dt="2024-06-06T05:39:36.811" v="0"/>
                <pc2:cmRplyMkLst xmlns:pc2="http://schemas.microsoft.com/office/powerpoint/2019/9/main/command">
                  <pc:docMk/>
                  <pc:sldMk cId="192098022" sldId="2147481877"/>
                  <pc2:cmMk id="{42340CB7-382F-4BFC-9464-B01F4E65E661}"/>
                  <pc2:cmRplyMk id="{B9B04974-62C5-4F86-9D4B-C9D4D38FC8C5}"/>
                </pc2:cmRplyMkLst>
              </pc226:cmRplyChg>
              <pc226:cmRplyChg chg="add">
                <pc226:chgData name="Ramona Daukste (LV)" userId="cb110d71-928f-4029-96c9-9e7c32e592fe" providerId="ADAL" clId="{75FF6114-160F-4D09-B25E-CAC201F065FB}" dt="2024-06-06T05:41:41.863" v="1"/>
                <pc2:cmRplyMkLst xmlns:pc2="http://schemas.microsoft.com/office/powerpoint/2019/9/main/command">
                  <pc:docMk/>
                  <pc:sldMk cId="192098022" sldId="2147481877"/>
                  <pc2:cmMk id="{42340CB7-382F-4BFC-9464-B01F4E65E661}"/>
                  <pc2:cmRplyMk id="{FE61418D-3A56-4B62-BB05-0B7CB49AA3C7}"/>
                </pc2:cmRplyMkLst>
              </pc226:cmRplyChg>
            </pc226:cmChg>
          </p:ext>
        </pc:extLst>
      </pc:sldChg>
      <pc:sldChg chg="modSp mod addCm">
        <pc:chgData name="Ramona Daukste (LV)" userId="cb110d71-928f-4029-96c9-9e7c32e592fe" providerId="ADAL" clId="{75FF6114-160F-4D09-B25E-CAC201F065FB}" dt="2024-06-06T05:43:55.740" v="20"/>
        <pc:sldMkLst>
          <pc:docMk/>
          <pc:sldMk cId="1076096228" sldId="2147481883"/>
        </pc:sldMkLst>
        <pc:spChg chg="mod">
          <ac:chgData name="Ramona Daukste (LV)" userId="cb110d71-928f-4029-96c9-9e7c32e592fe" providerId="ADAL" clId="{75FF6114-160F-4D09-B25E-CAC201F065FB}" dt="2024-06-06T05:41:58.331" v="19"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43:55.740" v="20"/>
              <pc2:cmMkLst xmlns:pc2="http://schemas.microsoft.com/office/powerpoint/2019/9/main/command">
                <pc:docMk/>
                <pc:sldMk cId="1076096228" sldId="2147481883"/>
                <pc2:cmMk id="{15B0C1A2-347A-4C6A-94D2-48D8CFAC1078}"/>
              </pc2:cmMkLst>
            </pc226:cmChg>
          </p:ext>
        </pc:extLst>
      </pc:sldChg>
      <pc:sldChg chg="ord addCm">
        <pc:chgData name="Ramona Daukste (LV)" userId="cb110d71-928f-4029-96c9-9e7c32e592fe" providerId="ADAL" clId="{75FF6114-160F-4D09-B25E-CAC201F065FB}" dt="2024-06-06T05:52:19.040" v="22"/>
        <pc:sldMkLst>
          <pc:docMk/>
          <pc:sldMk cId="3901568867" sldId="2147481894"/>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52:19.040" v="22"/>
              <pc2:cmMkLst xmlns:pc2="http://schemas.microsoft.com/office/powerpoint/2019/9/main/command">
                <pc:docMk/>
                <pc:sldMk cId="3901568867" sldId="2147481894"/>
                <pc2:cmMk id="{48CE4E91-3BD3-4EFA-B790-50795C518EF0}"/>
              </pc2:cmMkLst>
            </pc226:cmChg>
          </p:ext>
        </pc:extLst>
      </pc:sldChg>
      <pc:sldChg chg="modSp mod">
        <pc:chgData name="Ramona Daukste (LV)" userId="cb110d71-928f-4029-96c9-9e7c32e592fe" providerId="ADAL" clId="{75FF6114-160F-4D09-B25E-CAC201F065FB}" dt="2024-06-06T06:04:45.560" v="25" actId="20577"/>
        <pc:sldMkLst>
          <pc:docMk/>
          <pc:sldMk cId="3128847407" sldId="2147481907"/>
        </pc:sldMkLst>
        <pc:spChg chg="mod">
          <ac:chgData name="Ramona Daukste (LV)" userId="cb110d71-928f-4029-96c9-9e7c32e592fe" providerId="ADAL" clId="{75FF6114-160F-4D09-B25E-CAC201F065FB}" dt="2024-06-06T06:04:45.560" v="25" actId="20577"/>
          <ac:spMkLst>
            <pc:docMk/>
            <pc:sldMk cId="3128847407" sldId="2147481907"/>
            <ac:spMk id="2" creationId="{00000000-0000-0000-0000-000000000000}"/>
          </ac:spMkLst>
        </pc:spChg>
      </pc:sldChg>
    </pc:docChg>
  </pc:docChgLst>
  <pc:docChgLst>
    <pc:chgData name="Ramona Daukste (LV)" userId="cb110d71-928f-4029-96c9-9e7c32e592fe" providerId="ADAL" clId="{F123434E-4EA1-449B-8991-2B24869B3591}"/>
    <pc:docChg chg="undo custSel delSld modSld sldOrd">
      <pc:chgData name="Ramona Daukste (LV)" userId="cb110d71-928f-4029-96c9-9e7c32e592fe" providerId="ADAL" clId="{F123434E-4EA1-449B-8991-2B24869B3591}" dt="2024-07-08T11:15:29.506" v="134" actId="20577"/>
      <pc:docMkLst>
        <pc:docMk/>
      </pc:docMkLst>
      <pc:sldChg chg="modSp mod">
        <pc:chgData name="Ramona Daukste (LV)" userId="cb110d71-928f-4029-96c9-9e7c32e592fe" providerId="ADAL" clId="{F123434E-4EA1-449B-8991-2B24869B3591}" dt="2024-07-08T10:32:03.161" v="2" actId="20577"/>
        <pc:sldMkLst>
          <pc:docMk/>
          <pc:sldMk cId="0" sldId="317"/>
        </pc:sldMkLst>
        <pc:spChg chg="mod">
          <ac:chgData name="Ramona Daukste (LV)" userId="cb110d71-928f-4029-96c9-9e7c32e592fe" providerId="ADAL" clId="{F123434E-4EA1-449B-8991-2B24869B3591}" dt="2024-07-08T10:31:38.175" v="1" actId="20577"/>
          <ac:spMkLst>
            <pc:docMk/>
            <pc:sldMk cId="0" sldId="317"/>
            <ac:spMk id="29" creationId="{5574D7B1-6FAF-4EF4-9006-9E83166E5D67}"/>
          </ac:spMkLst>
        </pc:spChg>
        <pc:spChg chg="mod">
          <ac:chgData name="Ramona Daukste (LV)" userId="cb110d71-928f-4029-96c9-9e7c32e592fe" providerId="ADAL" clId="{F123434E-4EA1-449B-8991-2B24869B3591}" dt="2024-07-08T10:32:03.161" v="2" actId="20577"/>
          <ac:spMkLst>
            <pc:docMk/>
            <pc:sldMk cId="0" sldId="317"/>
            <ac:spMk id="35" creationId="{0242BEA4-F4CA-3551-DC3D-70B900B999AD}"/>
          </ac:spMkLst>
        </pc:spChg>
      </pc:sldChg>
      <pc:sldChg chg="modSp mod">
        <pc:chgData name="Ramona Daukste (LV)" userId="cb110d71-928f-4029-96c9-9e7c32e592fe" providerId="ADAL" clId="{F123434E-4EA1-449B-8991-2B24869B3591}" dt="2024-07-08T10:40:52.843" v="4" actId="6549"/>
        <pc:sldMkLst>
          <pc:docMk/>
          <pc:sldMk cId="12612729" sldId="761"/>
        </pc:sldMkLst>
        <pc:spChg chg="mod">
          <ac:chgData name="Ramona Daukste (LV)" userId="cb110d71-928f-4029-96c9-9e7c32e592fe" providerId="ADAL" clId="{F123434E-4EA1-449B-8991-2B24869B3591}" dt="2024-07-08T10:40:41.379" v="3" actId="20577"/>
          <ac:spMkLst>
            <pc:docMk/>
            <pc:sldMk cId="12612729" sldId="761"/>
            <ac:spMk id="38" creationId="{352DEB54-7FDE-EE3B-5721-A2A76790BF32}"/>
          </ac:spMkLst>
        </pc:spChg>
        <pc:spChg chg="mod">
          <ac:chgData name="Ramona Daukste (LV)" userId="cb110d71-928f-4029-96c9-9e7c32e592fe" providerId="ADAL" clId="{F123434E-4EA1-449B-8991-2B24869B3591}" dt="2024-07-08T10:40:52.843" v="4" actId="6549"/>
          <ac:spMkLst>
            <pc:docMk/>
            <pc:sldMk cId="12612729" sldId="761"/>
            <ac:spMk id="42" creationId="{5F494258-283A-E20E-984C-57F69A3BAA29}"/>
          </ac:spMkLst>
        </pc:spChg>
      </pc:sldChg>
      <pc:sldChg chg="modSp mod">
        <pc:chgData name="Ramona Daukste (LV)" userId="cb110d71-928f-4029-96c9-9e7c32e592fe" providerId="ADAL" clId="{F123434E-4EA1-449B-8991-2B24869B3591}" dt="2024-07-08T10:53:13.325" v="116" actId="20577"/>
        <pc:sldMkLst>
          <pc:docMk/>
          <pc:sldMk cId="2326445928" sldId="764"/>
        </pc:sldMkLst>
        <pc:spChg chg="mod">
          <ac:chgData name="Ramona Daukste (LV)" userId="cb110d71-928f-4029-96c9-9e7c32e592fe" providerId="ADAL" clId="{F123434E-4EA1-449B-8991-2B24869B3591}" dt="2024-07-08T10:53:11.072" v="115" actId="20577"/>
          <ac:spMkLst>
            <pc:docMk/>
            <pc:sldMk cId="2326445928" sldId="764"/>
            <ac:spMk id="20" creationId="{9E37260E-4A2E-237C-717D-AABF4DF78E82}"/>
          </ac:spMkLst>
        </pc:spChg>
        <pc:spChg chg="mod">
          <ac:chgData name="Ramona Daukste (LV)" userId="cb110d71-928f-4029-96c9-9e7c32e592fe" providerId="ADAL" clId="{F123434E-4EA1-449B-8991-2B24869B3591}" dt="2024-07-08T10:53:13.325" v="116" actId="20577"/>
          <ac:spMkLst>
            <pc:docMk/>
            <pc:sldMk cId="2326445928" sldId="764"/>
            <ac:spMk id="23" creationId="{05CA1F69-6BBB-7AE7-1C27-600330A2C998}"/>
          </ac:spMkLst>
        </pc:spChg>
      </pc:sldChg>
      <pc:sldChg chg="modSp mod">
        <pc:chgData name="Ramona Daukste (LV)" userId="cb110d71-928f-4029-96c9-9e7c32e592fe" providerId="ADAL" clId="{F123434E-4EA1-449B-8991-2B24869B3591}" dt="2024-07-08T11:15:21.394" v="133" actId="20577"/>
        <pc:sldMkLst>
          <pc:docMk/>
          <pc:sldMk cId="301651023" sldId="6887"/>
        </pc:sldMkLst>
        <pc:spChg chg="mod">
          <ac:chgData name="Ramona Daukste (LV)" userId="cb110d71-928f-4029-96c9-9e7c32e592fe" providerId="ADAL" clId="{F123434E-4EA1-449B-8991-2B24869B3591}" dt="2024-07-08T11:15:21.394" v="133" actId="20577"/>
          <ac:spMkLst>
            <pc:docMk/>
            <pc:sldMk cId="301651023" sldId="6887"/>
            <ac:spMk id="22" creationId="{47BD51AB-1F0A-C017-C90C-F68A981EDE96}"/>
          </ac:spMkLst>
        </pc:spChg>
      </pc:sldChg>
      <pc:sldChg chg="ord">
        <pc:chgData name="Ramona Daukste (LV)" userId="cb110d71-928f-4029-96c9-9e7c32e592fe" providerId="ADAL" clId="{F123434E-4EA1-449B-8991-2B24869B3591}" dt="2024-07-08T10:16:07.394" v="0" actId="20578"/>
        <pc:sldMkLst>
          <pc:docMk/>
          <pc:sldMk cId="192098022" sldId="2147481877"/>
        </pc:sldMkLst>
      </pc:sldChg>
      <pc:sldChg chg="modSp mod">
        <pc:chgData name="Ramona Daukste (LV)" userId="cb110d71-928f-4029-96c9-9e7c32e592fe" providerId="ADAL" clId="{F123434E-4EA1-449B-8991-2B24869B3591}" dt="2024-07-08T10:48:32.544" v="73" actId="20577"/>
        <pc:sldMkLst>
          <pc:docMk/>
          <pc:sldMk cId="2731229360" sldId="2147481895"/>
        </pc:sldMkLst>
        <pc:spChg chg="mod">
          <ac:chgData name="Ramona Daukste (LV)" userId="cb110d71-928f-4029-96c9-9e7c32e592fe" providerId="ADAL" clId="{F123434E-4EA1-449B-8991-2B24869B3591}" dt="2024-07-08T10:48:32.544" v="73" actId="20577"/>
          <ac:spMkLst>
            <pc:docMk/>
            <pc:sldMk cId="2731229360" sldId="2147481895"/>
            <ac:spMk id="14" creationId="{2578A2FB-B994-82A1-5B0D-947804EA88ED}"/>
          </ac:spMkLst>
        </pc:spChg>
      </pc:sldChg>
      <pc:sldChg chg="modSp mod">
        <pc:chgData name="Ramona Daukste (LV)" userId="cb110d71-928f-4029-96c9-9e7c32e592fe" providerId="ADAL" clId="{F123434E-4EA1-449B-8991-2B24869B3591}" dt="2024-07-08T10:49:34.011" v="75"/>
        <pc:sldMkLst>
          <pc:docMk/>
          <pc:sldMk cId="4233423074" sldId="2147481905"/>
        </pc:sldMkLst>
        <pc:spChg chg="mod">
          <ac:chgData name="Ramona Daukste (LV)" userId="cb110d71-928f-4029-96c9-9e7c32e592fe" providerId="ADAL" clId="{F123434E-4EA1-449B-8991-2B24869B3591}" dt="2024-07-08T10:49:34.011" v="75"/>
          <ac:spMkLst>
            <pc:docMk/>
            <pc:sldMk cId="4233423074" sldId="2147481905"/>
            <ac:spMk id="27" creationId="{2D6405CD-2499-573E-A031-A68FA08F053E}"/>
          </ac:spMkLst>
        </pc:spChg>
      </pc:sldChg>
      <pc:sldChg chg="modSp mod">
        <pc:chgData name="Ramona Daukste (LV)" userId="cb110d71-928f-4029-96c9-9e7c32e592fe" providerId="ADAL" clId="{F123434E-4EA1-449B-8991-2B24869B3591}" dt="2024-07-08T11:15:29.506" v="134" actId="20577"/>
        <pc:sldMkLst>
          <pc:docMk/>
          <pc:sldMk cId="3128847407" sldId="2147481907"/>
        </pc:sldMkLst>
        <pc:spChg chg="mod">
          <ac:chgData name="Ramona Daukste (LV)" userId="cb110d71-928f-4029-96c9-9e7c32e592fe" providerId="ADAL" clId="{F123434E-4EA1-449B-8991-2B24869B3591}" dt="2024-07-08T11:15:29.506" v="134" actId="20577"/>
          <ac:spMkLst>
            <pc:docMk/>
            <pc:sldMk cId="3128847407" sldId="2147481907"/>
            <ac:spMk id="27" creationId="{91BF21BD-8D7C-A307-97CC-E3851ADAD998}"/>
          </ac:spMkLst>
        </pc:spChg>
      </pc:sldChg>
      <pc:sldChg chg="modSp mod">
        <pc:chgData name="Ramona Daukste (LV)" userId="cb110d71-928f-4029-96c9-9e7c32e592fe" providerId="ADAL" clId="{F123434E-4EA1-449B-8991-2B24869B3591}" dt="2024-07-08T10:53:35.091" v="121" actId="20577"/>
        <pc:sldMkLst>
          <pc:docMk/>
          <pc:sldMk cId="4049782693" sldId="2147481949"/>
        </pc:sldMkLst>
        <pc:spChg chg="mod">
          <ac:chgData name="Ramona Daukste (LV)" userId="cb110d71-928f-4029-96c9-9e7c32e592fe" providerId="ADAL" clId="{F123434E-4EA1-449B-8991-2B24869B3591}" dt="2024-07-08T10:53:35.091" v="121" actId="20577"/>
          <ac:spMkLst>
            <pc:docMk/>
            <pc:sldMk cId="4049782693" sldId="2147481949"/>
            <ac:spMk id="2" creationId="{00000000-0000-0000-0000-000000000000}"/>
          </ac:spMkLst>
        </pc:spChg>
      </pc:sldChg>
      <pc:sldChg chg="modSp mod">
        <pc:chgData name="Ramona Daukste (LV)" userId="cb110d71-928f-4029-96c9-9e7c32e592fe" providerId="ADAL" clId="{F123434E-4EA1-449B-8991-2B24869B3591}" dt="2024-07-08T10:54:17.779" v="122" actId="20577"/>
        <pc:sldMkLst>
          <pc:docMk/>
          <pc:sldMk cId="3702537864" sldId="2147481950"/>
        </pc:sldMkLst>
        <pc:spChg chg="mod">
          <ac:chgData name="Ramona Daukste (LV)" userId="cb110d71-928f-4029-96c9-9e7c32e592fe" providerId="ADAL" clId="{F123434E-4EA1-449B-8991-2B24869B3591}" dt="2024-07-08T10:54:17.779" v="122" actId="20577"/>
          <ac:spMkLst>
            <pc:docMk/>
            <pc:sldMk cId="3702537864" sldId="2147481950"/>
            <ac:spMk id="18" creationId="{9A9BA8EA-750A-D8D0-0D47-DF5B06F523CE}"/>
          </ac:spMkLst>
        </pc:spChg>
      </pc:sldChg>
      <pc:sldChg chg="modSp mod">
        <pc:chgData name="Ramona Daukste (LV)" userId="cb110d71-928f-4029-96c9-9e7c32e592fe" providerId="ADAL" clId="{F123434E-4EA1-449B-8991-2B24869B3591}" dt="2024-07-08T10:56:05.828" v="132" actId="20577"/>
        <pc:sldMkLst>
          <pc:docMk/>
          <pc:sldMk cId="3061079320" sldId="2147481966"/>
        </pc:sldMkLst>
        <pc:spChg chg="mod">
          <ac:chgData name="Ramona Daukste (LV)" userId="cb110d71-928f-4029-96c9-9e7c32e592fe" providerId="ADAL" clId="{F123434E-4EA1-449B-8991-2B24869B3591}" dt="2024-07-08T10:56:05.828" v="132" actId="20577"/>
          <ac:spMkLst>
            <pc:docMk/>
            <pc:sldMk cId="3061079320" sldId="2147481966"/>
            <ac:spMk id="62" creationId="{5FAADB15-4E21-3C09-8DC6-C494DF454908}"/>
          </ac:spMkLst>
        </pc:spChg>
      </pc:sldChg>
      <pc:sldChg chg="del">
        <pc:chgData name="Ramona Daukste (LV)" userId="cb110d71-928f-4029-96c9-9e7c32e592fe" providerId="ADAL" clId="{F123434E-4EA1-449B-8991-2B24869B3591}" dt="2024-07-08T10:50:18.309" v="76" actId="47"/>
        <pc:sldMkLst>
          <pc:docMk/>
          <pc:sldMk cId="141526238" sldId="2147481970"/>
        </pc:sldMkLst>
      </pc:sldChg>
    </pc:docChg>
  </pc:docChgLst>
  <pc:docChgLst>
    <pc:chgData name="Olha Perminova (UA)" userId="3a6a8ff4-9418-475a-a23d-87d0c5689c66" providerId="ADAL" clId="{9A235F19-1981-498E-BA97-5613F340D513}"/>
    <pc:docChg chg="undo custSel addSld delSld modSld sldOrd replTag">
      <pc:chgData name="Olha Perminova (UA)" userId="3a6a8ff4-9418-475a-a23d-87d0c5689c66" providerId="ADAL" clId="{9A235F19-1981-498E-BA97-5613F340D513}" dt="2024-06-10T15:00:26.718" v="1405" actId="1036"/>
      <pc:docMkLst>
        <pc:docMk/>
      </pc:docMkLst>
      <pc:sldChg chg="addSp delSp modSp del mod">
        <pc:chgData name="Olha Perminova (UA)" userId="3a6a8ff4-9418-475a-a23d-87d0c5689c66" providerId="ADAL" clId="{9A235F19-1981-498E-BA97-5613F340D513}" dt="2024-06-10T14:55:24.427" v="1244" actId="2696"/>
        <pc:sldMkLst>
          <pc:docMk/>
          <pc:sldMk cId="3939567711" sldId="2147481951"/>
        </pc:sldMkLst>
        <pc:spChg chg="mod">
          <ac:chgData name="Olha Perminova (UA)" userId="3a6a8ff4-9418-475a-a23d-87d0c5689c66" providerId="ADAL" clId="{9A235F19-1981-498E-BA97-5613F340D513}" dt="2024-06-10T14:55:16.687" v="1241" actId="14100"/>
          <ac:spMkLst>
            <pc:docMk/>
            <pc:sldMk cId="3939567711" sldId="2147481951"/>
            <ac:spMk id="5" creationId="{8F5E4F9B-4FD0-1DD2-57B2-599862CD76E9}"/>
          </ac:spMkLst>
        </pc:spChg>
        <pc:spChg chg="add del mod">
          <ac:chgData name="Olha Perminova (UA)" userId="3a6a8ff4-9418-475a-a23d-87d0c5689c66" providerId="ADAL" clId="{9A235F19-1981-498E-BA97-5613F340D513}" dt="2024-06-10T13:21:49.157" v="51" actId="11529"/>
          <ac:spMkLst>
            <pc:docMk/>
            <pc:sldMk cId="3939567711" sldId="2147481951"/>
            <ac:spMk id="6" creationId="{6C19A639-317B-95BA-7E80-922C52640101}"/>
          </ac:spMkLst>
        </pc:spChg>
        <pc:spChg chg="add del mod">
          <ac:chgData name="Olha Perminova (UA)" userId="3a6a8ff4-9418-475a-a23d-87d0c5689c66" providerId="ADAL" clId="{9A235F19-1981-498E-BA97-5613F340D513}" dt="2024-06-10T14:55:21.851" v="1243"/>
          <ac:spMkLst>
            <pc:docMk/>
            <pc:sldMk cId="3939567711" sldId="2147481951"/>
            <ac:spMk id="22" creationId="{793040EA-83BD-F768-C51B-503C92EC5949}"/>
          </ac:spMkLst>
        </pc:spChg>
        <pc:spChg chg="mod">
          <ac:chgData name="Olha Perminova (UA)" userId="3a6a8ff4-9418-475a-a23d-87d0c5689c66" providerId="ADAL" clId="{9A235F19-1981-498E-BA97-5613F340D513}" dt="2024-06-10T13:21:56.836" v="56" actId="1076"/>
          <ac:spMkLst>
            <pc:docMk/>
            <pc:sldMk cId="3939567711" sldId="2147481951"/>
            <ac:spMk id="51" creationId="{2F6DC4B8-9940-E974-DFE7-A68FEC09CF64}"/>
          </ac:spMkLst>
        </pc:spChg>
        <pc:spChg chg="mod">
          <ac:chgData name="Olha Perminova (UA)" userId="3a6a8ff4-9418-475a-a23d-87d0c5689c66" providerId="ADAL" clId="{9A235F19-1981-498E-BA97-5613F340D513}" dt="2024-06-10T13:21:55.268" v="54" actId="1076"/>
          <ac:spMkLst>
            <pc:docMk/>
            <pc:sldMk cId="3939567711" sldId="2147481951"/>
            <ac:spMk id="52" creationId="{754EAF21-8364-40B5-103F-C971798338FA}"/>
          </ac:spMkLst>
        </pc:spChg>
        <pc:spChg chg="mod">
          <ac:chgData name="Olha Perminova (UA)" userId="3a6a8ff4-9418-475a-a23d-87d0c5689c66" providerId="ADAL" clId="{9A235F19-1981-498E-BA97-5613F340D513}" dt="2024-06-10T13:21:54.496" v="53" actId="1076"/>
          <ac:spMkLst>
            <pc:docMk/>
            <pc:sldMk cId="3939567711" sldId="2147481951"/>
            <ac:spMk id="70" creationId="{3F316D1B-3703-9EE0-5513-9FC627F0D3C4}"/>
          </ac:spMkLst>
        </pc:spChg>
        <pc:spChg chg="mod">
          <ac:chgData name="Olha Perminova (UA)" userId="3a6a8ff4-9418-475a-a23d-87d0c5689c66" providerId="ADAL" clId="{9A235F19-1981-498E-BA97-5613F340D513}" dt="2024-06-10T13:19:57.876" v="27" actId="1076"/>
          <ac:spMkLst>
            <pc:docMk/>
            <pc:sldMk cId="3939567711" sldId="2147481951"/>
            <ac:spMk id="86" creationId="{648F3B61-9E01-3FED-9478-2DF9456AD92A}"/>
          </ac:spMkLst>
        </pc:spChg>
        <pc:spChg chg="mod">
          <ac:chgData name="Olha Perminova (UA)" userId="3a6a8ff4-9418-475a-a23d-87d0c5689c66" providerId="ADAL" clId="{9A235F19-1981-498E-BA97-5613F340D513}" dt="2024-06-10T13:19:57.876" v="27" actId="1076"/>
          <ac:spMkLst>
            <pc:docMk/>
            <pc:sldMk cId="3939567711" sldId="2147481951"/>
            <ac:spMk id="87" creationId="{42505ED0-AC34-45B6-C247-BB91AC54A687}"/>
          </ac:spMkLst>
        </pc:spChg>
        <pc:spChg chg="mod">
          <ac:chgData name="Olha Perminova (UA)" userId="3a6a8ff4-9418-475a-a23d-87d0c5689c66" providerId="ADAL" clId="{9A235F19-1981-498E-BA97-5613F340D513}" dt="2024-06-10T13:19:57.876" v="27" actId="1076"/>
          <ac:spMkLst>
            <pc:docMk/>
            <pc:sldMk cId="3939567711" sldId="2147481951"/>
            <ac:spMk id="88" creationId="{B91EEFEC-A7F9-6A62-0B87-F926087694FF}"/>
          </ac:spMkLst>
        </pc:spChg>
        <pc:grpChg chg="mod">
          <ac:chgData name="Olha Perminova (UA)" userId="3a6a8ff4-9418-475a-a23d-87d0c5689c66" providerId="ADAL" clId="{9A235F19-1981-498E-BA97-5613F340D513}" dt="2024-06-10T13:19:57.876" v="27" actId="1076"/>
          <ac:grpSpMkLst>
            <pc:docMk/>
            <pc:sldMk cId="3939567711" sldId="2147481951"/>
            <ac:grpSpMk id="50" creationId="{35EBB9EC-EE3B-02CA-F3CD-1BDA4B3D07E0}"/>
          </ac:grpSpMkLst>
        </pc:grpChg>
        <pc:grpChg chg="mod">
          <ac:chgData name="Olha Perminova (UA)" userId="3a6a8ff4-9418-475a-a23d-87d0c5689c66" providerId="ADAL" clId="{9A235F19-1981-498E-BA97-5613F340D513}" dt="2024-06-10T13:21:44.454" v="47" actId="1076"/>
          <ac:grpSpMkLst>
            <pc:docMk/>
            <pc:sldMk cId="3939567711" sldId="2147481951"/>
            <ac:grpSpMk id="57" creationId="{BA1ACCB5-893B-3A37-D18B-1A8EB31DFE03}"/>
          </ac:grpSpMkLst>
        </pc:grpChg>
      </pc:sldChg>
      <pc:sldChg chg="mod ord modShow">
        <pc:chgData name="Olha Perminova (UA)" userId="3a6a8ff4-9418-475a-a23d-87d0c5689c66" providerId="ADAL" clId="{9A235F19-1981-498E-BA97-5613F340D513}" dt="2024-06-10T14:54:58.983" v="1231"/>
        <pc:sldMkLst>
          <pc:docMk/>
          <pc:sldMk cId="8764514" sldId="2147481952"/>
        </pc:sldMkLst>
      </pc:sldChg>
      <pc:sldChg chg="del mod modShow">
        <pc:chgData name="Olha Perminova (UA)" userId="3a6a8ff4-9418-475a-a23d-87d0c5689c66" providerId="ADAL" clId="{9A235F19-1981-498E-BA97-5613F340D513}" dt="2024-06-10T14:12:17.769" v="545" actId="2696"/>
        <pc:sldMkLst>
          <pc:docMk/>
          <pc:sldMk cId="2037616446" sldId="2147481956"/>
        </pc:sldMkLst>
      </pc:sldChg>
      <pc:sldChg chg="addSp delSp modSp mod">
        <pc:chgData name="Olha Perminova (UA)" userId="3a6a8ff4-9418-475a-a23d-87d0c5689c66" providerId="ADAL" clId="{9A235F19-1981-498E-BA97-5613F340D513}" dt="2024-06-10T15:00:26.718" v="1405" actId="1036"/>
        <pc:sldMkLst>
          <pc:docMk/>
          <pc:sldMk cId="329214126" sldId="2147481959"/>
        </pc:sldMkLst>
        <pc:spChg chg="mod">
          <ac:chgData name="Olha Perminova (UA)" userId="3a6a8ff4-9418-475a-a23d-87d0c5689c66" providerId="ADAL" clId="{9A235F19-1981-498E-BA97-5613F340D513}" dt="2024-06-10T14:59:06.443" v="1390" actId="552"/>
          <ac:spMkLst>
            <pc:docMk/>
            <pc:sldMk cId="329214126" sldId="2147481959"/>
            <ac:spMk id="2" creationId="{B1F6A68B-1597-6DFC-9E7D-71CFDA319A8C}"/>
          </ac:spMkLst>
        </pc:spChg>
        <pc:spChg chg="mod">
          <ac:chgData name="Olha Perminova (UA)" userId="3a6a8ff4-9418-475a-a23d-87d0c5689c66" providerId="ADAL" clId="{9A235F19-1981-498E-BA97-5613F340D513}" dt="2024-06-10T14:58:56.508" v="1389" actId="465"/>
          <ac:spMkLst>
            <pc:docMk/>
            <pc:sldMk cId="329214126" sldId="2147481959"/>
            <ac:spMk id="5" creationId="{4698077E-5F06-B355-0606-A7F29A25D317}"/>
          </ac:spMkLst>
        </pc:spChg>
        <pc:spChg chg="mod">
          <ac:chgData name="Olha Perminova (UA)" userId="3a6a8ff4-9418-475a-a23d-87d0c5689c66" providerId="ADAL" clId="{9A235F19-1981-498E-BA97-5613F340D513}" dt="2024-06-10T14:59:43.725" v="1397" actId="465"/>
          <ac:spMkLst>
            <pc:docMk/>
            <pc:sldMk cId="329214126" sldId="2147481959"/>
            <ac:spMk id="15" creationId="{59122A1E-8BC3-09F4-97FB-705F528E5398}"/>
          </ac:spMkLst>
        </pc:spChg>
        <pc:spChg chg="mod">
          <ac:chgData name="Olha Perminova (UA)" userId="3a6a8ff4-9418-475a-a23d-87d0c5689c66" providerId="ADAL" clId="{9A235F19-1981-498E-BA97-5613F340D513}" dt="2024-06-10T14:57:52.357" v="1355" actId="555"/>
          <ac:spMkLst>
            <pc:docMk/>
            <pc:sldMk cId="329214126" sldId="2147481959"/>
            <ac:spMk id="16" creationId="{4C1489AC-C832-C969-96C3-5B7A4ED02FB3}"/>
          </ac:spMkLst>
        </pc:spChg>
        <pc:spChg chg="mod">
          <ac:chgData name="Olha Perminova (UA)" userId="3a6a8ff4-9418-475a-a23d-87d0c5689c66" providerId="ADAL" clId="{9A235F19-1981-498E-BA97-5613F340D513}" dt="2024-06-10T14:58:05.572" v="1376" actId="553"/>
          <ac:spMkLst>
            <pc:docMk/>
            <pc:sldMk cId="329214126" sldId="2147481959"/>
            <ac:spMk id="17" creationId="{D67163D0-AFF2-0F5B-BEF8-713B9C5550B9}"/>
          </ac:spMkLst>
        </pc:spChg>
        <pc:spChg chg="mod">
          <ac:chgData name="Olha Perminova (UA)" userId="3a6a8ff4-9418-475a-a23d-87d0c5689c66" providerId="ADAL" clId="{9A235F19-1981-498E-BA97-5613F340D513}" dt="2024-06-10T14:57:18.507" v="1297" actId="552"/>
          <ac:spMkLst>
            <pc:docMk/>
            <pc:sldMk cId="329214126" sldId="2147481959"/>
            <ac:spMk id="18" creationId="{D3932FD6-4833-DAF0-8321-A600DDDF2D68}"/>
          </ac:spMkLst>
        </pc:spChg>
        <pc:spChg chg="mod">
          <ac:chgData name="Olha Perminova (UA)" userId="3a6a8ff4-9418-475a-a23d-87d0c5689c66" providerId="ADAL" clId="{9A235F19-1981-498E-BA97-5613F340D513}" dt="2024-06-10T14:56:44.004" v="1285" actId="1076"/>
          <ac:spMkLst>
            <pc:docMk/>
            <pc:sldMk cId="329214126" sldId="2147481959"/>
            <ac:spMk id="21" creationId="{036DED66-E299-1067-9D43-ADF12C7A1CC7}"/>
          </ac:spMkLst>
        </pc:spChg>
        <pc:spChg chg="mod">
          <ac:chgData name="Olha Perminova (UA)" userId="3a6a8ff4-9418-475a-a23d-87d0c5689c66" providerId="ADAL" clId="{9A235F19-1981-498E-BA97-5613F340D513}" dt="2024-06-10T14:59:49.789" v="1398" actId="14100"/>
          <ac:spMkLst>
            <pc:docMk/>
            <pc:sldMk cId="329214126" sldId="2147481959"/>
            <ac:spMk id="22" creationId="{5945FFC4-B564-FA15-EA24-EE9B63FADFEC}"/>
          </ac:spMkLst>
        </pc:spChg>
        <pc:spChg chg="mod">
          <ac:chgData name="Olha Perminova (UA)" userId="3a6a8ff4-9418-475a-a23d-87d0c5689c66" providerId="ADAL" clId="{9A235F19-1981-498E-BA97-5613F340D513}" dt="2024-06-10T14:57:12.663" v="1295" actId="552"/>
          <ac:spMkLst>
            <pc:docMk/>
            <pc:sldMk cId="329214126" sldId="2147481959"/>
            <ac:spMk id="23" creationId="{40D304C9-A45C-F440-2AD0-14A290FE5C9A}"/>
          </ac:spMkLst>
        </pc:spChg>
        <pc:spChg chg="del">
          <ac:chgData name="Olha Perminova (UA)" userId="3a6a8ff4-9418-475a-a23d-87d0c5689c66" providerId="ADAL" clId="{9A235F19-1981-498E-BA97-5613F340D513}" dt="2024-06-10T14:55:46.730" v="1250" actId="478"/>
          <ac:spMkLst>
            <pc:docMk/>
            <pc:sldMk cId="329214126" sldId="2147481959"/>
            <ac:spMk id="26" creationId="{A49585BF-400C-D97E-814D-A29D14EEAB69}"/>
          </ac:spMkLst>
        </pc:spChg>
        <pc:spChg chg="mod">
          <ac:chgData name="Olha Perminova (UA)" userId="3a6a8ff4-9418-475a-a23d-87d0c5689c66" providerId="ADAL" clId="{9A235F19-1981-498E-BA97-5613F340D513}" dt="2024-06-10T14:58:03.839" v="1363" actId="948"/>
          <ac:spMkLst>
            <pc:docMk/>
            <pc:sldMk cId="329214126" sldId="2147481959"/>
            <ac:spMk id="27" creationId="{32BEDB9C-EB44-3430-B207-FA719672649E}"/>
          </ac:spMkLst>
        </pc:spChg>
        <pc:spChg chg="mod">
          <ac:chgData name="Olha Perminova (UA)" userId="3a6a8ff4-9418-475a-a23d-87d0c5689c66" providerId="ADAL" clId="{9A235F19-1981-498E-BA97-5613F340D513}" dt="2024-06-10T14:57:07.881" v="1294" actId="1036"/>
          <ac:spMkLst>
            <pc:docMk/>
            <pc:sldMk cId="329214126" sldId="2147481959"/>
            <ac:spMk id="33" creationId="{5B2A4D2C-CD75-341E-580A-957F809C2018}"/>
          </ac:spMkLst>
        </pc:spChg>
        <pc:spChg chg="add mod">
          <ac:chgData name="Olha Perminova (UA)" userId="3a6a8ff4-9418-475a-a23d-87d0c5689c66" providerId="ADAL" clId="{9A235F19-1981-498E-BA97-5613F340D513}" dt="2024-06-10T14:55:47.127" v="1251"/>
          <ac:spMkLst>
            <pc:docMk/>
            <pc:sldMk cId="329214126" sldId="2147481959"/>
            <ac:spMk id="35" creationId="{E75B0771-339E-D70E-BF92-01FF7186E519}"/>
          </ac:spMkLst>
        </pc:spChg>
        <pc:spChg chg="add del mod">
          <ac:chgData name="Olha Perminova (UA)" userId="3a6a8ff4-9418-475a-a23d-87d0c5689c66" providerId="ADAL" clId="{9A235F19-1981-498E-BA97-5613F340D513}" dt="2024-06-10T14:59:10.481" v="1391" actId="478"/>
          <ac:spMkLst>
            <pc:docMk/>
            <pc:sldMk cId="329214126" sldId="2147481959"/>
            <ac:spMk id="36" creationId="{5067C077-31F1-307B-534B-67A59FD3F685}"/>
          </ac:spMkLst>
        </pc:spChg>
        <pc:spChg chg="mod">
          <ac:chgData name="Olha Perminova (UA)" userId="3a6a8ff4-9418-475a-a23d-87d0c5689c66" providerId="ADAL" clId="{9A235F19-1981-498E-BA97-5613F340D513}" dt="2024-06-10T14:58:05.572" v="1376" actId="553"/>
          <ac:spMkLst>
            <pc:docMk/>
            <pc:sldMk cId="329214126" sldId="2147481959"/>
            <ac:spMk id="37" creationId="{16C10275-D1DB-BDFC-B1ED-A4402FA73250}"/>
          </ac:spMkLst>
        </pc:spChg>
        <pc:spChg chg="add del mod modVis">
          <ac:chgData name="Olha Perminova (UA)" userId="3a6a8ff4-9418-475a-a23d-87d0c5689c66" providerId="ADAL" clId="{9A235F19-1981-498E-BA97-5613F340D513}" dt="2024-06-10T14:57:37.787" v="1325"/>
          <ac:spMkLst>
            <pc:docMk/>
            <pc:sldMk cId="329214126" sldId="2147481959"/>
            <ac:spMk id="38" creationId="{D7937ED7-9D28-30AE-3E1F-579BA429791D}"/>
          </ac:spMkLst>
        </pc:spChg>
        <pc:spChg chg="mod">
          <ac:chgData name="Olha Perminova (UA)" userId="3a6a8ff4-9418-475a-a23d-87d0c5689c66" providerId="ADAL" clId="{9A235F19-1981-498E-BA97-5613F340D513}" dt="2024-06-10T14:59:28.864" v="1393" actId="12788"/>
          <ac:spMkLst>
            <pc:docMk/>
            <pc:sldMk cId="329214126" sldId="2147481959"/>
            <ac:spMk id="43" creationId="{4D22AE43-6F09-8F6C-6BFB-B80568A76645}"/>
          </ac:spMkLst>
        </pc:spChg>
        <pc:spChg chg="mod">
          <ac:chgData name="Olha Perminova (UA)" userId="3a6a8ff4-9418-475a-a23d-87d0c5689c66" providerId="ADAL" clId="{9A235F19-1981-498E-BA97-5613F340D513}" dt="2024-06-10T14:59:28.864" v="1393" actId="12788"/>
          <ac:spMkLst>
            <pc:docMk/>
            <pc:sldMk cId="329214126" sldId="2147481959"/>
            <ac:spMk id="45" creationId="{351F422D-199E-63ED-F400-A5A2A505286D}"/>
          </ac:spMkLst>
        </pc:spChg>
        <pc:spChg chg="mod">
          <ac:chgData name="Olha Perminova (UA)" userId="3a6a8ff4-9418-475a-a23d-87d0c5689c66" providerId="ADAL" clId="{9A235F19-1981-498E-BA97-5613F340D513}" dt="2024-06-10T14:58:49.181" v="1387"/>
          <ac:spMkLst>
            <pc:docMk/>
            <pc:sldMk cId="329214126" sldId="2147481959"/>
            <ac:spMk id="48" creationId="{841DF6D9-4332-496D-9522-D7DE59AC6D9C}"/>
          </ac:spMkLst>
        </pc:spChg>
        <pc:spChg chg="mod">
          <ac:chgData name="Olha Perminova (UA)" userId="3a6a8ff4-9418-475a-a23d-87d0c5689c66" providerId="ADAL" clId="{9A235F19-1981-498E-BA97-5613F340D513}" dt="2024-06-10T14:58:49.181" v="1387"/>
          <ac:spMkLst>
            <pc:docMk/>
            <pc:sldMk cId="329214126" sldId="2147481959"/>
            <ac:spMk id="50" creationId="{5A1DDE0D-0789-8B95-CF6A-B534787C207C}"/>
          </ac:spMkLst>
        </pc:spChg>
        <pc:spChg chg="mod">
          <ac:chgData name="Olha Perminova (UA)" userId="3a6a8ff4-9418-475a-a23d-87d0c5689c66" providerId="ADAL" clId="{9A235F19-1981-498E-BA97-5613F340D513}" dt="2024-06-10T14:59:35.415" v="1395"/>
          <ac:spMkLst>
            <pc:docMk/>
            <pc:sldMk cId="329214126" sldId="2147481959"/>
            <ac:spMk id="54" creationId="{97C2D747-7EA4-AB85-62EB-9712560435D7}"/>
          </ac:spMkLst>
        </pc:spChg>
        <pc:spChg chg="mod">
          <ac:chgData name="Olha Perminova (UA)" userId="3a6a8ff4-9418-475a-a23d-87d0c5689c66" providerId="ADAL" clId="{9A235F19-1981-498E-BA97-5613F340D513}" dt="2024-06-10T14:57:18.507" v="1297" actId="552"/>
          <ac:spMkLst>
            <pc:docMk/>
            <pc:sldMk cId="329214126" sldId="2147481959"/>
            <ac:spMk id="55" creationId="{01DEE395-A1D3-A782-B617-02A79709E740}"/>
          </ac:spMkLst>
        </pc:spChg>
        <pc:spChg chg="mod">
          <ac:chgData name="Olha Perminova (UA)" userId="3a6a8ff4-9418-475a-a23d-87d0c5689c66" providerId="ADAL" clId="{9A235F19-1981-498E-BA97-5613F340D513}" dt="2024-06-10T14:59:35.415" v="1395"/>
          <ac:spMkLst>
            <pc:docMk/>
            <pc:sldMk cId="329214126" sldId="2147481959"/>
            <ac:spMk id="57" creationId="{E3F9568D-80D6-B7D3-B26D-0CF99F24FA39}"/>
          </ac:spMkLst>
        </pc:spChg>
        <pc:spChg chg="mod">
          <ac:chgData name="Olha Perminova (UA)" userId="3a6a8ff4-9418-475a-a23d-87d0c5689c66" providerId="ADAL" clId="{9A235F19-1981-498E-BA97-5613F340D513}" dt="2024-06-10T14:56:06.435" v="1267" actId="408"/>
          <ac:spMkLst>
            <pc:docMk/>
            <pc:sldMk cId="329214126" sldId="2147481959"/>
            <ac:spMk id="64" creationId="{67FBBA03-31E4-D7C8-090F-638F677E6A35}"/>
          </ac:spMkLst>
        </pc:spChg>
        <pc:spChg chg="mod">
          <ac:chgData name="Olha Perminova (UA)" userId="3a6a8ff4-9418-475a-a23d-87d0c5689c66" providerId="ADAL" clId="{9A235F19-1981-498E-BA97-5613F340D513}" dt="2024-06-10T14:56:40.800" v="1283" actId="1038"/>
          <ac:spMkLst>
            <pc:docMk/>
            <pc:sldMk cId="329214126" sldId="2147481959"/>
            <ac:spMk id="65" creationId="{894E5700-E975-D8D2-5AD3-2E35DE8CE365}"/>
          </ac:spMkLst>
        </pc:spChg>
        <pc:spChg chg="mod">
          <ac:chgData name="Olha Perminova (UA)" userId="3a6a8ff4-9418-475a-a23d-87d0c5689c66" providerId="ADAL" clId="{9A235F19-1981-498E-BA97-5613F340D513}" dt="2024-06-10T15:00:00.636" v="1399" actId="14100"/>
          <ac:spMkLst>
            <pc:docMk/>
            <pc:sldMk cId="329214126" sldId="2147481959"/>
            <ac:spMk id="66" creationId="{8D4E5B49-05F7-6DC9-B647-FEF3369AD289}"/>
          </ac:spMkLst>
        </pc:spChg>
        <pc:spChg chg="mod">
          <ac:chgData name="Olha Perminova (UA)" userId="3a6a8ff4-9418-475a-a23d-87d0c5689c66" providerId="ADAL" clId="{9A235F19-1981-498E-BA97-5613F340D513}" dt="2024-06-10T14:58:21.046" v="1378" actId="12788"/>
          <ac:spMkLst>
            <pc:docMk/>
            <pc:sldMk cId="329214126" sldId="2147481959"/>
            <ac:spMk id="76" creationId="{CED2266F-08FA-862E-8416-6D956A1445F1}"/>
          </ac:spMkLst>
        </pc:spChg>
        <pc:grpChg chg="add mod">
          <ac:chgData name="Olha Perminova (UA)" userId="3a6a8ff4-9418-475a-a23d-87d0c5689c66" providerId="ADAL" clId="{9A235F19-1981-498E-BA97-5613F340D513}" dt="2024-06-10T15:00:26.718" v="1405" actId="1036"/>
          <ac:grpSpMkLst>
            <pc:docMk/>
            <pc:sldMk cId="329214126" sldId="2147481959"/>
            <ac:grpSpMk id="41" creationId="{7791985C-12B3-8C09-1D30-21A08DE6D25B}"/>
          </ac:grpSpMkLst>
        </pc:grpChg>
        <pc:grpChg chg="mod">
          <ac:chgData name="Olha Perminova (UA)" userId="3a6a8ff4-9418-475a-a23d-87d0c5689c66" providerId="ADAL" clId="{9A235F19-1981-498E-BA97-5613F340D513}" dt="2024-06-10T14:58:30.804" v="1381"/>
          <ac:grpSpMkLst>
            <pc:docMk/>
            <pc:sldMk cId="329214126" sldId="2147481959"/>
            <ac:grpSpMk id="42" creationId="{A804AD52-C2B5-1BBD-590C-011CCC0F2E26}"/>
          </ac:grpSpMkLst>
        </pc:grpChg>
        <pc:grpChg chg="add del mod">
          <ac:chgData name="Olha Perminova (UA)" userId="3a6a8ff4-9418-475a-a23d-87d0c5689c66" providerId="ADAL" clId="{9A235F19-1981-498E-BA97-5613F340D513}" dt="2024-06-10T14:59:33.164" v="1394" actId="478"/>
          <ac:grpSpMkLst>
            <pc:docMk/>
            <pc:sldMk cId="329214126" sldId="2147481959"/>
            <ac:grpSpMk id="46" creationId="{A82894A8-ADDE-2EFA-008E-F067B8AA58B1}"/>
          </ac:grpSpMkLst>
        </pc:grpChg>
        <pc:grpChg chg="mod">
          <ac:chgData name="Olha Perminova (UA)" userId="3a6a8ff4-9418-475a-a23d-87d0c5689c66" providerId="ADAL" clId="{9A235F19-1981-498E-BA97-5613F340D513}" dt="2024-06-10T14:58:49.181" v="1387"/>
          <ac:grpSpMkLst>
            <pc:docMk/>
            <pc:sldMk cId="329214126" sldId="2147481959"/>
            <ac:grpSpMk id="47" creationId="{CD9E0CD8-9270-8D88-8F79-43616D751389}"/>
          </ac:grpSpMkLst>
        </pc:grpChg>
        <pc:grpChg chg="add mod">
          <ac:chgData name="Olha Perminova (UA)" userId="3a6a8ff4-9418-475a-a23d-87d0c5689c66" providerId="ADAL" clId="{9A235F19-1981-498E-BA97-5613F340D513}" dt="2024-06-10T15:00:24.270" v="1402" actId="1036"/>
          <ac:grpSpMkLst>
            <pc:docMk/>
            <pc:sldMk cId="329214126" sldId="2147481959"/>
            <ac:grpSpMk id="52" creationId="{F63A512F-4A6A-81D2-94DA-4195DD4BBA36}"/>
          </ac:grpSpMkLst>
        </pc:grpChg>
        <pc:grpChg chg="mod">
          <ac:chgData name="Olha Perminova (UA)" userId="3a6a8ff4-9418-475a-a23d-87d0c5689c66" providerId="ADAL" clId="{9A235F19-1981-498E-BA97-5613F340D513}" dt="2024-06-10T14:59:35.415" v="1395"/>
          <ac:grpSpMkLst>
            <pc:docMk/>
            <pc:sldMk cId="329214126" sldId="2147481959"/>
            <ac:grpSpMk id="53" creationId="{24AD5AF1-0601-3591-444D-06C11DAFA813}"/>
          </ac:grpSpMkLst>
        </pc:grpChg>
        <pc:grpChg chg="del mod">
          <ac:chgData name="Olha Perminova (UA)" userId="3a6a8ff4-9418-475a-a23d-87d0c5689c66" providerId="ADAL" clId="{9A235F19-1981-498E-BA97-5613F340D513}" dt="2024-06-10T14:58:46.603" v="1386" actId="478"/>
          <ac:grpSpMkLst>
            <pc:docMk/>
            <pc:sldMk cId="329214126" sldId="2147481959"/>
            <ac:grpSpMk id="74" creationId="{DC8D4467-09A5-99C5-1A03-64C59D279CAE}"/>
          </ac:grpSpMkLst>
        </pc:grpChg>
        <pc:grpChg chg="del mod">
          <ac:chgData name="Olha Perminova (UA)" userId="3a6a8ff4-9418-475a-a23d-87d0c5689c66" providerId="ADAL" clId="{9A235F19-1981-498E-BA97-5613F340D513}" dt="2024-06-10T14:58:27.916" v="1380" actId="478"/>
          <ac:grpSpMkLst>
            <pc:docMk/>
            <pc:sldMk cId="329214126" sldId="2147481959"/>
            <ac:grpSpMk id="79" creationId="{1F87BE46-ED96-5EBD-6F76-787AB1C42B50}"/>
          </ac:grpSpMkLst>
        </pc:grpChg>
        <pc:graphicFrameChg chg="add mod ord modVis replST">
          <ac:chgData name="Olha Perminova (UA)" userId="3a6a8ff4-9418-475a-a23d-87d0c5689c66" providerId="ADAL" clId="{9A235F19-1981-498E-BA97-5613F340D513}" dt="2024-06-10T14:58:03.854" v="1375"/>
          <ac:graphicFrameMkLst>
            <pc:docMk/>
            <pc:sldMk cId="329214126" sldId="2147481959"/>
            <ac:graphicFrameMk id="39" creationId="{895C67C0-8232-71F7-D5D4-B855F09A32F0}"/>
          </ac:graphicFrameMkLst>
        </pc:graphicFrameChg>
        <pc:cxnChg chg="mod">
          <ac:chgData name="Olha Perminova (UA)" userId="3a6a8ff4-9418-475a-a23d-87d0c5689c66" providerId="ADAL" clId="{9A235F19-1981-498E-BA97-5613F340D513}" dt="2024-06-10T14:59:28.864" v="1393" actId="12788"/>
          <ac:cxnSpMkLst>
            <pc:docMk/>
            <pc:sldMk cId="329214126" sldId="2147481959"/>
            <ac:cxnSpMk id="44" creationId="{94D6467B-3AEE-87CA-9CA3-D85B89F519C1}"/>
          </ac:cxnSpMkLst>
        </pc:cxnChg>
        <pc:cxnChg chg="mod">
          <ac:chgData name="Olha Perminova (UA)" userId="3a6a8ff4-9418-475a-a23d-87d0c5689c66" providerId="ADAL" clId="{9A235F19-1981-498E-BA97-5613F340D513}" dt="2024-06-10T14:58:49.181" v="1387"/>
          <ac:cxnSpMkLst>
            <pc:docMk/>
            <pc:sldMk cId="329214126" sldId="2147481959"/>
            <ac:cxnSpMk id="49" creationId="{3742EAF6-D80C-CAEB-C080-DE4F4142D306}"/>
          </ac:cxnSpMkLst>
        </pc:cxnChg>
        <pc:cxnChg chg="mod">
          <ac:chgData name="Olha Perminova (UA)" userId="3a6a8ff4-9418-475a-a23d-87d0c5689c66" providerId="ADAL" clId="{9A235F19-1981-498E-BA97-5613F340D513}" dt="2024-06-10T14:59:35.415" v="1395"/>
          <ac:cxnSpMkLst>
            <pc:docMk/>
            <pc:sldMk cId="329214126" sldId="2147481959"/>
            <ac:cxnSpMk id="56" creationId="{FC541874-E061-42A4-B950-AAC2700C2B87}"/>
          </ac:cxnSpMkLst>
        </pc:cxnChg>
        <pc:cxnChg chg="mod">
          <ac:chgData name="Olha Perminova (UA)" userId="3a6a8ff4-9418-475a-a23d-87d0c5689c66" providerId="ADAL" clId="{9A235F19-1981-498E-BA97-5613F340D513}" dt="2024-06-10T14:58:21.046" v="1378" actId="12788"/>
          <ac:cxnSpMkLst>
            <pc:docMk/>
            <pc:sldMk cId="329214126" sldId="2147481959"/>
            <ac:cxnSpMk id="77" creationId="{C44F6072-86B6-BB07-73AF-E4F831BD7E72}"/>
          </ac:cxnSpMkLst>
        </pc:cxnChg>
      </pc:sldChg>
      <pc:sldChg chg="modSp del mod">
        <pc:chgData name="Olha Perminova (UA)" userId="3a6a8ff4-9418-475a-a23d-87d0c5689c66" providerId="ADAL" clId="{9A235F19-1981-498E-BA97-5613F340D513}" dt="2024-06-10T14:55:04.272" v="1232" actId="2696"/>
        <pc:sldMkLst>
          <pc:docMk/>
          <pc:sldMk cId="2987133819" sldId="2147481961"/>
        </pc:sldMkLst>
        <pc:spChg chg="mod">
          <ac:chgData name="Olha Perminova (UA)" userId="3a6a8ff4-9418-475a-a23d-87d0c5689c66" providerId="ADAL" clId="{9A235F19-1981-498E-BA97-5613F340D513}" dt="2024-06-10T13:21:43.286" v="44" actId="1076"/>
          <ac:spMkLst>
            <pc:docMk/>
            <pc:sldMk cId="2987133819" sldId="2147481961"/>
            <ac:spMk id="53" creationId="{6E6AD103-92DC-77F5-2DD7-C9640CA704CA}"/>
          </ac:spMkLst>
        </pc:spChg>
        <pc:spChg chg="mod">
          <ac:chgData name="Olha Perminova (UA)" userId="3a6a8ff4-9418-475a-a23d-87d0c5689c66" providerId="ADAL" clId="{9A235F19-1981-498E-BA97-5613F340D513}" dt="2024-06-10T13:21:43.586" v="45" actId="1076"/>
          <ac:spMkLst>
            <pc:docMk/>
            <pc:sldMk cId="2987133819" sldId="2147481961"/>
            <ac:spMk id="59" creationId="{CE37DEFD-F7E1-1D17-896D-4B833690D0B7}"/>
          </ac:spMkLst>
        </pc:spChg>
        <pc:spChg chg="mod">
          <ac:chgData name="Olha Perminova (UA)" userId="3a6a8ff4-9418-475a-a23d-87d0c5689c66" providerId="ADAL" clId="{9A235F19-1981-498E-BA97-5613F340D513}" dt="2024-06-10T13:21:42.402" v="41" actId="1076"/>
          <ac:spMkLst>
            <pc:docMk/>
            <pc:sldMk cId="2987133819" sldId="2147481961"/>
            <ac:spMk id="60" creationId="{F3A9469B-C6D4-CEE4-8E04-A57D05ED614E}"/>
          </ac:spMkLst>
        </pc:spChg>
        <pc:spChg chg="mod">
          <ac:chgData name="Olha Perminova (UA)" userId="3a6a8ff4-9418-475a-a23d-87d0c5689c66" providerId="ADAL" clId="{9A235F19-1981-498E-BA97-5613F340D513}" dt="2024-06-10T13:21:44.060" v="46" actId="1076"/>
          <ac:spMkLst>
            <pc:docMk/>
            <pc:sldMk cId="2987133819" sldId="2147481961"/>
            <ac:spMk id="61" creationId="{9BADE996-6B0E-D4E1-5041-CC505899D892}"/>
          </ac:spMkLst>
        </pc:spChg>
        <pc:spChg chg="mod">
          <ac:chgData name="Olha Perminova (UA)" userId="3a6a8ff4-9418-475a-a23d-87d0c5689c66" providerId="ADAL" clId="{9A235F19-1981-498E-BA97-5613F340D513}" dt="2024-06-10T13:21:42.213" v="40" actId="1076"/>
          <ac:spMkLst>
            <pc:docMk/>
            <pc:sldMk cId="2987133819" sldId="2147481961"/>
            <ac:spMk id="70" creationId="{3F316D1B-3703-9EE0-5513-9FC627F0D3C4}"/>
          </ac:spMkLst>
        </pc:spChg>
        <pc:grpChg chg="mod">
          <ac:chgData name="Olha Perminova (UA)" userId="3a6a8ff4-9418-475a-a23d-87d0c5689c66" providerId="ADAL" clId="{9A235F19-1981-498E-BA97-5613F340D513}" dt="2024-06-10T13:21:42.561" v="42" actId="1076"/>
          <ac:grpSpMkLst>
            <pc:docMk/>
            <pc:sldMk cId="2987133819" sldId="2147481961"/>
            <ac:grpSpMk id="64" creationId="{61A85F62-FF91-BD23-93B9-59A5FDE686AE}"/>
          </ac:grpSpMkLst>
        </pc:grpChg>
      </pc:sldChg>
      <pc:sldChg chg="del mod modShow">
        <pc:chgData name="Olha Perminova (UA)" userId="3a6a8ff4-9418-475a-a23d-87d0c5689c66" providerId="ADAL" clId="{9A235F19-1981-498E-BA97-5613F340D513}" dt="2024-06-10T14:52:33.382" v="1194" actId="2696"/>
        <pc:sldMkLst>
          <pc:docMk/>
          <pc:sldMk cId="2374614574" sldId="2147481964"/>
        </pc:sldMkLst>
      </pc:sldChg>
      <pc:sldChg chg="del">
        <pc:chgData name="Olha Perminova (UA)" userId="3a6a8ff4-9418-475a-a23d-87d0c5689c66" providerId="ADAL" clId="{9A235F19-1981-498E-BA97-5613F340D513}" dt="2024-06-10T14:10:02.832" v="540" actId="2696"/>
        <pc:sldMkLst>
          <pc:docMk/>
          <pc:sldMk cId="2752004613" sldId="2147481965"/>
        </pc:sldMkLst>
      </pc:sldChg>
      <pc:sldChg chg="addSp delSp modSp add mod">
        <pc:chgData name="Olha Perminova (UA)" userId="3a6a8ff4-9418-475a-a23d-87d0c5689c66" providerId="ADAL" clId="{9A235F19-1981-498E-BA97-5613F340D513}" dt="2024-06-10T14:55:25.900" v="1245"/>
        <pc:sldMkLst>
          <pc:docMk/>
          <pc:sldMk cId="3061079320" sldId="2147481966"/>
        </pc:sldMkLst>
        <pc:spChg chg="mod">
          <ac:chgData name="Olha Perminova (UA)" userId="3a6a8ff4-9418-475a-a23d-87d0c5689c66" providerId="ADAL" clId="{9A235F19-1981-498E-BA97-5613F340D513}" dt="2024-06-10T13:52:55.328" v="152" actId="948"/>
          <ac:spMkLst>
            <pc:docMk/>
            <pc:sldMk cId="3061079320" sldId="2147481966"/>
            <ac:spMk id="2" creationId="{A25D6607-36FE-CCD1-92AE-34D0595FAF6F}"/>
          </ac:spMkLst>
        </pc:spChg>
        <pc:spChg chg="mod">
          <ac:chgData name="Olha Perminova (UA)" userId="3a6a8ff4-9418-475a-a23d-87d0c5689c66" providerId="ADAL" clId="{9A235F19-1981-498E-BA97-5613F340D513}" dt="2024-06-10T13:52:54.798" v="151" actId="552"/>
          <ac:spMkLst>
            <pc:docMk/>
            <pc:sldMk cId="3061079320" sldId="2147481966"/>
            <ac:spMk id="15" creationId="{646673C4-B9B9-74BB-E212-CD6427C9067F}"/>
          </ac:spMkLst>
        </pc:spChg>
        <pc:spChg chg="add del mod modVis">
          <ac:chgData name="Olha Perminova (UA)" userId="3a6a8ff4-9418-475a-a23d-87d0c5689c66" providerId="ADAL" clId="{9A235F19-1981-498E-BA97-5613F340D513}" dt="2024-06-10T13:52:55.479" v="175"/>
          <ac:spMkLst>
            <pc:docMk/>
            <pc:sldMk cId="3061079320" sldId="2147481966"/>
            <ac:spMk id="20" creationId="{931563C5-9369-780D-64B2-B7583AB942B8}"/>
          </ac:spMkLst>
        </pc:spChg>
        <pc:spChg chg="add mod">
          <ac:chgData name="Olha Perminova (UA)" userId="3a6a8ff4-9418-475a-a23d-87d0c5689c66" providerId="ADAL" clId="{9A235F19-1981-498E-BA97-5613F340D513}" dt="2024-06-10T14:55:25.900" v="1245"/>
          <ac:spMkLst>
            <pc:docMk/>
            <pc:sldMk cId="3061079320" sldId="2147481966"/>
            <ac:spMk id="22" creationId="{55FD3447-15FB-514A-421F-725EDAEB25EB}"/>
          </ac:spMkLst>
        </pc:spChg>
        <pc:spChg chg="mod">
          <ac:chgData name="Olha Perminova (UA)" userId="3a6a8ff4-9418-475a-a23d-87d0c5689c66" providerId="ADAL" clId="{9A235F19-1981-498E-BA97-5613F340D513}" dt="2024-06-10T13:22:08.674" v="61" actId="1076"/>
          <ac:spMkLst>
            <pc:docMk/>
            <pc:sldMk cId="3061079320" sldId="2147481966"/>
            <ac:spMk id="53" creationId="{6E6AD103-92DC-77F5-2DD7-C9640CA704CA}"/>
          </ac:spMkLst>
        </pc:spChg>
        <pc:spChg chg="mod">
          <ac:chgData name="Olha Perminova (UA)" userId="3a6a8ff4-9418-475a-a23d-87d0c5689c66" providerId="ADAL" clId="{9A235F19-1981-498E-BA97-5613F340D513}" dt="2024-06-10T13:22:10.831" v="62" actId="1076"/>
          <ac:spMkLst>
            <pc:docMk/>
            <pc:sldMk cId="3061079320" sldId="2147481966"/>
            <ac:spMk id="59" creationId="{CE37DEFD-F7E1-1D17-896D-4B833690D0B7}"/>
          </ac:spMkLst>
        </pc:spChg>
        <pc:spChg chg="mod">
          <ac:chgData name="Olha Perminova (UA)" userId="3a6a8ff4-9418-475a-a23d-87d0c5689c66" providerId="ADAL" clId="{9A235F19-1981-498E-BA97-5613F340D513}" dt="2024-06-10T13:22:14.382" v="63" actId="1076"/>
          <ac:spMkLst>
            <pc:docMk/>
            <pc:sldMk cId="3061079320" sldId="2147481966"/>
            <ac:spMk id="60" creationId="{F3A9469B-C6D4-CEE4-8E04-A57D05ED614E}"/>
          </ac:spMkLst>
        </pc:spChg>
        <pc:spChg chg="mod">
          <ac:chgData name="Olha Perminova (UA)" userId="3a6a8ff4-9418-475a-a23d-87d0c5689c66" providerId="ADAL" clId="{9A235F19-1981-498E-BA97-5613F340D513}" dt="2024-06-10T14:00:01.715" v="233" actId="1035"/>
          <ac:spMkLst>
            <pc:docMk/>
            <pc:sldMk cId="3061079320" sldId="2147481966"/>
            <ac:spMk id="61" creationId="{9BADE996-6B0E-D4E1-5041-CC505899D892}"/>
          </ac:spMkLst>
        </pc:spChg>
        <pc:spChg chg="mod">
          <ac:chgData name="Olha Perminova (UA)" userId="3a6a8ff4-9418-475a-a23d-87d0c5689c66" providerId="ADAL" clId="{9A235F19-1981-498E-BA97-5613F340D513}" dt="2024-06-10T13:22:25.343" v="66" actId="1076"/>
          <ac:spMkLst>
            <pc:docMk/>
            <pc:sldMk cId="3061079320" sldId="2147481966"/>
            <ac:spMk id="70" creationId="{3F316D1B-3703-9EE0-5513-9FC627F0D3C4}"/>
          </ac:spMkLst>
        </pc:spChg>
        <pc:grpChg chg="mod">
          <ac:chgData name="Olha Perminova (UA)" userId="3a6a8ff4-9418-475a-a23d-87d0c5689c66" providerId="ADAL" clId="{9A235F19-1981-498E-BA97-5613F340D513}" dt="2024-06-10T13:22:22.315" v="65" actId="1076"/>
          <ac:grpSpMkLst>
            <pc:docMk/>
            <pc:sldMk cId="3061079320" sldId="2147481966"/>
            <ac:grpSpMk id="64" creationId="{61A85F62-FF91-BD23-93B9-59A5FDE686AE}"/>
          </ac:grpSpMkLst>
        </pc:grpChg>
        <pc:graphicFrameChg chg="add mod ord modVis replST">
          <ac:chgData name="Olha Perminova (UA)" userId="3a6a8ff4-9418-475a-a23d-87d0c5689c66" providerId="ADAL" clId="{9A235F19-1981-498E-BA97-5613F340D513}" dt="2024-06-10T13:52:55.533" v="190"/>
          <ac:graphicFrameMkLst>
            <pc:docMk/>
            <pc:sldMk cId="3061079320" sldId="2147481966"/>
            <ac:graphicFrameMk id="21" creationId="{C965B053-827E-47AA-AA76-4F52A75CD6C7}"/>
          </ac:graphicFrameMkLst>
        </pc:graphicFrameChg>
      </pc:sldChg>
      <pc:sldChg chg="addSp delSp modSp add del mod ord">
        <pc:chgData name="Olha Perminova (UA)" userId="3a6a8ff4-9418-475a-a23d-87d0c5689c66" providerId="ADAL" clId="{9A235F19-1981-498E-BA97-5613F340D513}" dt="2024-06-10T14:49:36.761" v="1155" actId="2696"/>
        <pc:sldMkLst>
          <pc:docMk/>
          <pc:sldMk cId="932615064" sldId="2147481967"/>
        </pc:sldMkLst>
        <pc:spChg chg="mod">
          <ac:chgData name="Olha Perminova (UA)" userId="3a6a8ff4-9418-475a-a23d-87d0c5689c66" providerId="ADAL" clId="{9A235F19-1981-498E-BA97-5613F340D513}" dt="2024-06-10T13:32:11.400" v="119" actId="948"/>
          <ac:spMkLst>
            <pc:docMk/>
            <pc:sldMk cId="932615064" sldId="2147481967"/>
            <ac:spMk id="2" creationId="{1299C1A8-38BE-9556-5CBE-67D0E693F9D9}"/>
          </ac:spMkLst>
        </pc:spChg>
        <pc:spChg chg="add mod">
          <ac:chgData name="Olha Perminova (UA)" userId="3a6a8ff4-9418-475a-a23d-87d0c5689c66" providerId="ADAL" clId="{9A235F19-1981-498E-BA97-5613F340D513}" dt="2024-06-10T13:29:54.154" v="104" actId="1037"/>
          <ac:spMkLst>
            <pc:docMk/>
            <pc:sldMk cId="932615064" sldId="2147481967"/>
            <ac:spMk id="4" creationId="{0DD3275C-3415-859C-1E5A-45513935F085}"/>
          </ac:spMkLst>
        </pc:spChg>
        <pc:spChg chg="del">
          <ac:chgData name="Olha Perminova (UA)" userId="3a6a8ff4-9418-475a-a23d-87d0c5689c66" providerId="ADAL" clId="{9A235F19-1981-498E-BA97-5613F340D513}" dt="2024-06-10T13:31:38.724" v="111" actId="478"/>
          <ac:spMkLst>
            <pc:docMk/>
            <pc:sldMk cId="932615064" sldId="2147481967"/>
            <ac:spMk id="5" creationId="{EB70CDAA-B400-12D0-4931-7878309E90AD}"/>
          </ac:spMkLst>
        </pc:spChg>
        <pc:spChg chg="del">
          <ac:chgData name="Olha Perminova (UA)" userId="3a6a8ff4-9418-475a-a23d-87d0c5689c66" providerId="ADAL" clId="{9A235F19-1981-498E-BA97-5613F340D513}" dt="2024-06-10T13:31:38.724" v="111" actId="478"/>
          <ac:spMkLst>
            <pc:docMk/>
            <pc:sldMk cId="932615064" sldId="2147481967"/>
            <ac:spMk id="6" creationId="{976F9164-18B5-7B30-6C9E-4C5AC2AFB251}"/>
          </ac:spMkLst>
        </pc:spChg>
        <pc:spChg chg="del">
          <ac:chgData name="Olha Perminova (UA)" userId="3a6a8ff4-9418-475a-a23d-87d0c5689c66" providerId="ADAL" clId="{9A235F19-1981-498E-BA97-5613F340D513}" dt="2024-06-10T13:31:38.724" v="111" actId="478"/>
          <ac:spMkLst>
            <pc:docMk/>
            <pc:sldMk cId="932615064" sldId="2147481967"/>
            <ac:spMk id="7" creationId="{95F2504B-3C54-3ABF-D5FC-BF2DA17554A4}"/>
          </ac:spMkLst>
        </pc:spChg>
        <pc:spChg chg="del">
          <ac:chgData name="Olha Perminova (UA)" userId="3a6a8ff4-9418-475a-a23d-87d0c5689c66" providerId="ADAL" clId="{9A235F19-1981-498E-BA97-5613F340D513}" dt="2024-06-10T13:31:38.724" v="111" actId="478"/>
          <ac:spMkLst>
            <pc:docMk/>
            <pc:sldMk cId="932615064" sldId="2147481967"/>
            <ac:spMk id="8" creationId="{7783C402-0517-A40D-5AD3-C7B8CD89F746}"/>
          </ac:spMkLst>
        </pc:spChg>
        <pc:spChg chg="del mod">
          <ac:chgData name="Olha Perminova (UA)" userId="3a6a8ff4-9418-475a-a23d-87d0c5689c66" providerId="ADAL" clId="{9A235F19-1981-498E-BA97-5613F340D513}" dt="2024-06-10T13:31:38.724" v="111" actId="478"/>
          <ac:spMkLst>
            <pc:docMk/>
            <pc:sldMk cId="932615064" sldId="2147481967"/>
            <ac:spMk id="9" creationId="{E60771D5-36B1-5846-E0FD-EE10BA67E143}"/>
          </ac:spMkLst>
        </pc:spChg>
        <pc:spChg chg="del mod">
          <ac:chgData name="Olha Perminova (UA)" userId="3a6a8ff4-9418-475a-a23d-87d0c5689c66" providerId="ADAL" clId="{9A235F19-1981-498E-BA97-5613F340D513}" dt="2024-06-10T13:31:38.724" v="111" actId="478"/>
          <ac:spMkLst>
            <pc:docMk/>
            <pc:sldMk cId="932615064" sldId="2147481967"/>
            <ac:spMk id="10" creationId="{0E3AF958-70C4-357F-D986-53A75E5CF63B}"/>
          </ac:spMkLst>
        </pc:spChg>
        <pc:spChg chg="del">
          <ac:chgData name="Olha Perminova (UA)" userId="3a6a8ff4-9418-475a-a23d-87d0c5689c66" providerId="ADAL" clId="{9A235F19-1981-498E-BA97-5613F340D513}" dt="2024-06-10T13:31:38.724" v="111" actId="478"/>
          <ac:spMkLst>
            <pc:docMk/>
            <pc:sldMk cId="932615064" sldId="2147481967"/>
            <ac:spMk id="11" creationId="{70513DFC-D897-87EB-EF6A-D4829E31C2D1}"/>
          </ac:spMkLst>
        </pc:spChg>
        <pc:spChg chg="del mod">
          <ac:chgData name="Olha Perminova (UA)" userId="3a6a8ff4-9418-475a-a23d-87d0c5689c66" providerId="ADAL" clId="{9A235F19-1981-498E-BA97-5613F340D513}" dt="2024-06-10T13:31:38.724" v="111" actId="478"/>
          <ac:spMkLst>
            <pc:docMk/>
            <pc:sldMk cId="932615064" sldId="2147481967"/>
            <ac:spMk id="12" creationId="{9FE544F4-5FE9-EB4A-60A5-5DB0C11FA6FA}"/>
          </ac:spMkLst>
        </pc:spChg>
        <pc:spChg chg="del">
          <ac:chgData name="Olha Perminova (UA)" userId="3a6a8ff4-9418-475a-a23d-87d0c5689c66" providerId="ADAL" clId="{9A235F19-1981-498E-BA97-5613F340D513}" dt="2024-06-10T13:31:38.724" v="111" actId="478"/>
          <ac:spMkLst>
            <pc:docMk/>
            <pc:sldMk cId="932615064" sldId="2147481967"/>
            <ac:spMk id="13" creationId="{A6BE1D1D-3F01-1DF1-B44F-6D56DDF9CE64}"/>
          </ac:spMkLst>
        </pc:spChg>
        <pc:spChg chg="mod">
          <ac:chgData name="Olha Perminova (UA)" userId="3a6a8ff4-9418-475a-a23d-87d0c5689c66" providerId="ADAL" clId="{9A235F19-1981-498E-BA97-5613F340D513}" dt="2024-06-10T13:28:27.551" v="70"/>
          <ac:spMkLst>
            <pc:docMk/>
            <pc:sldMk cId="932615064" sldId="2147481967"/>
            <ac:spMk id="16" creationId="{6A65E6EA-26B8-1301-6E15-05F2414906C9}"/>
          </ac:spMkLst>
        </pc:spChg>
        <pc:spChg chg="mod">
          <ac:chgData name="Olha Perminova (UA)" userId="3a6a8ff4-9418-475a-a23d-87d0c5689c66" providerId="ADAL" clId="{9A235F19-1981-498E-BA97-5613F340D513}" dt="2024-06-10T13:28:27.551" v="70"/>
          <ac:spMkLst>
            <pc:docMk/>
            <pc:sldMk cId="932615064" sldId="2147481967"/>
            <ac:spMk id="20" creationId="{D39D21DD-1813-568A-988E-6828EA1B7A0E}"/>
          </ac:spMkLst>
        </pc:spChg>
        <pc:spChg chg="del mod">
          <ac:chgData name="Olha Perminova (UA)" userId="3a6a8ff4-9418-475a-a23d-87d0c5689c66" providerId="ADAL" clId="{9A235F19-1981-498E-BA97-5613F340D513}" dt="2024-06-10T13:31:42.324" v="113" actId="478"/>
          <ac:spMkLst>
            <pc:docMk/>
            <pc:sldMk cId="932615064" sldId="2147481967"/>
            <ac:spMk id="21" creationId="{1118417F-5F3E-C322-3338-E4C7A4CDB1CE}"/>
          </ac:spMkLst>
        </pc:spChg>
        <pc:spChg chg="add mod">
          <ac:chgData name="Olha Perminova (UA)" userId="3a6a8ff4-9418-475a-a23d-87d0c5689c66" providerId="ADAL" clId="{9A235F19-1981-498E-BA97-5613F340D513}" dt="2024-06-10T13:30:08.139" v="107" actId="1076"/>
          <ac:spMkLst>
            <pc:docMk/>
            <pc:sldMk cId="932615064" sldId="2147481967"/>
            <ac:spMk id="26" creationId="{71FC0C8D-6B0A-F187-9166-5AC87A0D8C6A}"/>
          </ac:spMkLst>
        </pc:spChg>
        <pc:spChg chg="add mod">
          <ac:chgData name="Olha Perminova (UA)" userId="3a6a8ff4-9418-475a-a23d-87d0c5689c66" providerId="ADAL" clId="{9A235F19-1981-498E-BA97-5613F340D513}" dt="2024-06-10T13:31:50.559" v="116" actId="552"/>
          <ac:spMkLst>
            <pc:docMk/>
            <pc:sldMk cId="932615064" sldId="2147481967"/>
            <ac:spMk id="27" creationId="{EA199BE5-7CF5-2A84-DDC5-340D9B64E222}"/>
          </ac:spMkLst>
        </pc:spChg>
        <pc:spChg chg="add mod">
          <ac:chgData name="Olha Perminova (UA)" userId="3a6a8ff4-9418-475a-a23d-87d0c5689c66" providerId="ADAL" clId="{9A235F19-1981-498E-BA97-5613F340D513}" dt="2024-06-10T13:31:53.418" v="117" actId="14100"/>
          <ac:spMkLst>
            <pc:docMk/>
            <pc:sldMk cId="932615064" sldId="2147481967"/>
            <ac:spMk id="28" creationId="{95B7D98C-125A-14C9-C260-8CB88867ABCD}"/>
          </ac:spMkLst>
        </pc:spChg>
        <pc:spChg chg="add mod">
          <ac:chgData name="Olha Perminova (UA)" userId="3a6a8ff4-9418-475a-a23d-87d0c5689c66" providerId="ADAL" clId="{9A235F19-1981-498E-BA97-5613F340D513}" dt="2024-06-10T13:31:39.308" v="112"/>
          <ac:spMkLst>
            <pc:docMk/>
            <pc:sldMk cId="932615064" sldId="2147481967"/>
            <ac:spMk id="29" creationId="{6AA3F061-9BB2-E5D0-E972-B3375C96DA85}"/>
          </ac:spMkLst>
        </pc:spChg>
        <pc:spChg chg="add mod">
          <ac:chgData name="Olha Perminova (UA)" userId="3a6a8ff4-9418-475a-a23d-87d0c5689c66" providerId="ADAL" clId="{9A235F19-1981-498E-BA97-5613F340D513}" dt="2024-06-10T13:31:39.308" v="112"/>
          <ac:spMkLst>
            <pc:docMk/>
            <pc:sldMk cId="932615064" sldId="2147481967"/>
            <ac:spMk id="30" creationId="{1634AB88-39BC-65D1-ED7D-706D5155546D}"/>
          </ac:spMkLst>
        </pc:spChg>
        <pc:spChg chg="add mod">
          <ac:chgData name="Olha Perminova (UA)" userId="3a6a8ff4-9418-475a-a23d-87d0c5689c66" providerId="ADAL" clId="{9A235F19-1981-498E-BA97-5613F340D513}" dt="2024-06-10T13:31:39.308" v="112"/>
          <ac:spMkLst>
            <pc:docMk/>
            <pc:sldMk cId="932615064" sldId="2147481967"/>
            <ac:spMk id="31" creationId="{5C18D48B-A503-224D-9A01-EBAA6B21F652}"/>
          </ac:spMkLst>
        </pc:spChg>
        <pc:spChg chg="add mod">
          <ac:chgData name="Olha Perminova (UA)" userId="3a6a8ff4-9418-475a-a23d-87d0c5689c66" providerId="ADAL" clId="{9A235F19-1981-498E-BA97-5613F340D513}" dt="2024-06-10T13:31:39.308" v="112"/>
          <ac:spMkLst>
            <pc:docMk/>
            <pc:sldMk cId="932615064" sldId="2147481967"/>
            <ac:spMk id="32" creationId="{78864CAA-0D46-CE29-E493-FF4B2BD222AF}"/>
          </ac:spMkLst>
        </pc:spChg>
        <pc:spChg chg="add mod">
          <ac:chgData name="Olha Perminova (UA)" userId="3a6a8ff4-9418-475a-a23d-87d0c5689c66" providerId="ADAL" clId="{9A235F19-1981-498E-BA97-5613F340D513}" dt="2024-06-10T13:31:39.308" v="112"/>
          <ac:spMkLst>
            <pc:docMk/>
            <pc:sldMk cId="932615064" sldId="2147481967"/>
            <ac:spMk id="33" creationId="{8B4B975B-16C0-F028-1203-5272F53F863A}"/>
          </ac:spMkLst>
        </pc:spChg>
        <pc:spChg chg="add mod">
          <ac:chgData name="Olha Perminova (UA)" userId="3a6a8ff4-9418-475a-a23d-87d0c5689c66" providerId="ADAL" clId="{9A235F19-1981-498E-BA97-5613F340D513}" dt="2024-06-10T13:31:50.559" v="116" actId="552"/>
          <ac:spMkLst>
            <pc:docMk/>
            <pc:sldMk cId="932615064" sldId="2147481967"/>
            <ac:spMk id="34" creationId="{C1DFD74B-4B29-F62C-B5A7-FDE298E3581B}"/>
          </ac:spMkLst>
        </pc:spChg>
        <pc:spChg chg="add del mod modVis">
          <ac:chgData name="Olha Perminova (UA)" userId="3a6a8ff4-9418-475a-a23d-87d0c5689c66" providerId="ADAL" clId="{9A235F19-1981-498E-BA97-5613F340D513}" dt="2024-06-10T13:32:11.447" v="142"/>
          <ac:spMkLst>
            <pc:docMk/>
            <pc:sldMk cId="932615064" sldId="2147481967"/>
            <ac:spMk id="35" creationId="{D26DEBBC-D856-D934-53BD-82AA71CDF7F7}"/>
          </ac:spMkLst>
        </pc:spChg>
        <pc:spChg chg="mod">
          <ac:chgData name="Olha Perminova (UA)" userId="3a6a8ff4-9418-475a-a23d-87d0c5689c66" providerId="ADAL" clId="{9A235F19-1981-498E-BA97-5613F340D513}" dt="2024-06-10T13:32:45.558" v="148" actId="12789"/>
          <ac:spMkLst>
            <pc:docMk/>
            <pc:sldMk cId="932615064" sldId="2147481967"/>
            <ac:spMk id="37" creationId="{52DDD974-0CAB-4E99-54F4-4AC7789B41E8}"/>
          </ac:spMkLst>
        </pc:spChg>
        <pc:spChg chg="mod">
          <ac:chgData name="Olha Perminova (UA)" userId="3a6a8ff4-9418-475a-a23d-87d0c5689c66" providerId="ADAL" clId="{9A235F19-1981-498E-BA97-5613F340D513}" dt="2024-06-10T13:32:45.558" v="148" actId="12789"/>
          <ac:spMkLst>
            <pc:docMk/>
            <pc:sldMk cId="932615064" sldId="2147481967"/>
            <ac:spMk id="38" creationId="{F9D46BA4-243C-066E-F112-E8206DBAF125}"/>
          </ac:spMkLst>
        </pc:spChg>
        <pc:spChg chg="mod">
          <ac:chgData name="Olha Perminova (UA)" userId="3a6a8ff4-9418-475a-a23d-87d0c5689c66" providerId="ADAL" clId="{9A235F19-1981-498E-BA97-5613F340D513}" dt="2024-06-10T13:29:47.324" v="80" actId="14100"/>
          <ac:spMkLst>
            <pc:docMk/>
            <pc:sldMk cId="932615064" sldId="2147481967"/>
            <ac:spMk id="99" creationId="{BC1ADCAE-2AA7-CAFD-AD2B-D57737AB195D}"/>
          </ac:spMkLst>
        </pc:spChg>
        <pc:spChg chg="mod">
          <ac:chgData name="Olha Perminova (UA)" userId="3a6a8ff4-9418-475a-a23d-87d0c5689c66" providerId="ADAL" clId="{9A235F19-1981-498E-BA97-5613F340D513}" dt="2024-06-10T13:29:47.324" v="80" actId="14100"/>
          <ac:spMkLst>
            <pc:docMk/>
            <pc:sldMk cId="932615064" sldId="2147481967"/>
            <ac:spMk id="103" creationId="{B8A2F7DC-E116-1BBE-5A6B-64C7E680F1BD}"/>
          </ac:spMkLst>
        </pc:spChg>
        <pc:spChg chg="mod">
          <ac:chgData name="Olha Perminova (UA)" userId="3a6a8ff4-9418-475a-a23d-87d0c5689c66" providerId="ADAL" clId="{9A235F19-1981-498E-BA97-5613F340D513}" dt="2024-06-10T13:29:54.154" v="104" actId="1037"/>
          <ac:spMkLst>
            <pc:docMk/>
            <pc:sldMk cId="932615064" sldId="2147481967"/>
            <ac:spMk id="107" creationId="{EEF73D00-2BC0-1F09-AB22-997BF5B5AEDC}"/>
          </ac:spMkLst>
        </pc:spChg>
        <pc:spChg chg="mod">
          <ac:chgData name="Olha Perminova (UA)" userId="3a6a8ff4-9418-475a-a23d-87d0c5689c66" providerId="ADAL" clId="{9A235F19-1981-498E-BA97-5613F340D513}" dt="2024-06-10T13:29:47.324" v="80" actId="14100"/>
          <ac:spMkLst>
            <pc:docMk/>
            <pc:sldMk cId="932615064" sldId="2147481967"/>
            <ac:spMk id="111" creationId="{2BE907A4-1571-B9F0-D513-57AB05B745BE}"/>
          </ac:spMkLst>
        </pc:spChg>
        <pc:spChg chg="mod">
          <ac:chgData name="Olha Perminova (UA)" userId="3a6a8ff4-9418-475a-a23d-87d0c5689c66" providerId="ADAL" clId="{9A235F19-1981-498E-BA97-5613F340D513}" dt="2024-06-10T13:29:47.324" v="80" actId="14100"/>
          <ac:spMkLst>
            <pc:docMk/>
            <pc:sldMk cId="932615064" sldId="2147481967"/>
            <ac:spMk id="115" creationId="{54FE79A9-8473-DE77-44E6-2C986EF74B03}"/>
          </ac:spMkLst>
        </pc:spChg>
        <pc:spChg chg="mod">
          <ac:chgData name="Olha Perminova (UA)" userId="3a6a8ff4-9418-475a-a23d-87d0c5689c66" providerId="ADAL" clId="{9A235F19-1981-498E-BA97-5613F340D513}" dt="2024-06-10T13:29:54.154" v="104" actId="1037"/>
          <ac:spMkLst>
            <pc:docMk/>
            <pc:sldMk cId="932615064" sldId="2147481967"/>
            <ac:spMk id="119" creationId="{25857B8E-3D4F-1175-6C7E-C82281D0DFB2}"/>
          </ac:spMkLst>
        </pc:spChg>
        <pc:spChg chg="mod">
          <ac:chgData name="Olha Perminova (UA)" userId="3a6a8ff4-9418-475a-a23d-87d0c5689c66" providerId="ADAL" clId="{9A235F19-1981-498E-BA97-5613F340D513}" dt="2024-06-10T13:29:54.154" v="104" actId="1037"/>
          <ac:spMkLst>
            <pc:docMk/>
            <pc:sldMk cId="932615064" sldId="2147481967"/>
            <ac:spMk id="123" creationId="{E540FF3B-2049-3D2C-DC6C-0CAFC95DAB95}"/>
          </ac:spMkLst>
        </pc:spChg>
        <pc:spChg chg="mod">
          <ac:chgData name="Olha Perminova (UA)" userId="3a6a8ff4-9418-475a-a23d-87d0c5689c66" providerId="ADAL" clId="{9A235F19-1981-498E-BA97-5613F340D513}" dt="2024-06-10T13:32:24.075" v="145" actId="1076"/>
          <ac:spMkLst>
            <pc:docMk/>
            <pc:sldMk cId="932615064" sldId="2147481967"/>
            <ac:spMk id="127" creationId="{FFE4CFE7-10FB-E0F9-AE54-A456443B207D}"/>
          </ac:spMkLst>
        </pc:spChg>
        <pc:spChg chg="mod">
          <ac:chgData name="Olha Perminova (UA)" userId="3a6a8ff4-9418-475a-a23d-87d0c5689c66" providerId="ADAL" clId="{9A235F19-1981-498E-BA97-5613F340D513}" dt="2024-06-10T13:32:24.075" v="145" actId="1076"/>
          <ac:spMkLst>
            <pc:docMk/>
            <pc:sldMk cId="932615064" sldId="2147481967"/>
            <ac:spMk id="131" creationId="{6764AC4B-FEF3-2CCD-15D3-7FDF812B793E}"/>
          </ac:spMkLst>
        </pc:spChg>
        <pc:grpChg chg="add mod">
          <ac:chgData name="Olha Perminova (UA)" userId="3a6a8ff4-9418-475a-a23d-87d0c5689c66" providerId="ADAL" clId="{9A235F19-1981-498E-BA97-5613F340D513}" dt="2024-06-10T13:29:54.154" v="104" actId="1037"/>
          <ac:grpSpMkLst>
            <pc:docMk/>
            <pc:sldMk cId="932615064" sldId="2147481967"/>
            <ac:grpSpMk id="14" creationId="{0F0EAB4D-1F88-EA1D-E866-D7DABCF10578}"/>
          </ac:grpSpMkLst>
        </pc:grpChg>
        <pc:grpChg chg="add mod">
          <ac:chgData name="Olha Perminova (UA)" userId="3a6a8ff4-9418-475a-a23d-87d0c5689c66" providerId="ADAL" clId="{9A235F19-1981-498E-BA97-5613F340D513}" dt="2024-06-10T13:32:51.615" v="150" actId="1076"/>
          <ac:grpSpMkLst>
            <pc:docMk/>
            <pc:sldMk cId="932615064" sldId="2147481967"/>
            <ac:grpSpMk id="36" creationId="{A1F95968-53D8-1D3B-3E49-894DD768A9FB}"/>
          </ac:grpSpMkLst>
        </pc:grpChg>
        <pc:grpChg chg="mod">
          <ac:chgData name="Olha Perminova (UA)" userId="3a6a8ff4-9418-475a-a23d-87d0c5689c66" providerId="ADAL" clId="{9A235F19-1981-498E-BA97-5613F340D513}" dt="2024-06-10T13:29:54.154" v="104" actId="1037"/>
          <ac:grpSpMkLst>
            <pc:docMk/>
            <pc:sldMk cId="932615064" sldId="2147481967"/>
            <ac:grpSpMk id="108" creationId="{4430977A-5A50-1280-3EB5-8B3D7FC73198}"/>
          </ac:grpSpMkLst>
        </pc:grpChg>
        <pc:grpChg chg="mod">
          <ac:chgData name="Olha Perminova (UA)" userId="3a6a8ff4-9418-475a-a23d-87d0c5689c66" providerId="ADAL" clId="{9A235F19-1981-498E-BA97-5613F340D513}" dt="2024-06-10T13:29:54.154" v="104" actId="1037"/>
          <ac:grpSpMkLst>
            <pc:docMk/>
            <pc:sldMk cId="932615064" sldId="2147481967"/>
            <ac:grpSpMk id="120" creationId="{81FC2C56-8C1D-B131-4936-E9C0A6D051B9}"/>
          </ac:grpSpMkLst>
        </pc:grpChg>
        <pc:grpChg chg="mod">
          <ac:chgData name="Olha Perminova (UA)" userId="3a6a8ff4-9418-475a-a23d-87d0c5689c66" providerId="ADAL" clId="{9A235F19-1981-498E-BA97-5613F340D513}" dt="2024-06-10T13:29:54.154" v="104" actId="1037"/>
          <ac:grpSpMkLst>
            <pc:docMk/>
            <pc:sldMk cId="932615064" sldId="2147481967"/>
            <ac:grpSpMk id="124" creationId="{4EC32981-ABC8-660E-430A-740152E47333}"/>
          </ac:grpSpMkLst>
        </pc:grpChg>
        <pc:grpChg chg="mod">
          <ac:chgData name="Olha Perminova (UA)" userId="3a6a8ff4-9418-475a-a23d-87d0c5689c66" providerId="ADAL" clId="{9A235F19-1981-498E-BA97-5613F340D513}" dt="2024-06-10T13:32:24.075" v="145" actId="1076"/>
          <ac:grpSpMkLst>
            <pc:docMk/>
            <pc:sldMk cId="932615064" sldId="2147481967"/>
            <ac:grpSpMk id="128" creationId="{D9A5D3FD-8794-50EB-12C4-B95355AE4257}"/>
          </ac:grpSpMkLst>
        </pc:grpChg>
        <pc:grpChg chg="mod">
          <ac:chgData name="Olha Perminova (UA)" userId="3a6a8ff4-9418-475a-a23d-87d0c5689c66" providerId="ADAL" clId="{9A235F19-1981-498E-BA97-5613F340D513}" dt="2024-06-10T13:32:24.075" v="145" actId="1076"/>
          <ac:grpSpMkLst>
            <pc:docMk/>
            <pc:sldMk cId="932615064" sldId="2147481967"/>
            <ac:grpSpMk id="132" creationId="{069EA022-CD97-3BDC-29C5-13BD2F12F37E}"/>
          </ac:grpSpMkLst>
        </pc:grpChg>
        <pc:graphicFrameChg chg="mod">
          <ac:chgData name="Olha Perminova (UA)" userId="3a6a8ff4-9418-475a-a23d-87d0c5689c66" providerId="ADAL" clId="{9A235F19-1981-498E-BA97-5613F340D513}" dt="2024-06-10T13:32:11.451" v="144"/>
          <ac:graphicFrameMkLst>
            <pc:docMk/>
            <pc:sldMk cId="932615064" sldId="2147481967"/>
            <ac:graphicFrameMk id="18" creationId="{B17D7669-20A3-7481-8F23-CD69449C9745}"/>
          </ac:graphicFrameMkLst>
        </pc:graphicFrameChg>
      </pc:sldChg>
      <pc:sldChg chg="addSp delSp modSp add mod">
        <pc:chgData name="Olha Perminova (UA)" userId="3a6a8ff4-9418-475a-a23d-87d0c5689c66" providerId="ADAL" clId="{9A235F19-1981-498E-BA97-5613F340D513}" dt="2024-06-10T14:55:38.930" v="1249"/>
        <pc:sldMkLst>
          <pc:docMk/>
          <pc:sldMk cId="2820792045" sldId="2147481968"/>
        </pc:sldMkLst>
        <pc:spChg chg="mod">
          <ac:chgData name="Olha Perminova (UA)" userId="3a6a8ff4-9418-475a-a23d-87d0c5689c66" providerId="ADAL" clId="{9A235F19-1981-498E-BA97-5613F340D513}" dt="2024-06-10T14:09:34.978" v="524" actId="948"/>
          <ac:spMkLst>
            <pc:docMk/>
            <pc:sldMk cId="2820792045" sldId="2147481968"/>
            <ac:spMk id="2" creationId="{1299C1A8-38BE-9556-5CBE-67D0E693F9D9}"/>
          </ac:spMkLst>
        </pc:spChg>
        <pc:spChg chg="mod">
          <ac:chgData name="Olha Perminova (UA)" userId="3a6a8ff4-9418-475a-a23d-87d0c5689c66" providerId="ADAL" clId="{9A235F19-1981-498E-BA97-5613F340D513}" dt="2024-06-10T14:52:10.378" v="1188" actId="207"/>
          <ac:spMkLst>
            <pc:docMk/>
            <pc:sldMk cId="2820792045" sldId="2147481968"/>
            <ac:spMk id="9" creationId="{E60771D5-36B1-5846-E0FD-EE10BA67E143}"/>
          </ac:spMkLst>
        </pc:spChg>
        <pc:spChg chg="mod">
          <ac:chgData name="Olha Perminova (UA)" userId="3a6a8ff4-9418-475a-a23d-87d0c5689c66" providerId="ADAL" clId="{9A235F19-1981-498E-BA97-5613F340D513}" dt="2024-06-10T14:05:58.959" v="469" actId="14100"/>
          <ac:spMkLst>
            <pc:docMk/>
            <pc:sldMk cId="2820792045" sldId="2147481968"/>
            <ac:spMk id="10" creationId="{0E3AF958-70C4-357F-D986-53A75E5CF63B}"/>
          </ac:spMkLst>
        </pc:spChg>
        <pc:spChg chg="mod">
          <ac:chgData name="Olha Perminova (UA)" userId="3a6a8ff4-9418-475a-a23d-87d0c5689c66" providerId="ADAL" clId="{9A235F19-1981-498E-BA97-5613F340D513}" dt="2024-06-10T14:52:10.822" v="1189" actId="207"/>
          <ac:spMkLst>
            <pc:docMk/>
            <pc:sldMk cId="2820792045" sldId="2147481968"/>
            <ac:spMk id="12" creationId="{9FE544F4-5FE9-EB4A-60A5-5DB0C11FA6FA}"/>
          </ac:spMkLst>
        </pc:spChg>
        <pc:spChg chg="mod">
          <ac:chgData name="Olha Perminova (UA)" userId="3a6a8ff4-9418-475a-a23d-87d0c5689c66" providerId="ADAL" clId="{9A235F19-1981-498E-BA97-5613F340D513}" dt="2024-06-10T13:54:30.596" v="194"/>
          <ac:spMkLst>
            <pc:docMk/>
            <pc:sldMk cId="2820792045" sldId="2147481968"/>
            <ac:spMk id="14" creationId="{4D6CE07E-2640-CC9C-AD72-D053CE72E211}"/>
          </ac:spMkLst>
        </pc:spChg>
        <pc:spChg chg="mod">
          <ac:chgData name="Olha Perminova (UA)" userId="3a6a8ff4-9418-475a-a23d-87d0c5689c66" providerId="ADAL" clId="{9A235F19-1981-498E-BA97-5613F340D513}" dt="2024-06-10T13:54:30.596" v="194"/>
          <ac:spMkLst>
            <pc:docMk/>
            <pc:sldMk cId="2820792045" sldId="2147481968"/>
            <ac:spMk id="16" creationId="{E8BC1BC8-FF81-7FEF-D331-445C3611676F}"/>
          </ac:spMkLst>
        </pc:spChg>
        <pc:spChg chg="add del mod">
          <ac:chgData name="Olha Perminova (UA)" userId="3a6a8ff4-9418-475a-a23d-87d0c5689c66" providerId="ADAL" clId="{9A235F19-1981-498E-BA97-5613F340D513}" dt="2024-06-10T14:01:46.824" v="352" actId="478"/>
          <ac:spMkLst>
            <pc:docMk/>
            <pc:sldMk cId="2820792045" sldId="2147481968"/>
            <ac:spMk id="20" creationId="{A595EE69-B03F-7419-99BE-1B995DDB57FF}"/>
          </ac:spMkLst>
        </pc:spChg>
        <pc:spChg chg="mod">
          <ac:chgData name="Olha Perminova (UA)" userId="3a6a8ff4-9418-475a-a23d-87d0c5689c66" providerId="ADAL" clId="{9A235F19-1981-498E-BA97-5613F340D513}" dt="2024-06-10T14:03:09.143" v="383" actId="552"/>
          <ac:spMkLst>
            <pc:docMk/>
            <pc:sldMk cId="2820792045" sldId="2147481968"/>
            <ac:spMk id="21" creationId="{1118417F-5F3E-C322-3338-E4C7A4CDB1CE}"/>
          </ac:spMkLst>
        </pc:spChg>
        <pc:spChg chg="mod">
          <ac:chgData name="Olha Perminova (UA)" userId="3a6a8ff4-9418-475a-a23d-87d0c5689c66" providerId="ADAL" clId="{9A235F19-1981-498E-BA97-5613F340D513}" dt="2024-06-10T13:56:08.497" v="204"/>
          <ac:spMkLst>
            <pc:docMk/>
            <pc:sldMk cId="2820792045" sldId="2147481968"/>
            <ac:spMk id="27" creationId="{4B6A5055-7285-17BC-8209-9C82DBEF336C}"/>
          </ac:spMkLst>
        </pc:spChg>
        <pc:spChg chg="mod">
          <ac:chgData name="Olha Perminova (UA)" userId="3a6a8ff4-9418-475a-a23d-87d0c5689c66" providerId="ADAL" clId="{9A235F19-1981-498E-BA97-5613F340D513}" dt="2024-06-10T13:56:08.497" v="204"/>
          <ac:spMkLst>
            <pc:docMk/>
            <pc:sldMk cId="2820792045" sldId="2147481968"/>
            <ac:spMk id="28" creationId="{38B1F400-CE44-E69B-7398-793A82472A92}"/>
          </ac:spMkLst>
        </pc:spChg>
        <pc:spChg chg="add del mod">
          <ac:chgData name="Olha Perminova (UA)" userId="3a6a8ff4-9418-475a-a23d-87d0c5689c66" providerId="ADAL" clId="{9A235F19-1981-498E-BA97-5613F340D513}" dt="2024-06-10T14:01:44.752" v="351" actId="478"/>
          <ac:spMkLst>
            <pc:docMk/>
            <pc:sldMk cId="2820792045" sldId="2147481968"/>
            <ac:spMk id="29" creationId="{13DBB56C-F46F-074A-AA6E-A8065343F7B6}"/>
          </ac:spMkLst>
        </pc:spChg>
        <pc:spChg chg="mod">
          <ac:chgData name="Olha Perminova (UA)" userId="3a6a8ff4-9418-475a-a23d-87d0c5689c66" providerId="ADAL" clId="{9A235F19-1981-498E-BA97-5613F340D513}" dt="2024-06-10T14:02:52.827" v="375" actId="14100"/>
          <ac:spMkLst>
            <pc:docMk/>
            <pc:sldMk cId="2820792045" sldId="2147481968"/>
            <ac:spMk id="31" creationId="{0F8AF3D8-4A36-5BAD-7018-36E6F6AC90A9}"/>
          </ac:spMkLst>
        </pc:spChg>
        <pc:spChg chg="mod">
          <ac:chgData name="Olha Perminova (UA)" userId="3a6a8ff4-9418-475a-a23d-87d0c5689c66" providerId="ADAL" clId="{9A235F19-1981-498E-BA97-5613F340D513}" dt="2024-06-10T14:00:15.778" v="235"/>
          <ac:spMkLst>
            <pc:docMk/>
            <pc:sldMk cId="2820792045" sldId="2147481968"/>
            <ac:spMk id="32" creationId="{1D81532B-2339-E2C1-F336-A5A69EE823D2}"/>
          </ac:spMkLst>
        </pc:spChg>
        <pc:spChg chg="mod">
          <ac:chgData name="Olha Perminova (UA)" userId="3a6a8ff4-9418-475a-a23d-87d0c5689c66" providerId="ADAL" clId="{9A235F19-1981-498E-BA97-5613F340D513}" dt="2024-06-10T14:00:21.657" v="237"/>
          <ac:spMkLst>
            <pc:docMk/>
            <pc:sldMk cId="2820792045" sldId="2147481968"/>
            <ac:spMk id="34" creationId="{967EBE41-C82F-7448-B8EB-174E8B8A6355}"/>
          </ac:spMkLst>
        </pc:spChg>
        <pc:spChg chg="mod">
          <ac:chgData name="Olha Perminova (UA)" userId="3a6a8ff4-9418-475a-a23d-87d0c5689c66" providerId="ADAL" clId="{9A235F19-1981-498E-BA97-5613F340D513}" dt="2024-06-10T14:00:21.657" v="237"/>
          <ac:spMkLst>
            <pc:docMk/>
            <pc:sldMk cId="2820792045" sldId="2147481968"/>
            <ac:spMk id="35" creationId="{37F656F1-25BE-FAD1-DBD5-328EF73B7E3F}"/>
          </ac:spMkLst>
        </pc:spChg>
        <pc:spChg chg="mod">
          <ac:chgData name="Olha Perminova (UA)" userId="3a6a8ff4-9418-475a-a23d-87d0c5689c66" providerId="ADAL" clId="{9A235F19-1981-498E-BA97-5613F340D513}" dt="2024-06-10T14:00:46.164" v="239"/>
          <ac:spMkLst>
            <pc:docMk/>
            <pc:sldMk cId="2820792045" sldId="2147481968"/>
            <ac:spMk id="37" creationId="{777C3779-2288-0621-9BB5-C1043B71E506}"/>
          </ac:spMkLst>
        </pc:spChg>
        <pc:spChg chg="mod">
          <ac:chgData name="Olha Perminova (UA)" userId="3a6a8ff4-9418-475a-a23d-87d0c5689c66" providerId="ADAL" clId="{9A235F19-1981-498E-BA97-5613F340D513}" dt="2024-06-10T14:00:46.164" v="239"/>
          <ac:spMkLst>
            <pc:docMk/>
            <pc:sldMk cId="2820792045" sldId="2147481968"/>
            <ac:spMk id="38" creationId="{171B728B-543C-23CB-F591-476FFDFBF021}"/>
          </ac:spMkLst>
        </pc:spChg>
        <pc:spChg chg="add del mod modVis">
          <ac:chgData name="Olha Perminova (UA)" userId="3a6a8ff4-9418-475a-a23d-87d0c5689c66" providerId="ADAL" clId="{9A235F19-1981-498E-BA97-5613F340D513}" dt="2024-06-10T14:01:12.628" v="303"/>
          <ac:spMkLst>
            <pc:docMk/>
            <pc:sldMk cId="2820792045" sldId="2147481968"/>
            <ac:spMk id="39" creationId="{2A621441-478A-9ACC-D0E6-8E99DC612CAC}"/>
          </ac:spMkLst>
        </pc:spChg>
        <pc:spChg chg="add del mod modVis">
          <ac:chgData name="Olha Perminova (UA)" userId="3a6a8ff4-9418-475a-a23d-87d0c5689c66" providerId="ADAL" clId="{9A235F19-1981-498E-BA97-5613F340D513}" dt="2024-06-10T14:01:16.185" v="341"/>
          <ac:spMkLst>
            <pc:docMk/>
            <pc:sldMk cId="2820792045" sldId="2147481968"/>
            <ac:spMk id="40" creationId="{7D2ED85F-E252-0C2B-17DE-0E78ACFAB675}"/>
          </ac:spMkLst>
        </pc:spChg>
        <pc:spChg chg="add del mod">
          <ac:chgData name="Olha Perminova (UA)" userId="3a6a8ff4-9418-475a-a23d-87d0c5689c66" providerId="ADAL" clId="{9A235F19-1981-498E-BA97-5613F340D513}" dt="2024-06-10T14:09:40.205" v="535" actId="478"/>
          <ac:spMkLst>
            <pc:docMk/>
            <pc:sldMk cId="2820792045" sldId="2147481968"/>
            <ac:spMk id="41" creationId="{59638157-F9FD-CBB6-F34E-3632D270CD62}"/>
          </ac:spMkLst>
        </pc:spChg>
        <pc:spChg chg="add del mod">
          <ac:chgData name="Olha Perminova (UA)" userId="3a6a8ff4-9418-475a-a23d-87d0c5689c66" providerId="ADAL" clId="{9A235F19-1981-498E-BA97-5613F340D513}" dt="2024-06-10T14:06:46.912" v="499" actId="478"/>
          <ac:spMkLst>
            <pc:docMk/>
            <pc:sldMk cId="2820792045" sldId="2147481968"/>
            <ac:spMk id="42" creationId="{27B3DC38-7E68-36A5-A477-9AF8D46DA508}"/>
          </ac:spMkLst>
        </pc:spChg>
        <pc:spChg chg="add del mod">
          <ac:chgData name="Olha Perminova (UA)" userId="3a6a8ff4-9418-475a-a23d-87d0c5689c66" providerId="ADAL" clId="{9A235F19-1981-498E-BA97-5613F340D513}" dt="2024-06-10T14:09:56.857" v="539" actId="478"/>
          <ac:spMkLst>
            <pc:docMk/>
            <pc:sldMk cId="2820792045" sldId="2147481968"/>
            <ac:spMk id="43" creationId="{AA9B6509-4EE2-DC2C-FBA0-4F192E0CFB24}"/>
          </ac:spMkLst>
        </pc:spChg>
        <pc:spChg chg="add del mod">
          <ac:chgData name="Olha Perminova (UA)" userId="3a6a8ff4-9418-475a-a23d-87d0c5689c66" providerId="ADAL" clId="{9A235F19-1981-498E-BA97-5613F340D513}" dt="2024-06-10T14:09:56.857" v="539" actId="478"/>
          <ac:spMkLst>
            <pc:docMk/>
            <pc:sldMk cId="2820792045" sldId="2147481968"/>
            <ac:spMk id="44" creationId="{A6CD32D8-CAA7-E067-7870-85C0A9AB7F8C}"/>
          </ac:spMkLst>
        </pc:spChg>
        <pc:spChg chg="add del mod">
          <ac:chgData name="Olha Perminova (UA)" userId="3a6a8ff4-9418-475a-a23d-87d0c5689c66" providerId="ADAL" clId="{9A235F19-1981-498E-BA97-5613F340D513}" dt="2024-06-10T14:09:56.857" v="539" actId="478"/>
          <ac:spMkLst>
            <pc:docMk/>
            <pc:sldMk cId="2820792045" sldId="2147481968"/>
            <ac:spMk id="45" creationId="{0806157B-9697-D819-37EA-D24A8F835FEE}"/>
          </ac:spMkLst>
        </pc:spChg>
        <pc:spChg chg="mod">
          <ac:chgData name="Olha Perminova (UA)" userId="3a6a8ff4-9418-475a-a23d-87d0c5689c66" providerId="ADAL" clId="{9A235F19-1981-498E-BA97-5613F340D513}" dt="2024-06-10T14:02:56.435" v="377"/>
          <ac:spMkLst>
            <pc:docMk/>
            <pc:sldMk cId="2820792045" sldId="2147481968"/>
            <ac:spMk id="47" creationId="{656AB3C2-026C-E715-D925-A13B751C8473}"/>
          </ac:spMkLst>
        </pc:spChg>
        <pc:spChg chg="mod">
          <ac:chgData name="Olha Perminova (UA)" userId="3a6a8ff4-9418-475a-a23d-87d0c5689c66" providerId="ADAL" clId="{9A235F19-1981-498E-BA97-5613F340D513}" dt="2024-06-10T14:02:56.435" v="377"/>
          <ac:spMkLst>
            <pc:docMk/>
            <pc:sldMk cId="2820792045" sldId="2147481968"/>
            <ac:spMk id="48" creationId="{3112A528-1987-48A6-C4E9-818FC36C4A12}"/>
          </ac:spMkLst>
        </pc:spChg>
        <pc:spChg chg="mod">
          <ac:chgData name="Olha Perminova (UA)" userId="3a6a8ff4-9418-475a-a23d-87d0c5689c66" providerId="ADAL" clId="{9A235F19-1981-498E-BA97-5613F340D513}" dt="2024-06-10T14:03:00.012" v="379"/>
          <ac:spMkLst>
            <pc:docMk/>
            <pc:sldMk cId="2820792045" sldId="2147481968"/>
            <ac:spMk id="50" creationId="{FCFE4574-F139-F2EC-40BE-DBEDA717016C}"/>
          </ac:spMkLst>
        </pc:spChg>
        <pc:spChg chg="mod">
          <ac:chgData name="Olha Perminova (UA)" userId="3a6a8ff4-9418-475a-a23d-87d0c5689c66" providerId="ADAL" clId="{9A235F19-1981-498E-BA97-5613F340D513}" dt="2024-06-10T14:03:00.012" v="379"/>
          <ac:spMkLst>
            <pc:docMk/>
            <pc:sldMk cId="2820792045" sldId="2147481968"/>
            <ac:spMk id="51" creationId="{02A2C5A2-8161-6D93-7619-EC9A5EB42936}"/>
          </ac:spMkLst>
        </pc:spChg>
        <pc:spChg chg="mod">
          <ac:chgData name="Olha Perminova (UA)" userId="3a6a8ff4-9418-475a-a23d-87d0c5689c66" providerId="ADAL" clId="{9A235F19-1981-498E-BA97-5613F340D513}" dt="2024-06-10T14:03:01.036" v="380"/>
          <ac:spMkLst>
            <pc:docMk/>
            <pc:sldMk cId="2820792045" sldId="2147481968"/>
            <ac:spMk id="53" creationId="{5EF12559-BE2E-576B-038D-E2C7A1B20582}"/>
          </ac:spMkLst>
        </pc:spChg>
        <pc:spChg chg="mod">
          <ac:chgData name="Olha Perminova (UA)" userId="3a6a8ff4-9418-475a-a23d-87d0c5689c66" providerId="ADAL" clId="{9A235F19-1981-498E-BA97-5613F340D513}" dt="2024-06-10T14:03:01.036" v="380"/>
          <ac:spMkLst>
            <pc:docMk/>
            <pc:sldMk cId="2820792045" sldId="2147481968"/>
            <ac:spMk id="54" creationId="{39685821-24D3-DF28-56AC-8B1021756E17}"/>
          </ac:spMkLst>
        </pc:spChg>
        <pc:spChg chg="mod">
          <ac:chgData name="Olha Perminova (UA)" userId="3a6a8ff4-9418-475a-a23d-87d0c5689c66" providerId="ADAL" clId="{9A235F19-1981-498E-BA97-5613F340D513}" dt="2024-06-10T14:03:29.376" v="407"/>
          <ac:spMkLst>
            <pc:docMk/>
            <pc:sldMk cId="2820792045" sldId="2147481968"/>
            <ac:spMk id="56" creationId="{75D8EEEB-9CAC-F846-5568-353FD910116D}"/>
          </ac:spMkLst>
        </pc:spChg>
        <pc:spChg chg="mod">
          <ac:chgData name="Olha Perminova (UA)" userId="3a6a8ff4-9418-475a-a23d-87d0c5689c66" providerId="ADAL" clId="{9A235F19-1981-498E-BA97-5613F340D513}" dt="2024-06-10T14:03:29.376" v="407"/>
          <ac:spMkLst>
            <pc:docMk/>
            <pc:sldMk cId="2820792045" sldId="2147481968"/>
            <ac:spMk id="57" creationId="{F070B33B-437A-5C69-C12E-2E41A0E8517E}"/>
          </ac:spMkLst>
        </pc:spChg>
        <pc:spChg chg="mod">
          <ac:chgData name="Olha Perminova (UA)" userId="3a6a8ff4-9418-475a-a23d-87d0c5689c66" providerId="ADAL" clId="{9A235F19-1981-498E-BA97-5613F340D513}" dt="2024-06-10T14:04:54.616" v="411"/>
          <ac:spMkLst>
            <pc:docMk/>
            <pc:sldMk cId="2820792045" sldId="2147481968"/>
            <ac:spMk id="59" creationId="{FB9C0CA8-2B44-10CC-A190-3B3F03909D23}"/>
          </ac:spMkLst>
        </pc:spChg>
        <pc:spChg chg="mod">
          <ac:chgData name="Olha Perminova (UA)" userId="3a6a8ff4-9418-475a-a23d-87d0c5689c66" providerId="ADAL" clId="{9A235F19-1981-498E-BA97-5613F340D513}" dt="2024-06-10T14:04:54.616" v="411"/>
          <ac:spMkLst>
            <pc:docMk/>
            <pc:sldMk cId="2820792045" sldId="2147481968"/>
            <ac:spMk id="60" creationId="{93E394B4-8D38-D3D6-5C8F-E88C8B86D8A0}"/>
          </ac:spMkLst>
        </pc:spChg>
        <pc:spChg chg="mod">
          <ac:chgData name="Olha Perminova (UA)" userId="3a6a8ff4-9418-475a-a23d-87d0c5689c66" providerId="ADAL" clId="{9A235F19-1981-498E-BA97-5613F340D513}" dt="2024-06-10T14:05:08.375" v="416"/>
          <ac:spMkLst>
            <pc:docMk/>
            <pc:sldMk cId="2820792045" sldId="2147481968"/>
            <ac:spMk id="62" creationId="{AA519B1A-85B5-4834-6C1D-FA66349F4881}"/>
          </ac:spMkLst>
        </pc:spChg>
        <pc:spChg chg="mod">
          <ac:chgData name="Olha Perminova (UA)" userId="3a6a8ff4-9418-475a-a23d-87d0c5689c66" providerId="ADAL" clId="{9A235F19-1981-498E-BA97-5613F340D513}" dt="2024-06-10T14:05:08.375" v="416"/>
          <ac:spMkLst>
            <pc:docMk/>
            <pc:sldMk cId="2820792045" sldId="2147481968"/>
            <ac:spMk id="63" creationId="{4E32280F-63D6-5AEF-2F72-82958B197494}"/>
          </ac:spMkLst>
        </pc:spChg>
        <pc:spChg chg="mod topLvl">
          <ac:chgData name="Olha Perminova (UA)" userId="3a6a8ff4-9418-475a-a23d-87d0c5689c66" providerId="ADAL" clId="{9A235F19-1981-498E-BA97-5613F340D513}" dt="2024-06-10T14:52:19.083" v="1190" actId="207"/>
          <ac:spMkLst>
            <pc:docMk/>
            <pc:sldMk cId="2820792045" sldId="2147481968"/>
            <ac:spMk id="65" creationId="{B3400AB7-3203-205A-AB82-E6EAECD6E433}"/>
          </ac:spMkLst>
        </pc:spChg>
        <pc:spChg chg="mod topLvl">
          <ac:chgData name="Olha Perminova (UA)" userId="3a6a8ff4-9418-475a-a23d-87d0c5689c66" providerId="ADAL" clId="{9A235F19-1981-498E-BA97-5613F340D513}" dt="2024-06-10T14:52:21.952" v="1191" actId="207"/>
          <ac:spMkLst>
            <pc:docMk/>
            <pc:sldMk cId="2820792045" sldId="2147481968"/>
            <ac:spMk id="66" creationId="{867B4285-8A1E-1221-902B-200EA0DA3A62}"/>
          </ac:spMkLst>
        </pc:spChg>
        <pc:spChg chg="mod topLvl">
          <ac:chgData name="Olha Perminova (UA)" userId="3a6a8ff4-9418-475a-a23d-87d0c5689c66" providerId="ADAL" clId="{9A235F19-1981-498E-BA97-5613F340D513}" dt="2024-06-10T14:52:26.055" v="1192" actId="207"/>
          <ac:spMkLst>
            <pc:docMk/>
            <pc:sldMk cId="2820792045" sldId="2147481968"/>
            <ac:spMk id="68" creationId="{85D05539-A867-AD16-AE73-D6026034C9D4}"/>
          </ac:spMkLst>
        </pc:spChg>
        <pc:spChg chg="mod topLvl">
          <ac:chgData name="Olha Perminova (UA)" userId="3a6a8ff4-9418-475a-a23d-87d0c5689c66" providerId="ADAL" clId="{9A235F19-1981-498E-BA97-5613F340D513}" dt="2024-06-10T14:52:29.060" v="1193" actId="207"/>
          <ac:spMkLst>
            <pc:docMk/>
            <pc:sldMk cId="2820792045" sldId="2147481968"/>
            <ac:spMk id="69" creationId="{75ED93E3-D860-37A6-0C79-3788C254EE0A}"/>
          </ac:spMkLst>
        </pc:spChg>
        <pc:spChg chg="add mod">
          <ac:chgData name="Olha Perminova (UA)" userId="3a6a8ff4-9418-475a-a23d-87d0c5689c66" providerId="ADAL" clId="{9A235F19-1981-498E-BA97-5613F340D513}" dt="2024-06-10T14:55:38.930" v="1249"/>
          <ac:spMkLst>
            <pc:docMk/>
            <pc:sldMk cId="2820792045" sldId="2147481968"/>
            <ac:spMk id="72" creationId="{1713E620-B769-FB60-102D-E8F42D8A225B}"/>
          </ac:spMkLst>
        </pc:spChg>
        <pc:spChg chg="mod">
          <ac:chgData name="Olha Perminova (UA)" userId="3a6a8ff4-9418-475a-a23d-87d0c5689c66" providerId="ADAL" clId="{9A235F19-1981-498E-BA97-5613F340D513}" dt="2024-06-10T14:05:03.151" v="414" actId="554"/>
          <ac:spMkLst>
            <pc:docMk/>
            <pc:sldMk cId="2820792045" sldId="2147481968"/>
            <ac:spMk id="103" creationId="{B8A2F7DC-E116-1BBE-5A6B-64C7E680F1BD}"/>
          </ac:spMkLst>
        </pc:spChg>
        <pc:spChg chg="mod">
          <ac:chgData name="Olha Perminova (UA)" userId="3a6a8ff4-9418-475a-a23d-87d0c5689c66" providerId="ADAL" clId="{9A235F19-1981-498E-BA97-5613F340D513}" dt="2024-06-10T14:05:48.905" v="467" actId="555"/>
          <ac:spMkLst>
            <pc:docMk/>
            <pc:sldMk cId="2820792045" sldId="2147481968"/>
            <ac:spMk id="107" creationId="{EEF73D00-2BC0-1F09-AB22-997BF5B5AEDC}"/>
          </ac:spMkLst>
        </pc:spChg>
        <pc:spChg chg="mod">
          <ac:chgData name="Olha Perminova (UA)" userId="3a6a8ff4-9418-475a-a23d-87d0c5689c66" providerId="ADAL" clId="{9A235F19-1981-498E-BA97-5613F340D513}" dt="2024-06-10T14:06:56.926" v="500" actId="555"/>
          <ac:spMkLst>
            <pc:docMk/>
            <pc:sldMk cId="2820792045" sldId="2147481968"/>
            <ac:spMk id="111" creationId="{2BE907A4-1571-B9F0-D513-57AB05B745BE}"/>
          </ac:spMkLst>
        </pc:spChg>
        <pc:spChg chg="mod">
          <ac:chgData name="Olha Perminova (UA)" userId="3a6a8ff4-9418-475a-a23d-87d0c5689c66" providerId="ADAL" clId="{9A235F19-1981-498E-BA97-5613F340D513}" dt="2024-06-10T14:05:00.261" v="413" actId="465"/>
          <ac:spMkLst>
            <pc:docMk/>
            <pc:sldMk cId="2820792045" sldId="2147481968"/>
            <ac:spMk id="115" creationId="{54FE79A9-8473-DE77-44E6-2C986EF74B03}"/>
          </ac:spMkLst>
        </pc:spChg>
        <pc:spChg chg="mod">
          <ac:chgData name="Olha Perminova (UA)" userId="3a6a8ff4-9418-475a-a23d-87d0c5689c66" providerId="ADAL" clId="{9A235F19-1981-498E-BA97-5613F340D513}" dt="2024-06-10T14:05:45.713" v="466" actId="465"/>
          <ac:spMkLst>
            <pc:docMk/>
            <pc:sldMk cId="2820792045" sldId="2147481968"/>
            <ac:spMk id="119" creationId="{25857B8E-3D4F-1175-6C7E-C82281D0DFB2}"/>
          </ac:spMkLst>
        </pc:spChg>
        <pc:spChg chg="mod">
          <ac:chgData name="Olha Perminova (UA)" userId="3a6a8ff4-9418-475a-a23d-87d0c5689c66" providerId="ADAL" clId="{9A235F19-1981-498E-BA97-5613F340D513}" dt="2024-06-10T14:06:37.195" v="497" actId="20577"/>
          <ac:spMkLst>
            <pc:docMk/>
            <pc:sldMk cId="2820792045" sldId="2147481968"/>
            <ac:spMk id="123" creationId="{E540FF3B-2049-3D2C-DC6C-0CAFC95DAB95}"/>
          </ac:spMkLst>
        </pc:spChg>
        <pc:spChg chg="mod">
          <ac:chgData name="Olha Perminova (UA)" userId="3a6a8ff4-9418-475a-a23d-87d0c5689c66" providerId="ADAL" clId="{9A235F19-1981-498E-BA97-5613F340D513}" dt="2024-06-10T14:09:36.262" v="534" actId="555"/>
          <ac:spMkLst>
            <pc:docMk/>
            <pc:sldMk cId="2820792045" sldId="2147481968"/>
            <ac:spMk id="127" creationId="{FFE4CFE7-10FB-E0F9-AE54-A456443B207D}"/>
          </ac:spMkLst>
        </pc:spChg>
        <pc:spChg chg="mod">
          <ac:chgData name="Olha Perminova (UA)" userId="3a6a8ff4-9418-475a-a23d-87d0c5689c66" providerId="ADAL" clId="{9A235F19-1981-498E-BA97-5613F340D513}" dt="2024-06-10T14:09:32.303" v="523" actId="555"/>
          <ac:spMkLst>
            <pc:docMk/>
            <pc:sldMk cId="2820792045" sldId="2147481968"/>
            <ac:spMk id="131" creationId="{6764AC4B-FEF3-2CCD-15D3-7FDF812B793E}"/>
          </ac:spMkLst>
        </pc:spChg>
        <pc:spChg chg="del">
          <ac:chgData name="Olha Perminova (UA)" userId="3a6a8ff4-9418-475a-a23d-87d0c5689c66" providerId="ADAL" clId="{9A235F19-1981-498E-BA97-5613F340D513}" dt="2024-06-10T14:09:53.730" v="538" actId="478"/>
          <ac:spMkLst>
            <pc:docMk/>
            <pc:sldMk cId="2820792045" sldId="2147481968"/>
            <ac:spMk id="136" creationId="{B60BB224-6E63-2849-CFEF-1DB13A5F04B8}"/>
          </ac:spMkLst>
        </pc:spChg>
        <pc:spChg chg="mod">
          <ac:chgData name="Olha Perminova (UA)" userId="3a6a8ff4-9418-475a-a23d-87d0c5689c66" providerId="ADAL" clId="{9A235F19-1981-498E-BA97-5613F340D513}" dt="2024-06-10T14:03:14.946" v="400"/>
          <ac:spMkLst>
            <pc:docMk/>
            <pc:sldMk cId="2820792045" sldId="2147481968"/>
            <ac:spMk id="149" creationId="{4F8D49D5-4873-CB69-4B18-8429A53BCC9A}"/>
          </ac:spMkLst>
        </pc:spChg>
        <pc:grpChg chg="add del mod">
          <ac:chgData name="Olha Perminova (UA)" userId="3a6a8ff4-9418-475a-a23d-87d0c5689c66" providerId="ADAL" clId="{9A235F19-1981-498E-BA97-5613F340D513}" dt="2024-06-10T14:02:54.631" v="376" actId="478"/>
          <ac:grpSpMkLst>
            <pc:docMk/>
            <pc:sldMk cId="2820792045" sldId="2147481968"/>
            <ac:grpSpMk id="4" creationId="{3D35EE8A-C593-239F-C6C8-52025087F544}"/>
          </ac:grpSpMkLst>
        </pc:grpChg>
        <pc:grpChg chg="add del mod">
          <ac:chgData name="Olha Perminova (UA)" userId="3a6a8ff4-9418-475a-a23d-87d0c5689c66" providerId="ADAL" clId="{9A235F19-1981-498E-BA97-5613F340D513}" dt="2024-06-10T14:03:26.126" v="406" actId="478"/>
          <ac:grpSpMkLst>
            <pc:docMk/>
            <pc:sldMk cId="2820792045" sldId="2147481968"/>
            <ac:grpSpMk id="26" creationId="{08B8E964-0FA4-1A48-CD21-CCFA4EA1BD54}"/>
          </ac:grpSpMkLst>
        </pc:grpChg>
        <pc:grpChg chg="add mod">
          <ac:chgData name="Olha Perminova (UA)" userId="3a6a8ff4-9418-475a-a23d-87d0c5689c66" providerId="ADAL" clId="{9A235F19-1981-498E-BA97-5613F340D513}" dt="2024-06-10T14:03:18.747" v="405" actId="554"/>
          <ac:grpSpMkLst>
            <pc:docMk/>
            <pc:sldMk cId="2820792045" sldId="2147481968"/>
            <ac:grpSpMk id="30" creationId="{C5C4599D-50B9-1AA7-BE9F-BC3736FC71F2}"/>
          </ac:grpSpMkLst>
        </pc:grpChg>
        <pc:grpChg chg="add del mod">
          <ac:chgData name="Olha Perminova (UA)" userId="3a6a8ff4-9418-475a-a23d-87d0c5689c66" providerId="ADAL" clId="{9A235F19-1981-498E-BA97-5613F340D513}" dt="2024-06-10T14:02:54.631" v="376" actId="478"/>
          <ac:grpSpMkLst>
            <pc:docMk/>
            <pc:sldMk cId="2820792045" sldId="2147481968"/>
            <ac:grpSpMk id="33" creationId="{BF2550E1-5073-5FBC-ACE3-C262FC3B4B9F}"/>
          </ac:grpSpMkLst>
        </pc:grpChg>
        <pc:grpChg chg="add del mod">
          <ac:chgData name="Olha Perminova (UA)" userId="3a6a8ff4-9418-475a-a23d-87d0c5689c66" providerId="ADAL" clId="{9A235F19-1981-498E-BA97-5613F340D513}" dt="2024-06-10T14:02:54.631" v="376" actId="478"/>
          <ac:grpSpMkLst>
            <pc:docMk/>
            <pc:sldMk cId="2820792045" sldId="2147481968"/>
            <ac:grpSpMk id="36" creationId="{09962C0A-B06B-CAFF-872C-6B873AB2D6B0}"/>
          </ac:grpSpMkLst>
        </pc:grpChg>
        <pc:grpChg chg="add mod">
          <ac:chgData name="Olha Perminova (UA)" userId="3a6a8ff4-9418-475a-a23d-87d0c5689c66" providerId="ADAL" clId="{9A235F19-1981-498E-BA97-5613F340D513}" dt="2024-06-10T14:03:09.143" v="383" actId="552"/>
          <ac:grpSpMkLst>
            <pc:docMk/>
            <pc:sldMk cId="2820792045" sldId="2147481968"/>
            <ac:grpSpMk id="46" creationId="{1324A672-D1F1-FD5A-72D1-48C43942DF8F}"/>
          </ac:grpSpMkLst>
        </pc:grpChg>
        <pc:grpChg chg="add mod">
          <ac:chgData name="Olha Perminova (UA)" userId="3a6a8ff4-9418-475a-a23d-87d0c5689c66" providerId="ADAL" clId="{9A235F19-1981-498E-BA97-5613F340D513}" dt="2024-06-10T14:03:09.143" v="383" actId="552"/>
          <ac:grpSpMkLst>
            <pc:docMk/>
            <pc:sldMk cId="2820792045" sldId="2147481968"/>
            <ac:grpSpMk id="49" creationId="{0D8D010A-64F6-3698-58B5-25707D7DF964}"/>
          </ac:grpSpMkLst>
        </pc:grpChg>
        <pc:grpChg chg="add mod">
          <ac:chgData name="Olha Perminova (UA)" userId="3a6a8ff4-9418-475a-a23d-87d0c5689c66" providerId="ADAL" clId="{9A235F19-1981-498E-BA97-5613F340D513}" dt="2024-06-10T14:03:09.143" v="383" actId="552"/>
          <ac:grpSpMkLst>
            <pc:docMk/>
            <pc:sldMk cId="2820792045" sldId="2147481968"/>
            <ac:grpSpMk id="52" creationId="{671860C4-AE27-9D15-0B63-1F0D44C755A1}"/>
          </ac:grpSpMkLst>
        </pc:grpChg>
        <pc:grpChg chg="add mod">
          <ac:chgData name="Olha Perminova (UA)" userId="3a6a8ff4-9418-475a-a23d-87d0c5689c66" providerId="ADAL" clId="{9A235F19-1981-498E-BA97-5613F340D513}" dt="2024-06-10T14:05:48.905" v="467" actId="555"/>
          <ac:grpSpMkLst>
            <pc:docMk/>
            <pc:sldMk cId="2820792045" sldId="2147481968"/>
            <ac:grpSpMk id="55" creationId="{980BD1CA-D4A1-DC53-347E-8B3166BB9160}"/>
          </ac:grpSpMkLst>
        </pc:grpChg>
        <pc:grpChg chg="add mod">
          <ac:chgData name="Olha Perminova (UA)" userId="3a6a8ff4-9418-475a-a23d-87d0c5689c66" providerId="ADAL" clId="{9A235F19-1981-498E-BA97-5613F340D513}" dt="2024-06-10T14:05:06.081" v="415" actId="552"/>
          <ac:grpSpMkLst>
            <pc:docMk/>
            <pc:sldMk cId="2820792045" sldId="2147481968"/>
            <ac:grpSpMk id="58" creationId="{26DED851-1CA6-CEBE-9BC7-3282413222E8}"/>
          </ac:grpSpMkLst>
        </pc:grpChg>
        <pc:grpChg chg="add mod">
          <ac:chgData name="Olha Perminova (UA)" userId="3a6a8ff4-9418-475a-a23d-87d0c5689c66" providerId="ADAL" clId="{9A235F19-1981-498E-BA97-5613F340D513}" dt="2024-06-10T14:05:27.416" v="449" actId="555"/>
          <ac:grpSpMkLst>
            <pc:docMk/>
            <pc:sldMk cId="2820792045" sldId="2147481968"/>
            <ac:grpSpMk id="61" creationId="{1CE48FF5-39DC-629B-7D3A-387472804D3D}"/>
          </ac:grpSpMkLst>
        </pc:grpChg>
        <pc:grpChg chg="add del mod">
          <ac:chgData name="Olha Perminova (UA)" userId="3a6a8ff4-9418-475a-a23d-87d0c5689c66" providerId="ADAL" clId="{9A235F19-1981-498E-BA97-5613F340D513}" dt="2024-06-10T14:07:11.765" v="503" actId="165"/>
          <ac:grpSpMkLst>
            <pc:docMk/>
            <pc:sldMk cId="2820792045" sldId="2147481968"/>
            <ac:grpSpMk id="64" creationId="{CB62159B-1B54-56E6-1194-B21ACDA9448C}"/>
          </ac:grpSpMkLst>
        </pc:grpChg>
        <pc:grpChg chg="add del mod">
          <ac:chgData name="Olha Perminova (UA)" userId="3a6a8ff4-9418-475a-a23d-87d0c5689c66" providerId="ADAL" clId="{9A235F19-1981-498E-BA97-5613F340D513}" dt="2024-06-10T14:07:11.765" v="503" actId="165"/>
          <ac:grpSpMkLst>
            <pc:docMk/>
            <pc:sldMk cId="2820792045" sldId="2147481968"/>
            <ac:grpSpMk id="67" creationId="{D87B313D-29C7-B0F4-377E-CC4B4B8F20C3}"/>
          </ac:grpSpMkLst>
        </pc:grpChg>
        <pc:grpChg chg="add mod">
          <ac:chgData name="Olha Perminova (UA)" userId="3a6a8ff4-9418-475a-a23d-87d0c5689c66" providerId="ADAL" clId="{9A235F19-1981-498E-BA97-5613F340D513}" dt="2024-06-10T14:09:43.521" v="536" actId="164"/>
          <ac:grpSpMkLst>
            <pc:docMk/>
            <pc:sldMk cId="2820792045" sldId="2147481968"/>
            <ac:grpSpMk id="70" creationId="{89633096-6853-31FC-9D54-D6FD2D79A567}"/>
          </ac:grpSpMkLst>
        </pc:grpChg>
        <pc:grpChg chg="add mod">
          <ac:chgData name="Olha Perminova (UA)" userId="3a6a8ff4-9418-475a-a23d-87d0c5689c66" providerId="ADAL" clId="{9A235F19-1981-498E-BA97-5613F340D513}" dt="2024-06-10T14:09:49.551" v="537" actId="164"/>
          <ac:grpSpMkLst>
            <pc:docMk/>
            <pc:sldMk cId="2820792045" sldId="2147481968"/>
            <ac:grpSpMk id="71" creationId="{C05E4F0F-FB57-3CFE-9E92-93D6F012925D}"/>
          </ac:grpSpMkLst>
        </pc:grpChg>
        <pc:grpChg chg="del">
          <ac:chgData name="Olha Perminova (UA)" userId="3a6a8ff4-9418-475a-a23d-87d0c5689c66" providerId="ADAL" clId="{9A235F19-1981-498E-BA97-5613F340D513}" dt="2024-06-10T14:06:07.500" v="473" actId="478"/>
          <ac:grpSpMkLst>
            <pc:docMk/>
            <pc:sldMk cId="2820792045" sldId="2147481968"/>
            <ac:grpSpMk id="128" creationId="{D9A5D3FD-8794-50EB-12C4-B95355AE4257}"/>
          </ac:grpSpMkLst>
        </pc:grpChg>
        <pc:grpChg chg="del">
          <ac:chgData name="Olha Perminova (UA)" userId="3a6a8ff4-9418-475a-a23d-87d0c5689c66" providerId="ADAL" clId="{9A235F19-1981-498E-BA97-5613F340D513}" dt="2024-06-10T14:06:07.500" v="473" actId="478"/>
          <ac:grpSpMkLst>
            <pc:docMk/>
            <pc:sldMk cId="2820792045" sldId="2147481968"/>
            <ac:grpSpMk id="132" creationId="{069EA022-CD97-3BDC-29C5-13BD2F12F37E}"/>
          </ac:grpSpMkLst>
        </pc:grpChg>
        <pc:grpChg chg="del mod">
          <ac:chgData name="Olha Perminova (UA)" userId="3a6a8ff4-9418-475a-a23d-87d0c5689c66" providerId="ADAL" clId="{9A235F19-1981-498E-BA97-5613F340D513}" dt="2024-06-10T14:02:43.829" v="372" actId="478"/>
          <ac:grpSpMkLst>
            <pc:docMk/>
            <pc:sldMk cId="2820792045" sldId="2147481968"/>
            <ac:grpSpMk id="150" creationId="{3A459FDE-AE93-2BA8-F0C3-2E6B44F0C467}"/>
          </ac:grpSpMkLst>
        </pc:grpChg>
        <pc:grpChg chg="del">
          <ac:chgData name="Olha Perminova (UA)" userId="3a6a8ff4-9418-475a-a23d-87d0c5689c66" providerId="ADAL" clId="{9A235F19-1981-498E-BA97-5613F340D513}" dt="2024-06-10T14:00:14.018" v="234" actId="478"/>
          <ac:grpSpMkLst>
            <pc:docMk/>
            <pc:sldMk cId="2820792045" sldId="2147481968"/>
            <ac:grpSpMk id="153" creationId="{BA388B3F-A0A0-4D7C-29BF-FE9F7BDB818F}"/>
          </ac:grpSpMkLst>
        </pc:grpChg>
        <pc:grpChg chg="del">
          <ac:chgData name="Olha Perminova (UA)" userId="3a6a8ff4-9418-475a-a23d-87d0c5689c66" providerId="ADAL" clId="{9A235F19-1981-498E-BA97-5613F340D513}" dt="2024-06-10T14:00:14.018" v="234" actId="478"/>
          <ac:grpSpMkLst>
            <pc:docMk/>
            <pc:sldMk cId="2820792045" sldId="2147481968"/>
            <ac:grpSpMk id="156" creationId="{E6136448-5C65-CBF5-5816-6CAAAB1D970C}"/>
          </ac:grpSpMkLst>
        </pc:grpChg>
        <pc:grpChg chg="del">
          <ac:chgData name="Olha Perminova (UA)" userId="3a6a8ff4-9418-475a-a23d-87d0c5689c66" providerId="ADAL" clId="{9A235F19-1981-498E-BA97-5613F340D513}" dt="2024-06-10T14:00:14.018" v="234" actId="478"/>
          <ac:grpSpMkLst>
            <pc:docMk/>
            <pc:sldMk cId="2820792045" sldId="2147481968"/>
            <ac:grpSpMk id="159" creationId="{92631223-F23E-F821-95EE-54263AE4AA27}"/>
          </ac:grpSpMkLst>
        </pc:grpChg>
        <pc:graphicFrameChg chg="mod">
          <ac:chgData name="Olha Perminova (UA)" userId="3a6a8ff4-9418-475a-a23d-87d0c5689c66" providerId="ADAL" clId="{9A235F19-1981-498E-BA97-5613F340D513}" dt="2024-06-10T14:09:35.009" v="532"/>
          <ac:graphicFrameMkLst>
            <pc:docMk/>
            <pc:sldMk cId="2820792045" sldId="2147481968"/>
            <ac:graphicFrameMk id="18" creationId="{B17D7669-20A3-7481-8F23-CD69449C9745}"/>
          </ac:graphicFrameMkLst>
        </pc:graphicFrameChg>
      </pc:sldChg>
      <pc:sldChg chg="addSp delSp modSp add mod ord">
        <pc:chgData name="Olha Perminova (UA)" userId="3a6a8ff4-9418-475a-a23d-87d0c5689c66" providerId="ADAL" clId="{9A235F19-1981-498E-BA97-5613F340D513}" dt="2024-06-10T14:55:36.355" v="1248" actId="6549"/>
        <pc:sldMkLst>
          <pc:docMk/>
          <pc:sldMk cId="3998587978" sldId="2147481969"/>
        </pc:sldMkLst>
        <pc:spChg chg="mod">
          <ac:chgData name="Olha Perminova (UA)" userId="3a6a8ff4-9418-475a-a23d-87d0c5689c66" providerId="ADAL" clId="{9A235F19-1981-498E-BA97-5613F340D513}" dt="2024-06-10T14:48:58.465" v="1129" actId="948"/>
          <ac:spMkLst>
            <pc:docMk/>
            <pc:sldMk cId="3998587978" sldId="2147481969"/>
            <ac:spMk id="2" creationId="{1299C1A8-38BE-9556-5CBE-67D0E693F9D9}"/>
          </ac:spMkLst>
        </pc:spChg>
        <pc:spChg chg="add del mod">
          <ac:chgData name="Olha Perminova (UA)" userId="3a6a8ff4-9418-475a-a23d-87d0c5689c66" providerId="ADAL" clId="{9A235F19-1981-498E-BA97-5613F340D513}" dt="2024-06-10T14:14:45.715" v="575" actId="478"/>
          <ac:spMkLst>
            <pc:docMk/>
            <pc:sldMk cId="3998587978" sldId="2147481969"/>
            <ac:spMk id="4" creationId="{7D50FEDD-F149-5DBD-CBF6-A2D8736D190A}"/>
          </ac:spMkLst>
        </pc:spChg>
        <pc:spChg chg="del">
          <ac:chgData name="Olha Perminova (UA)" userId="3a6a8ff4-9418-475a-a23d-87d0c5689c66" providerId="ADAL" clId="{9A235F19-1981-498E-BA97-5613F340D513}" dt="2024-06-10T14:13:04.122" v="549" actId="478"/>
          <ac:spMkLst>
            <pc:docMk/>
            <pc:sldMk cId="3998587978" sldId="2147481969"/>
            <ac:spMk id="5" creationId="{EB70CDAA-B400-12D0-4931-7878309E90AD}"/>
          </ac:spMkLst>
        </pc:spChg>
        <pc:spChg chg="del">
          <ac:chgData name="Olha Perminova (UA)" userId="3a6a8ff4-9418-475a-a23d-87d0c5689c66" providerId="ADAL" clId="{9A235F19-1981-498E-BA97-5613F340D513}" dt="2024-06-10T14:13:04.122" v="549" actId="478"/>
          <ac:spMkLst>
            <pc:docMk/>
            <pc:sldMk cId="3998587978" sldId="2147481969"/>
            <ac:spMk id="6" creationId="{976F9164-18B5-7B30-6C9E-4C5AC2AFB251}"/>
          </ac:spMkLst>
        </pc:spChg>
        <pc:spChg chg="del">
          <ac:chgData name="Olha Perminova (UA)" userId="3a6a8ff4-9418-475a-a23d-87d0c5689c66" providerId="ADAL" clId="{9A235F19-1981-498E-BA97-5613F340D513}" dt="2024-06-10T14:13:04.122" v="549" actId="478"/>
          <ac:spMkLst>
            <pc:docMk/>
            <pc:sldMk cId="3998587978" sldId="2147481969"/>
            <ac:spMk id="7" creationId="{95F2504B-3C54-3ABF-D5FC-BF2DA17554A4}"/>
          </ac:spMkLst>
        </pc:spChg>
        <pc:spChg chg="del">
          <ac:chgData name="Olha Perminova (UA)" userId="3a6a8ff4-9418-475a-a23d-87d0c5689c66" providerId="ADAL" clId="{9A235F19-1981-498E-BA97-5613F340D513}" dt="2024-06-10T14:13:04.122" v="549" actId="478"/>
          <ac:spMkLst>
            <pc:docMk/>
            <pc:sldMk cId="3998587978" sldId="2147481969"/>
            <ac:spMk id="8" creationId="{7783C402-0517-A40D-5AD3-C7B8CD89F746}"/>
          </ac:spMkLst>
        </pc:spChg>
        <pc:spChg chg="del">
          <ac:chgData name="Olha Perminova (UA)" userId="3a6a8ff4-9418-475a-a23d-87d0c5689c66" providerId="ADAL" clId="{9A235F19-1981-498E-BA97-5613F340D513}" dt="2024-06-10T14:13:04.122" v="549" actId="478"/>
          <ac:spMkLst>
            <pc:docMk/>
            <pc:sldMk cId="3998587978" sldId="2147481969"/>
            <ac:spMk id="9" creationId="{E60771D5-36B1-5846-E0FD-EE10BA67E143}"/>
          </ac:spMkLst>
        </pc:spChg>
        <pc:spChg chg="del">
          <ac:chgData name="Olha Perminova (UA)" userId="3a6a8ff4-9418-475a-a23d-87d0c5689c66" providerId="ADAL" clId="{9A235F19-1981-498E-BA97-5613F340D513}" dt="2024-06-10T14:13:04.122" v="549" actId="478"/>
          <ac:spMkLst>
            <pc:docMk/>
            <pc:sldMk cId="3998587978" sldId="2147481969"/>
            <ac:spMk id="10" creationId="{0E3AF958-70C4-357F-D986-53A75E5CF63B}"/>
          </ac:spMkLst>
        </pc:spChg>
        <pc:spChg chg="del">
          <ac:chgData name="Olha Perminova (UA)" userId="3a6a8ff4-9418-475a-a23d-87d0c5689c66" providerId="ADAL" clId="{9A235F19-1981-498E-BA97-5613F340D513}" dt="2024-06-10T14:13:04.122" v="549" actId="478"/>
          <ac:spMkLst>
            <pc:docMk/>
            <pc:sldMk cId="3998587978" sldId="2147481969"/>
            <ac:spMk id="11" creationId="{70513DFC-D897-87EB-EF6A-D4829E31C2D1}"/>
          </ac:spMkLst>
        </pc:spChg>
        <pc:spChg chg="del">
          <ac:chgData name="Olha Perminova (UA)" userId="3a6a8ff4-9418-475a-a23d-87d0c5689c66" providerId="ADAL" clId="{9A235F19-1981-498E-BA97-5613F340D513}" dt="2024-06-10T14:13:04.122" v="549" actId="478"/>
          <ac:spMkLst>
            <pc:docMk/>
            <pc:sldMk cId="3998587978" sldId="2147481969"/>
            <ac:spMk id="12" creationId="{9FE544F4-5FE9-EB4A-60A5-5DB0C11FA6FA}"/>
          </ac:spMkLst>
        </pc:spChg>
        <pc:spChg chg="del">
          <ac:chgData name="Olha Perminova (UA)" userId="3a6a8ff4-9418-475a-a23d-87d0c5689c66" providerId="ADAL" clId="{9A235F19-1981-498E-BA97-5613F340D513}" dt="2024-06-10T14:13:04.122" v="549" actId="478"/>
          <ac:spMkLst>
            <pc:docMk/>
            <pc:sldMk cId="3998587978" sldId="2147481969"/>
            <ac:spMk id="13" creationId="{A6BE1D1D-3F01-1DF1-B44F-6D56DDF9CE64}"/>
          </ac:spMkLst>
        </pc:spChg>
        <pc:spChg chg="mod">
          <ac:chgData name="Olha Perminova (UA)" userId="3a6a8ff4-9418-475a-a23d-87d0c5689c66" providerId="ADAL" clId="{9A235F19-1981-498E-BA97-5613F340D513}" dt="2024-06-10T14:12:23.726" v="546"/>
          <ac:spMkLst>
            <pc:docMk/>
            <pc:sldMk cId="3998587978" sldId="2147481969"/>
            <ac:spMk id="16" creationId="{BDD5A941-A1AE-7A28-B2EE-6C369F224A53}"/>
          </ac:spMkLst>
        </pc:spChg>
        <pc:spChg chg="mod">
          <ac:chgData name="Olha Perminova (UA)" userId="3a6a8ff4-9418-475a-a23d-87d0c5689c66" providerId="ADAL" clId="{9A235F19-1981-498E-BA97-5613F340D513}" dt="2024-06-10T14:12:23.726" v="546"/>
          <ac:spMkLst>
            <pc:docMk/>
            <pc:sldMk cId="3998587978" sldId="2147481969"/>
            <ac:spMk id="20" creationId="{922BA4CC-1679-BE96-5D65-EF1BF57886D5}"/>
          </ac:spMkLst>
        </pc:spChg>
        <pc:spChg chg="del">
          <ac:chgData name="Olha Perminova (UA)" userId="3a6a8ff4-9418-475a-a23d-87d0c5689c66" providerId="ADAL" clId="{9A235F19-1981-498E-BA97-5613F340D513}" dt="2024-06-10T14:13:04.122" v="549" actId="478"/>
          <ac:spMkLst>
            <pc:docMk/>
            <pc:sldMk cId="3998587978" sldId="2147481969"/>
            <ac:spMk id="21" creationId="{1118417F-5F3E-C322-3338-E4C7A4CDB1CE}"/>
          </ac:spMkLst>
        </pc:spChg>
        <pc:spChg chg="add mod">
          <ac:chgData name="Olha Perminova (UA)" userId="3a6a8ff4-9418-475a-a23d-87d0c5689c66" providerId="ADAL" clId="{9A235F19-1981-498E-BA97-5613F340D513}" dt="2024-06-10T14:54:34.406" v="1227" actId="552"/>
          <ac:spMkLst>
            <pc:docMk/>
            <pc:sldMk cId="3998587978" sldId="2147481969"/>
            <ac:spMk id="26" creationId="{471F14E2-4096-90B5-C1ED-2A3C36F0DB47}"/>
          </ac:spMkLst>
        </pc:spChg>
        <pc:spChg chg="add mod">
          <ac:chgData name="Olha Perminova (UA)" userId="3a6a8ff4-9418-475a-a23d-87d0c5689c66" providerId="ADAL" clId="{9A235F19-1981-498E-BA97-5613F340D513}" dt="2024-06-10T14:54:26.226" v="1226" actId="554"/>
          <ac:spMkLst>
            <pc:docMk/>
            <pc:sldMk cId="3998587978" sldId="2147481969"/>
            <ac:spMk id="27" creationId="{4A84FC65-DA2C-6590-D2DB-1E7E4EA7E99F}"/>
          </ac:spMkLst>
        </pc:spChg>
        <pc:spChg chg="add mod">
          <ac:chgData name="Olha Perminova (UA)" userId="3a6a8ff4-9418-475a-a23d-87d0c5689c66" providerId="ADAL" clId="{9A235F19-1981-498E-BA97-5613F340D513}" dt="2024-06-10T14:13:04.462" v="550"/>
          <ac:spMkLst>
            <pc:docMk/>
            <pc:sldMk cId="3998587978" sldId="2147481969"/>
            <ac:spMk id="28" creationId="{44A18395-B644-1BDE-1D08-F115F090DB14}"/>
          </ac:spMkLst>
        </pc:spChg>
        <pc:spChg chg="add mod">
          <ac:chgData name="Olha Perminova (UA)" userId="3a6a8ff4-9418-475a-a23d-87d0c5689c66" providerId="ADAL" clId="{9A235F19-1981-498E-BA97-5613F340D513}" dt="2024-06-10T14:13:04.462" v="550"/>
          <ac:spMkLst>
            <pc:docMk/>
            <pc:sldMk cId="3998587978" sldId="2147481969"/>
            <ac:spMk id="29" creationId="{9694AFC2-83A7-1622-FF0D-CAA608337B5E}"/>
          </ac:spMkLst>
        </pc:spChg>
        <pc:spChg chg="mod topLvl">
          <ac:chgData name="Olha Perminova (UA)" userId="3a6a8ff4-9418-475a-a23d-87d0c5689c66" providerId="ADAL" clId="{9A235F19-1981-498E-BA97-5613F340D513}" dt="2024-06-10T14:18:55.990" v="714" actId="164"/>
          <ac:spMkLst>
            <pc:docMk/>
            <pc:sldMk cId="3998587978" sldId="2147481969"/>
            <ac:spMk id="31" creationId="{0F8AF3D8-4A36-5BAD-7018-36E6F6AC90A9}"/>
          </ac:spMkLst>
        </pc:spChg>
        <pc:spChg chg="mod topLvl">
          <ac:chgData name="Olha Perminova (UA)" userId="3a6a8ff4-9418-475a-a23d-87d0c5689c66" providerId="ADAL" clId="{9A235F19-1981-498E-BA97-5613F340D513}" dt="2024-06-10T14:18:55.990" v="714" actId="164"/>
          <ac:spMkLst>
            <pc:docMk/>
            <pc:sldMk cId="3998587978" sldId="2147481969"/>
            <ac:spMk id="32" creationId="{1D81532B-2339-E2C1-F336-A5A69EE823D2}"/>
          </ac:spMkLst>
        </pc:spChg>
        <pc:spChg chg="add mod">
          <ac:chgData name="Olha Perminova (UA)" userId="3a6a8ff4-9418-475a-a23d-87d0c5689c66" providerId="ADAL" clId="{9A235F19-1981-498E-BA97-5613F340D513}" dt="2024-06-10T14:13:04.462" v="550"/>
          <ac:spMkLst>
            <pc:docMk/>
            <pc:sldMk cId="3998587978" sldId="2147481969"/>
            <ac:spMk id="33" creationId="{2E6F1176-869E-B642-37E9-B0306CA30288}"/>
          </ac:spMkLst>
        </pc:spChg>
        <pc:spChg chg="add mod">
          <ac:chgData name="Olha Perminova (UA)" userId="3a6a8ff4-9418-475a-a23d-87d0c5689c66" providerId="ADAL" clId="{9A235F19-1981-498E-BA97-5613F340D513}" dt="2024-06-10T14:14:54.135" v="578" actId="1076"/>
          <ac:spMkLst>
            <pc:docMk/>
            <pc:sldMk cId="3998587978" sldId="2147481969"/>
            <ac:spMk id="34" creationId="{A8D0F764-24AA-5BAB-8270-91CEC7751B79}"/>
          </ac:spMkLst>
        </pc:spChg>
        <pc:spChg chg="add mod">
          <ac:chgData name="Olha Perminova (UA)" userId="3a6a8ff4-9418-475a-a23d-87d0c5689c66" providerId="ADAL" clId="{9A235F19-1981-498E-BA97-5613F340D513}" dt="2024-06-10T14:13:04.462" v="550"/>
          <ac:spMkLst>
            <pc:docMk/>
            <pc:sldMk cId="3998587978" sldId="2147481969"/>
            <ac:spMk id="35" creationId="{F081AD02-90FD-3FC1-F610-A41FCC2FB950}"/>
          </ac:spMkLst>
        </pc:spChg>
        <pc:spChg chg="add mod">
          <ac:chgData name="Olha Perminova (UA)" userId="3a6a8ff4-9418-475a-a23d-87d0c5689c66" providerId="ADAL" clId="{9A235F19-1981-498E-BA97-5613F340D513}" dt="2024-06-10T14:54:23.604" v="1225" actId="552"/>
          <ac:spMkLst>
            <pc:docMk/>
            <pc:sldMk cId="3998587978" sldId="2147481969"/>
            <ac:spMk id="36" creationId="{87942B9C-99D6-B14A-EB93-DE67A387C608}"/>
          </ac:spMkLst>
        </pc:spChg>
        <pc:spChg chg="add del mod">
          <ac:chgData name="Olha Perminova (UA)" userId="3a6a8ff4-9418-475a-a23d-87d0c5689c66" providerId="ADAL" clId="{9A235F19-1981-498E-BA97-5613F340D513}" dt="2024-06-10T14:13:26.418" v="553"/>
          <ac:spMkLst>
            <pc:docMk/>
            <pc:sldMk cId="3998587978" sldId="2147481969"/>
            <ac:spMk id="37" creationId="{42F060D7-7136-D31A-FE41-A83C0BFA748B}"/>
          </ac:spMkLst>
        </pc:spChg>
        <pc:spChg chg="add del mod">
          <ac:chgData name="Olha Perminova (UA)" userId="3a6a8ff4-9418-475a-a23d-87d0c5689c66" providerId="ADAL" clId="{9A235F19-1981-498E-BA97-5613F340D513}" dt="2024-06-10T14:13:26.418" v="553"/>
          <ac:spMkLst>
            <pc:docMk/>
            <pc:sldMk cId="3998587978" sldId="2147481969"/>
            <ac:spMk id="38" creationId="{B150B03C-EE43-4E75-BC6C-259B28FA66EC}"/>
          </ac:spMkLst>
        </pc:spChg>
        <pc:spChg chg="add del mod">
          <ac:chgData name="Olha Perminova (UA)" userId="3a6a8ff4-9418-475a-a23d-87d0c5689c66" providerId="ADAL" clId="{9A235F19-1981-498E-BA97-5613F340D513}" dt="2024-06-10T14:13:26.418" v="553"/>
          <ac:spMkLst>
            <pc:docMk/>
            <pc:sldMk cId="3998587978" sldId="2147481969"/>
            <ac:spMk id="39" creationId="{E8DF1305-64C1-2354-3AA1-23839B062043}"/>
          </ac:spMkLst>
        </pc:spChg>
        <pc:spChg chg="add del mod">
          <ac:chgData name="Olha Perminova (UA)" userId="3a6a8ff4-9418-475a-a23d-87d0c5689c66" providerId="ADAL" clId="{9A235F19-1981-498E-BA97-5613F340D513}" dt="2024-06-10T14:13:26.418" v="553"/>
          <ac:spMkLst>
            <pc:docMk/>
            <pc:sldMk cId="3998587978" sldId="2147481969"/>
            <ac:spMk id="40" creationId="{957E1CB1-CFBA-12D1-A820-3CE8E81B396B}"/>
          </ac:spMkLst>
        </pc:spChg>
        <pc:spChg chg="add del mod">
          <ac:chgData name="Olha Perminova (UA)" userId="3a6a8ff4-9418-475a-a23d-87d0c5689c66" providerId="ADAL" clId="{9A235F19-1981-498E-BA97-5613F340D513}" dt="2024-06-10T14:13:26.418" v="553"/>
          <ac:spMkLst>
            <pc:docMk/>
            <pc:sldMk cId="3998587978" sldId="2147481969"/>
            <ac:spMk id="41" creationId="{C62F2E6D-9D79-0058-16AD-CDCBBB49CC65}"/>
          </ac:spMkLst>
        </pc:spChg>
        <pc:spChg chg="add del mod">
          <ac:chgData name="Olha Perminova (UA)" userId="3a6a8ff4-9418-475a-a23d-87d0c5689c66" providerId="ADAL" clId="{9A235F19-1981-498E-BA97-5613F340D513}" dt="2024-06-10T14:13:26.418" v="553"/>
          <ac:spMkLst>
            <pc:docMk/>
            <pc:sldMk cId="3998587978" sldId="2147481969"/>
            <ac:spMk id="42" creationId="{6AB8A230-4EF4-FDE8-CAF1-DE1D055D266E}"/>
          </ac:spMkLst>
        </pc:spChg>
        <pc:spChg chg="add del mod">
          <ac:chgData name="Olha Perminova (UA)" userId="3a6a8ff4-9418-475a-a23d-87d0c5689c66" providerId="ADAL" clId="{9A235F19-1981-498E-BA97-5613F340D513}" dt="2024-06-10T14:13:26.418" v="553"/>
          <ac:spMkLst>
            <pc:docMk/>
            <pc:sldMk cId="3998587978" sldId="2147481969"/>
            <ac:spMk id="43" creationId="{E6110C1F-220E-62D9-DEE2-EE4F96BE8A63}"/>
          </ac:spMkLst>
        </pc:spChg>
        <pc:spChg chg="add del mod">
          <ac:chgData name="Olha Perminova (UA)" userId="3a6a8ff4-9418-475a-a23d-87d0c5689c66" providerId="ADAL" clId="{9A235F19-1981-498E-BA97-5613F340D513}" dt="2024-06-10T14:13:26.418" v="553"/>
          <ac:spMkLst>
            <pc:docMk/>
            <pc:sldMk cId="3998587978" sldId="2147481969"/>
            <ac:spMk id="44" creationId="{E4D637DD-CB45-5CCE-DB43-036CA456910C}"/>
          </ac:spMkLst>
        </pc:spChg>
        <pc:spChg chg="add del mod">
          <ac:chgData name="Olha Perminova (UA)" userId="3a6a8ff4-9418-475a-a23d-87d0c5689c66" providerId="ADAL" clId="{9A235F19-1981-498E-BA97-5613F340D513}" dt="2024-06-10T14:50:19.198" v="1161" actId="478"/>
          <ac:spMkLst>
            <pc:docMk/>
            <pc:sldMk cId="3998587978" sldId="2147481969"/>
            <ac:spMk id="45" creationId="{64FF748B-5901-36FD-15F2-7E71BCE595BA}"/>
          </ac:spMkLst>
        </pc:spChg>
        <pc:spChg chg="mod topLvl">
          <ac:chgData name="Olha Perminova (UA)" userId="3a6a8ff4-9418-475a-a23d-87d0c5689c66" providerId="ADAL" clId="{9A235F19-1981-498E-BA97-5613F340D513}" dt="2024-06-10T14:18:59.694" v="715" actId="164"/>
          <ac:spMkLst>
            <pc:docMk/>
            <pc:sldMk cId="3998587978" sldId="2147481969"/>
            <ac:spMk id="47" creationId="{656AB3C2-026C-E715-D925-A13B751C8473}"/>
          </ac:spMkLst>
        </pc:spChg>
        <pc:spChg chg="mod topLvl">
          <ac:chgData name="Olha Perminova (UA)" userId="3a6a8ff4-9418-475a-a23d-87d0c5689c66" providerId="ADAL" clId="{9A235F19-1981-498E-BA97-5613F340D513}" dt="2024-06-10T14:18:59.694" v="715" actId="164"/>
          <ac:spMkLst>
            <pc:docMk/>
            <pc:sldMk cId="3998587978" sldId="2147481969"/>
            <ac:spMk id="48" creationId="{3112A528-1987-48A6-C4E9-818FC36C4A12}"/>
          </ac:spMkLst>
        </pc:spChg>
        <pc:spChg chg="mod topLvl">
          <ac:chgData name="Olha Perminova (UA)" userId="3a6a8ff4-9418-475a-a23d-87d0c5689c66" providerId="ADAL" clId="{9A235F19-1981-498E-BA97-5613F340D513}" dt="2024-06-10T14:20:32.536" v="719" actId="164"/>
          <ac:spMkLst>
            <pc:docMk/>
            <pc:sldMk cId="3998587978" sldId="2147481969"/>
            <ac:spMk id="50" creationId="{FCFE4574-F139-F2EC-40BE-DBEDA717016C}"/>
          </ac:spMkLst>
        </pc:spChg>
        <pc:spChg chg="mod topLvl">
          <ac:chgData name="Olha Perminova (UA)" userId="3a6a8ff4-9418-475a-a23d-87d0c5689c66" providerId="ADAL" clId="{9A235F19-1981-498E-BA97-5613F340D513}" dt="2024-06-10T14:20:32.536" v="719" actId="164"/>
          <ac:spMkLst>
            <pc:docMk/>
            <pc:sldMk cId="3998587978" sldId="2147481969"/>
            <ac:spMk id="51" creationId="{02A2C5A2-8161-6D93-7619-EC9A5EB42936}"/>
          </ac:spMkLst>
        </pc:spChg>
        <pc:spChg chg="mod topLvl">
          <ac:chgData name="Olha Perminova (UA)" userId="3a6a8ff4-9418-475a-a23d-87d0c5689c66" providerId="ADAL" clId="{9A235F19-1981-498E-BA97-5613F340D513}" dt="2024-06-10T14:23:01.539" v="901" actId="165"/>
          <ac:spMkLst>
            <pc:docMk/>
            <pc:sldMk cId="3998587978" sldId="2147481969"/>
            <ac:spMk id="53" creationId="{5EF12559-BE2E-576B-038D-E2C7A1B20582}"/>
          </ac:spMkLst>
        </pc:spChg>
        <pc:spChg chg="mod topLvl">
          <ac:chgData name="Olha Perminova (UA)" userId="3a6a8ff4-9418-475a-a23d-87d0c5689c66" providerId="ADAL" clId="{9A235F19-1981-498E-BA97-5613F340D513}" dt="2024-06-10T14:23:01.539" v="901" actId="165"/>
          <ac:spMkLst>
            <pc:docMk/>
            <pc:sldMk cId="3998587978" sldId="2147481969"/>
            <ac:spMk id="54" creationId="{39685821-24D3-DF28-56AC-8B1021756E17}"/>
          </ac:spMkLst>
        </pc:spChg>
        <pc:spChg chg="add del mod">
          <ac:chgData name="Olha Perminova (UA)" userId="3a6a8ff4-9418-475a-a23d-87d0c5689c66" providerId="ADAL" clId="{9A235F19-1981-498E-BA97-5613F340D513}" dt="2024-06-10T14:48:24.967" v="989" actId="478"/>
          <ac:spMkLst>
            <pc:docMk/>
            <pc:sldMk cId="3998587978" sldId="2147481969"/>
            <ac:spMk id="64" creationId="{47D1CAB2-2BC1-3D4E-D84F-860BB7DCFABD}"/>
          </ac:spMkLst>
        </pc:spChg>
        <pc:spChg chg="mod topLvl">
          <ac:chgData name="Olha Perminova (UA)" userId="3a6a8ff4-9418-475a-a23d-87d0c5689c66" providerId="ADAL" clId="{9A235F19-1981-498E-BA97-5613F340D513}" dt="2024-06-10T14:50:30.171" v="1162" actId="207"/>
          <ac:spMkLst>
            <pc:docMk/>
            <pc:sldMk cId="3998587978" sldId="2147481969"/>
            <ac:spMk id="65" creationId="{B3400AB7-3203-205A-AB82-E6EAECD6E433}"/>
          </ac:spMkLst>
        </pc:spChg>
        <pc:spChg chg="mod topLvl">
          <ac:chgData name="Olha Perminova (UA)" userId="3a6a8ff4-9418-475a-a23d-87d0c5689c66" providerId="ADAL" clId="{9A235F19-1981-498E-BA97-5613F340D513}" dt="2024-06-10T14:50:33.286" v="1163" actId="207"/>
          <ac:spMkLst>
            <pc:docMk/>
            <pc:sldMk cId="3998587978" sldId="2147481969"/>
            <ac:spMk id="66" creationId="{867B4285-8A1E-1221-902B-200EA0DA3A62}"/>
          </ac:spMkLst>
        </pc:spChg>
        <pc:spChg chg="add del mod">
          <ac:chgData name="Olha Perminova (UA)" userId="3a6a8ff4-9418-475a-a23d-87d0c5689c66" providerId="ADAL" clId="{9A235F19-1981-498E-BA97-5613F340D513}" dt="2024-06-10T14:48:24.967" v="989" actId="478"/>
          <ac:spMkLst>
            <pc:docMk/>
            <pc:sldMk cId="3998587978" sldId="2147481969"/>
            <ac:spMk id="67" creationId="{2D72053B-CC75-72A7-4667-5439A731346F}"/>
          </ac:spMkLst>
        </pc:spChg>
        <pc:spChg chg="add del mod">
          <ac:chgData name="Olha Perminova (UA)" userId="3a6a8ff4-9418-475a-a23d-87d0c5689c66" providerId="ADAL" clId="{9A235F19-1981-498E-BA97-5613F340D513}" dt="2024-06-10T14:48:24.967" v="989" actId="478"/>
          <ac:spMkLst>
            <pc:docMk/>
            <pc:sldMk cId="3998587978" sldId="2147481969"/>
            <ac:spMk id="72" creationId="{F5E25890-FF86-6D81-CEF0-E81206C3A09A}"/>
          </ac:spMkLst>
        </pc:spChg>
        <pc:spChg chg="add del mod">
          <ac:chgData name="Olha Perminova (UA)" userId="3a6a8ff4-9418-475a-a23d-87d0c5689c66" providerId="ADAL" clId="{9A235F19-1981-498E-BA97-5613F340D513}" dt="2024-06-10T14:48:24.967" v="989" actId="478"/>
          <ac:spMkLst>
            <pc:docMk/>
            <pc:sldMk cId="3998587978" sldId="2147481969"/>
            <ac:spMk id="73" creationId="{02561E29-6B91-7573-0CF2-F6A4BF8CCE21}"/>
          </ac:spMkLst>
        </pc:spChg>
        <pc:spChg chg="add mod topLvl">
          <ac:chgData name="Olha Perminova (UA)" userId="3a6a8ff4-9418-475a-a23d-87d0c5689c66" providerId="ADAL" clId="{9A235F19-1981-498E-BA97-5613F340D513}" dt="2024-06-10T14:53:32.651" v="1204" actId="14100"/>
          <ac:spMkLst>
            <pc:docMk/>
            <pc:sldMk cId="3998587978" sldId="2147481969"/>
            <ac:spMk id="74" creationId="{1170A1F8-6836-7EF0-4E6F-697FD346D741}"/>
          </ac:spMkLst>
        </pc:spChg>
        <pc:spChg chg="add mod">
          <ac:chgData name="Olha Perminova (UA)" userId="3a6a8ff4-9418-475a-a23d-87d0c5689c66" providerId="ADAL" clId="{9A235F19-1981-498E-BA97-5613F340D513}" dt="2024-06-10T14:53:35.150" v="1205" actId="20577"/>
          <ac:spMkLst>
            <pc:docMk/>
            <pc:sldMk cId="3998587978" sldId="2147481969"/>
            <ac:spMk id="75" creationId="{C67A177E-02E9-E513-71FE-F516254B5B21}"/>
          </ac:spMkLst>
        </pc:spChg>
        <pc:spChg chg="add mod topLvl">
          <ac:chgData name="Olha Perminova (UA)" userId="3a6a8ff4-9418-475a-a23d-87d0c5689c66" providerId="ADAL" clId="{9A235F19-1981-498E-BA97-5613F340D513}" dt="2024-06-10T14:53:46.300" v="1216" actId="14100"/>
          <ac:spMkLst>
            <pc:docMk/>
            <pc:sldMk cId="3998587978" sldId="2147481969"/>
            <ac:spMk id="76" creationId="{7BBC6110-BA80-66C9-711A-C3D76CC8605F}"/>
          </ac:spMkLst>
        </pc:spChg>
        <pc:spChg chg="add mod">
          <ac:chgData name="Olha Perminova (UA)" userId="3a6a8ff4-9418-475a-a23d-87d0c5689c66" providerId="ADAL" clId="{9A235F19-1981-498E-BA97-5613F340D513}" dt="2024-06-10T14:53:32.651" v="1204" actId="14100"/>
          <ac:spMkLst>
            <pc:docMk/>
            <pc:sldMk cId="3998587978" sldId="2147481969"/>
            <ac:spMk id="77" creationId="{314D8D8F-B7D4-EAAE-D30E-252B00FF4285}"/>
          </ac:spMkLst>
        </pc:spChg>
        <pc:spChg chg="add mod">
          <ac:chgData name="Olha Perminova (UA)" userId="3a6a8ff4-9418-475a-a23d-87d0c5689c66" providerId="ADAL" clId="{9A235F19-1981-498E-BA97-5613F340D513}" dt="2024-06-10T14:53:32.651" v="1204" actId="14100"/>
          <ac:spMkLst>
            <pc:docMk/>
            <pc:sldMk cId="3998587978" sldId="2147481969"/>
            <ac:spMk id="78" creationId="{6551150D-9873-82B0-44E8-5190D9C2D304}"/>
          </ac:spMkLst>
        </pc:spChg>
        <pc:spChg chg="add mod">
          <ac:chgData name="Olha Perminova (UA)" userId="3a6a8ff4-9418-475a-a23d-87d0c5689c66" providerId="ADAL" clId="{9A235F19-1981-498E-BA97-5613F340D513}" dt="2024-06-10T14:53:46.300" v="1216" actId="14100"/>
          <ac:spMkLst>
            <pc:docMk/>
            <pc:sldMk cId="3998587978" sldId="2147481969"/>
            <ac:spMk id="79" creationId="{F894A031-0F31-B105-0AAA-4CF219846086}"/>
          </ac:spMkLst>
        </pc:spChg>
        <pc:spChg chg="add mod">
          <ac:chgData name="Olha Perminova (UA)" userId="3a6a8ff4-9418-475a-a23d-87d0c5689c66" providerId="ADAL" clId="{9A235F19-1981-498E-BA97-5613F340D513}" dt="2024-06-10T14:53:46.300" v="1216" actId="14100"/>
          <ac:spMkLst>
            <pc:docMk/>
            <pc:sldMk cId="3998587978" sldId="2147481969"/>
            <ac:spMk id="80" creationId="{570B6498-E0FA-658E-4D49-FD9D29C589E3}"/>
          </ac:spMkLst>
        </pc:spChg>
        <pc:spChg chg="add mod">
          <ac:chgData name="Olha Perminova (UA)" userId="3a6a8ff4-9418-475a-a23d-87d0c5689c66" providerId="ADAL" clId="{9A235F19-1981-498E-BA97-5613F340D513}" dt="2024-06-10T14:53:46.300" v="1216" actId="14100"/>
          <ac:spMkLst>
            <pc:docMk/>
            <pc:sldMk cId="3998587978" sldId="2147481969"/>
            <ac:spMk id="81" creationId="{94091B5D-4334-BE94-3E85-4663D5928A77}"/>
          </ac:spMkLst>
        </pc:spChg>
        <pc:spChg chg="add del mod">
          <ac:chgData name="Olha Perminova (UA)" userId="3a6a8ff4-9418-475a-a23d-87d0c5689c66" providerId="ADAL" clId="{9A235F19-1981-498E-BA97-5613F340D513}" dt="2024-06-10T14:48:24.967" v="989" actId="478"/>
          <ac:spMkLst>
            <pc:docMk/>
            <pc:sldMk cId="3998587978" sldId="2147481969"/>
            <ac:spMk id="82" creationId="{DBB72018-C6F4-0B67-2978-3A55BFB55081}"/>
          </ac:spMkLst>
        </pc:spChg>
        <pc:spChg chg="add del mod modVis">
          <ac:chgData name="Olha Perminova (UA)" userId="3a6a8ff4-9418-475a-a23d-87d0c5689c66" providerId="ADAL" clId="{9A235F19-1981-498E-BA97-5613F340D513}" dt="2024-06-10T14:16:34.486" v="693"/>
          <ac:spMkLst>
            <pc:docMk/>
            <pc:sldMk cId="3998587978" sldId="2147481969"/>
            <ac:spMk id="84" creationId="{8169752A-FF40-D0E5-104F-1EC2C342E0D2}"/>
          </ac:spMkLst>
        </pc:spChg>
        <pc:spChg chg="mod">
          <ac:chgData name="Olha Perminova (UA)" userId="3a6a8ff4-9418-475a-a23d-87d0c5689c66" providerId="ADAL" clId="{9A235F19-1981-498E-BA97-5613F340D513}" dt="2024-06-10T14:21:32.261" v="826"/>
          <ac:spMkLst>
            <pc:docMk/>
            <pc:sldMk cId="3998587978" sldId="2147481969"/>
            <ac:spMk id="90" creationId="{28CBF070-F51F-59A4-842A-CFF85EF436A3}"/>
          </ac:spMkLst>
        </pc:spChg>
        <pc:spChg chg="mod">
          <ac:chgData name="Olha Perminova (UA)" userId="3a6a8ff4-9418-475a-a23d-87d0c5689c66" providerId="ADAL" clId="{9A235F19-1981-498E-BA97-5613F340D513}" dt="2024-06-10T14:21:32.261" v="826"/>
          <ac:spMkLst>
            <pc:docMk/>
            <pc:sldMk cId="3998587978" sldId="2147481969"/>
            <ac:spMk id="91" creationId="{C346F0D0-FBBD-3268-EBE7-18F41C2D4CE9}"/>
          </ac:spMkLst>
        </pc:spChg>
        <pc:spChg chg="mod">
          <ac:chgData name="Olha Perminova (UA)" userId="3a6a8ff4-9418-475a-a23d-87d0c5689c66" providerId="ADAL" clId="{9A235F19-1981-498E-BA97-5613F340D513}" dt="2024-06-10T14:21:32.261" v="826"/>
          <ac:spMkLst>
            <pc:docMk/>
            <pc:sldMk cId="3998587978" sldId="2147481969"/>
            <ac:spMk id="93" creationId="{4194B9E0-F78D-0496-CC5C-972805E70A2A}"/>
          </ac:spMkLst>
        </pc:spChg>
        <pc:spChg chg="mod">
          <ac:chgData name="Olha Perminova (UA)" userId="3a6a8ff4-9418-475a-a23d-87d0c5689c66" providerId="ADAL" clId="{9A235F19-1981-498E-BA97-5613F340D513}" dt="2024-06-10T14:21:32.261" v="826"/>
          <ac:spMkLst>
            <pc:docMk/>
            <pc:sldMk cId="3998587978" sldId="2147481969"/>
            <ac:spMk id="94" creationId="{19C83FB6-E24E-28C8-9350-BB2EA80F157D}"/>
          </ac:spMkLst>
        </pc:spChg>
        <pc:spChg chg="mod">
          <ac:chgData name="Olha Perminova (UA)" userId="3a6a8ff4-9418-475a-a23d-87d0c5689c66" providerId="ADAL" clId="{9A235F19-1981-498E-BA97-5613F340D513}" dt="2024-06-10T14:21:32.261" v="826"/>
          <ac:spMkLst>
            <pc:docMk/>
            <pc:sldMk cId="3998587978" sldId="2147481969"/>
            <ac:spMk id="96" creationId="{3FC28010-F5D6-A6C7-E6B2-C6D2C9FECBDD}"/>
          </ac:spMkLst>
        </pc:spChg>
        <pc:spChg chg="mod">
          <ac:chgData name="Olha Perminova (UA)" userId="3a6a8ff4-9418-475a-a23d-87d0c5689c66" providerId="ADAL" clId="{9A235F19-1981-498E-BA97-5613F340D513}" dt="2024-06-10T14:21:32.261" v="826"/>
          <ac:spMkLst>
            <pc:docMk/>
            <pc:sldMk cId="3998587978" sldId="2147481969"/>
            <ac:spMk id="97" creationId="{067E863F-B189-B824-7A1E-FEB2D8E7E166}"/>
          </ac:spMkLst>
        </pc:spChg>
        <pc:spChg chg="mod">
          <ac:chgData name="Olha Perminova (UA)" userId="3a6a8ff4-9418-475a-a23d-87d0c5689c66" providerId="ADAL" clId="{9A235F19-1981-498E-BA97-5613F340D513}" dt="2024-06-10T14:23:01.539" v="901" actId="165"/>
          <ac:spMkLst>
            <pc:docMk/>
            <pc:sldMk cId="3998587978" sldId="2147481969"/>
            <ac:spMk id="99" creationId="{0679964F-B757-0126-DEEE-256C8182594E}"/>
          </ac:spMkLst>
        </pc:spChg>
        <pc:spChg chg="mod">
          <ac:chgData name="Olha Perminova (UA)" userId="3a6a8ff4-9418-475a-a23d-87d0c5689c66" providerId="ADAL" clId="{9A235F19-1981-498E-BA97-5613F340D513}" dt="2024-06-10T14:23:01.539" v="901" actId="165"/>
          <ac:spMkLst>
            <pc:docMk/>
            <pc:sldMk cId="3998587978" sldId="2147481969"/>
            <ac:spMk id="100" creationId="{F48E5BE5-E9A7-C0AF-13BE-F7E8DFA47B4F}"/>
          </ac:spMkLst>
        </pc:spChg>
        <pc:spChg chg="add del mod modVis">
          <ac:chgData name="Olha Perminova (UA)" userId="3a6a8ff4-9418-475a-a23d-87d0c5689c66" providerId="ADAL" clId="{9A235F19-1981-498E-BA97-5613F340D513}" dt="2024-06-10T14:21:44.043" v="856"/>
          <ac:spMkLst>
            <pc:docMk/>
            <pc:sldMk cId="3998587978" sldId="2147481969"/>
            <ac:spMk id="101" creationId="{0B9E88EA-6F24-DA94-56FE-13E548D7A9E1}"/>
          </ac:spMkLst>
        </pc:spChg>
        <pc:spChg chg="del mod">
          <ac:chgData name="Olha Perminova (UA)" userId="3a6a8ff4-9418-475a-a23d-87d0c5689c66" providerId="ADAL" clId="{9A235F19-1981-498E-BA97-5613F340D513}" dt="2024-06-10T14:14:45.715" v="575" actId="478"/>
          <ac:spMkLst>
            <pc:docMk/>
            <pc:sldMk cId="3998587978" sldId="2147481969"/>
            <ac:spMk id="103" creationId="{B8A2F7DC-E116-1BBE-5A6B-64C7E680F1BD}"/>
          </ac:spMkLst>
        </pc:spChg>
        <pc:spChg chg="mod">
          <ac:chgData name="Olha Perminova (UA)" userId="3a6a8ff4-9418-475a-a23d-87d0c5689c66" providerId="ADAL" clId="{9A235F19-1981-498E-BA97-5613F340D513}" dt="2024-06-10T14:22:08.074" v="894"/>
          <ac:spMkLst>
            <pc:docMk/>
            <pc:sldMk cId="3998587978" sldId="2147481969"/>
            <ac:spMk id="105" creationId="{B3484CF7-D13F-B1F4-7E8F-CF905D3AF219}"/>
          </ac:spMkLst>
        </pc:spChg>
        <pc:spChg chg="mod">
          <ac:chgData name="Olha Perminova (UA)" userId="3a6a8ff4-9418-475a-a23d-87d0c5689c66" providerId="ADAL" clId="{9A235F19-1981-498E-BA97-5613F340D513}" dt="2024-06-10T14:22:08.074" v="894"/>
          <ac:spMkLst>
            <pc:docMk/>
            <pc:sldMk cId="3998587978" sldId="2147481969"/>
            <ac:spMk id="106" creationId="{516D24E7-7B24-0104-F8C8-6A911A63032B}"/>
          </ac:spMkLst>
        </pc:spChg>
        <pc:spChg chg="del mod">
          <ac:chgData name="Olha Perminova (UA)" userId="3a6a8ff4-9418-475a-a23d-87d0c5689c66" providerId="ADAL" clId="{9A235F19-1981-498E-BA97-5613F340D513}" dt="2024-06-10T14:14:45.715" v="575" actId="478"/>
          <ac:spMkLst>
            <pc:docMk/>
            <pc:sldMk cId="3998587978" sldId="2147481969"/>
            <ac:spMk id="107" creationId="{EEF73D00-2BC0-1F09-AB22-997BF5B5AEDC}"/>
          </ac:spMkLst>
        </pc:spChg>
        <pc:spChg chg="add mod">
          <ac:chgData name="Olha Perminova (UA)" userId="3a6a8ff4-9418-475a-a23d-87d0c5689c66" providerId="ADAL" clId="{9A235F19-1981-498E-BA97-5613F340D513}" dt="2024-06-10T14:22:08.074" v="894"/>
          <ac:spMkLst>
            <pc:docMk/>
            <pc:sldMk cId="3998587978" sldId="2147481969"/>
            <ac:spMk id="108" creationId="{5F4D0EE5-A881-B0D8-8950-F80BED245C35}"/>
          </ac:spMkLst>
        </pc:spChg>
        <pc:spChg chg="add del mod">
          <ac:chgData name="Olha Perminova (UA)" userId="3a6a8ff4-9418-475a-a23d-87d0c5689c66" providerId="ADAL" clId="{9A235F19-1981-498E-BA97-5613F340D513}" dt="2024-06-10T14:48:24.967" v="989" actId="478"/>
          <ac:spMkLst>
            <pc:docMk/>
            <pc:sldMk cId="3998587978" sldId="2147481969"/>
            <ac:spMk id="110" creationId="{1A18C26C-F586-8657-9FF4-DF0BF88BDADC}"/>
          </ac:spMkLst>
        </pc:spChg>
        <pc:spChg chg="del mod">
          <ac:chgData name="Olha Perminova (UA)" userId="3a6a8ff4-9418-475a-a23d-87d0c5689c66" providerId="ADAL" clId="{9A235F19-1981-498E-BA97-5613F340D513}" dt="2024-06-10T14:14:45.715" v="575" actId="478"/>
          <ac:spMkLst>
            <pc:docMk/>
            <pc:sldMk cId="3998587978" sldId="2147481969"/>
            <ac:spMk id="111" creationId="{2BE907A4-1571-B9F0-D513-57AB05B745BE}"/>
          </ac:spMkLst>
        </pc:spChg>
        <pc:spChg chg="mod topLvl">
          <ac:chgData name="Olha Perminova (UA)" userId="3a6a8ff4-9418-475a-a23d-87d0c5689c66" providerId="ADAL" clId="{9A235F19-1981-498E-BA97-5613F340D513}" dt="2024-06-10T14:50:45.629" v="1166" actId="207"/>
          <ac:spMkLst>
            <pc:docMk/>
            <pc:sldMk cId="3998587978" sldId="2147481969"/>
            <ac:spMk id="113" creationId="{684C31D5-82AC-987C-A550-E7D8E25A5E6D}"/>
          </ac:spMkLst>
        </pc:spChg>
        <pc:spChg chg="mod topLvl">
          <ac:chgData name="Olha Perminova (UA)" userId="3a6a8ff4-9418-475a-a23d-87d0c5689c66" providerId="ADAL" clId="{9A235F19-1981-498E-BA97-5613F340D513}" dt="2024-06-10T14:50:49.337" v="1167" actId="207"/>
          <ac:spMkLst>
            <pc:docMk/>
            <pc:sldMk cId="3998587978" sldId="2147481969"/>
            <ac:spMk id="114" creationId="{5C1A735E-712C-C68B-BB32-3687589A4063}"/>
          </ac:spMkLst>
        </pc:spChg>
        <pc:spChg chg="del mod">
          <ac:chgData name="Olha Perminova (UA)" userId="3a6a8ff4-9418-475a-a23d-87d0c5689c66" providerId="ADAL" clId="{9A235F19-1981-498E-BA97-5613F340D513}" dt="2024-06-10T14:14:45.715" v="575" actId="478"/>
          <ac:spMkLst>
            <pc:docMk/>
            <pc:sldMk cId="3998587978" sldId="2147481969"/>
            <ac:spMk id="115" creationId="{54FE79A9-8473-DE77-44E6-2C986EF74B03}"/>
          </ac:spMkLst>
        </pc:spChg>
        <pc:spChg chg="mod topLvl">
          <ac:chgData name="Olha Perminova (UA)" userId="3a6a8ff4-9418-475a-a23d-87d0c5689c66" providerId="ADAL" clId="{9A235F19-1981-498E-BA97-5613F340D513}" dt="2024-06-10T14:51:06.702" v="1171" actId="207"/>
          <ac:spMkLst>
            <pc:docMk/>
            <pc:sldMk cId="3998587978" sldId="2147481969"/>
            <ac:spMk id="117" creationId="{500B6201-F997-E2F2-B8E6-E1EFF3246B14}"/>
          </ac:spMkLst>
        </pc:spChg>
        <pc:spChg chg="mod topLvl">
          <ac:chgData name="Olha Perminova (UA)" userId="3a6a8ff4-9418-475a-a23d-87d0c5689c66" providerId="ADAL" clId="{9A235F19-1981-498E-BA97-5613F340D513}" dt="2024-06-10T14:51:11.727" v="1172" actId="207"/>
          <ac:spMkLst>
            <pc:docMk/>
            <pc:sldMk cId="3998587978" sldId="2147481969"/>
            <ac:spMk id="118" creationId="{CB3A4046-F77C-FE09-6961-EBF93E16E703}"/>
          </ac:spMkLst>
        </pc:spChg>
        <pc:spChg chg="del">
          <ac:chgData name="Olha Perminova (UA)" userId="3a6a8ff4-9418-475a-a23d-87d0c5689c66" providerId="ADAL" clId="{9A235F19-1981-498E-BA97-5613F340D513}" dt="2024-06-10T14:14:45.715" v="575" actId="478"/>
          <ac:spMkLst>
            <pc:docMk/>
            <pc:sldMk cId="3998587978" sldId="2147481969"/>
            <ac:spMk id="119" creationId="{25857B8E-3D4F-1175-6C7E-C82281D0DFB2}"/>
          </ac:spMkLst>
        </pc:spChg>
        <pc:spChg chg="mod topLvl">
          <ac:chgData name="Olha Perminova (UA)" userId="3a6a8ff4-9418-475a-a23d-87d0c5689c66" providerId="ADAL" clId="{9A235F19-1981-498E-BA97-5613F340D513}" dt="2024-06-10T14:51:14.865" v="1173" actId="207"/>
          <ac:spMkLst>
            <pc:docMk/>
            <pc:sldMk cId="3998587978" sldId="2147481969"/>
            <ac:spMk id="121" creationId="{0C6D96B8-45C9-E7AF-CE7A-7926B50479BC}"/>
          </ac:spMkLst>
        </pc:spChg>
        <pc:spChg chg="mod topLvl">
          <ac:chgData name="Olha Perminova (UA)" userId="3a6a8ff4-9418-475a-a23d-87d0c5689c66" providerId="ADAL" clId="{9A235F19-1981-498E-BA97-5613F340D513}" dt="2024-06-10T14:51:17.817" v="1174" actId="207"/>
          <ac:spMkLst>
            <pc:docMk/>
            <pc:sldMk cId="3998587978" sldId="2147481969"/>
            <ac:spMk id="122" creationId="{75C53CB9-4BFE-45CF-5D20-6B20E2B83892}"/>
          </ac:spMkLst>
        </pc:spChg>
        <pc:spChg chg="del">
          <ac:chgData name="Olha Perminova (UA)" userId="3a6a8ff4-9418-475a-a23d-87d0c5689c66" providerId="ADAL" clId="{9A235F19-1981-498E-BA97-5613F340D513}" dt="2024-06-10T14:14:45.715" v="575" actId="478"/>
          <ac:spMkLst>
            <pc:docMk/>
            <pc:sldMk cId="3998587978" sldId="2147481969"/>
            <ac:spMk id="123" creationId="{E540FF3B-2049-3D2C-DC6C-0CAFC95DAB95}"/>
          </ac:spMkLst>
        </pc:spChg>
        <pc:spChg chg="mod topLvl">
          <ac:chgData name="Olha Perminova (UA)" userId="3a6a8ff4-9418-475a-a23d-87d0c5689c66" providerId="ADAL" clId="{9A235F19-1981-498E-BA97-5613F340D513}" dt="2024-06-10T14:51:24.427" v="1176" actId="207"/>
          <ac:spMkLst>
            <pc:docMk/>
            <pc:sldMk cId="3998587978" sldId="2147481969"/>
            <ac:spMk id="125" creationId="{84B92153-AB66-C681-88B5-B7EB190E8C25}"/>
          </ac:spMkLst>
        </pc:spChg>
        <pc:spChg chg="mod topLvl">
          <ac:chgData name="Olha Perminova (UA)" userId="3a6a8ff4-9418-475a-a23d-87d0c5689c66" providerId="ADAL" clId="{9A235F19-1981-498E-BA97-5613F340D513}" dt="2024-06-10T14:51:27.701" v="1177" actId="207"/>
          <ac:spMkLst>
            <pc:docMk/>
            <pc:sldMk cId="3998587978" sldId="2147481969"/>
            <ac:spMk id="126" creationId="{47E228DA-B553-5493-665C-44D1692A9D12}"/>
          </ac:spMkLst>
        </pc:spChg>
        <pc:spChg chg="del mod">
          <ac:chgData name="Olha Perminova (UA)" userId="3a6a8ff4-9418-475a-a23d-87d0c5689c66" providerId="ADAL" clId="{9A235F19-1981-498E-BA97-5613F340D513}" dt="2024-06-10T14:46:36.832" v="942" actId="478"/>
          <ac:spMkLst>
            <pc:docMk/>
            <pc:sldMk cId="3998587978" sldId="2147481969"/>
            <ac:spMk id="127" creationId="{FFE4CFE7-10FB-E0F9-AE54-A456443B207D}"/>
          </ac:spMkLst>
        </pc:spChg>
        <pc:spChg chg="del">
          <ac:chgData name="Olha Perminova (UA)" userId="3a6a8ff4-9418-475a-a23d-87d0c5689c66" providerId="ADAL" clId="{9A235F19-1981-498E-BA97-5613F340D513}" dt="2024-06-10T14:24:13.156" v="934" actId="478"/>
          <ac:spMkLst>
            <pc:docMk/>
            <pc:sldMk cId="3998587978" sldId="2147481969"/>
            <ac:spMk id="131" creationId="{6764AC4B-FEF3-2CCD-15D3-7FDF812B793E}"/>
          </ac:spMkLst>
        </pc:spChg>
        <pc:spChg chg="add mod">
          <ac:chgData name="Olha Perminova (UA)" userId="3a6a8ff4-9418-475a-a23d-87d0c5689c66" providerId="ADAL" clId="{9A235F19-1981-498E-BA97-5613F340D513}" dt="2024-06-10T14:54:47.497" v="1228" actId="14100"/>
          <ac:spMkLst>
            <pc:docMk/>
            <pc:sldMk cId="3998587978" sldId="2147481969"/>
            <ac:spMk id="134" creationId="{CFDEC673-F15A-A608-8775-B4A0A0928B31}"/>
          </ac:spMkLst>
        </pc:spChg>
        <pc:spChg chg="add mod">
          <ac:chgData name="Olha Perminova (UA)" userId="3a6a8ff4-9418-475a-a23d-87d0c5689c66" providerId="ADAL" clId="{9A235F19-1981-498E-BA97-5613F340D513}" dt="2024-06-10T14:54:47.497" v="1228" actId="14100"/>
          <ac:spMkLst>
            <pc:docMk/>
            <pc:sldMk cId="3998587978" sldId="2147481969"/>
            <ac:spMk id="136" creationId="{2828282F-656A-0349-78B5-C46022B059AE}"/>
          </ac:spMkLst>
        </pc:spChg>
        <pc:spChg chg="add mod">
          <ac:chgData name="Olha Perminova (UA)" userId="3a6a8ff4-9418-475a-a23d-87d0c5689c66" providerId="ADAL" clId="{9A235F19-1981-498E-BA97-5613F340D513}" dt="2024-06-10T14:54:47.497" v="1228" actId="14100"/>
          <ac:spMkLst>
            <pc:docMk/>
            <pc:sldMk cId="3998587978" sldId="2147481969"/>
            <ac:spMk id="137" creationId="{B47CA079-37BF-9902-F192-1A93144D5175}"/>
          </ac:spMkLst>
        </pc:spChg>
        <pc:spChg chg="add mod">
          <ac:chgData name="Olha Perminova (UA)" userId="3a6a8ff4-9418-475a-a23d-87d0c5689c66" providerId="ADAL" clId="{9A235F19-1981-498E-BA97-5613F340D513}" dt="2024-06-10T14:54:47.497" v="1228" actId="14100"/>
          <ac:spMkLst>
            <pc:docMk/>
            <pc:sldMk cId="3998587978" sldId="2147481969"/>
            <ac:spMk id="138" creationId="{B972725F-F05A-9AF8-A780-28AAAD7FFF00}"/>
          </ac:spMkLst>
        </pc:spChg>
        <pc:spChg chg="add del mod modVis">
          <ac:chgData name="Olha Perminova (UA)" userId="3a6a8ff4-9418-475a-a23d-87d0c5689c66" providerId="ADAL" clId="{9A235F19-1981-498E-BA97-5613F340D513}" dt="2024-06-10T14:48:40.376" v="1080"/>
          <ac:spMkLst>
            <pc:docMk/>
            <pc:sldMk cId="3998587978" sldId="2147481969"/>
            <ac:spMk id="139" creationId="{448E3C82-E0FF-E084-A157-79B46BDC24E8}"/>
          </ac:spMkLst>
        </pc:spChg>
        <pc:spChg chg="add del mod modVis">
          <ac:chgData name="Olha Perminova (UA)" userId="3a6a8ff4-9418-475a-a23d-87d0c5689c66" providerId="ADAL" clId="{9A235F19-1981-498E-BA97-5613F340D513}" dt="2024-06-10T14:48:44.556" v="1122"/>
          <ac:spMkLst>
            <pc:docMk/>
            <pc:sldMk cId="3998587978" sldId="2147481969"/>
            <ac:spMk id="140" creationId="{ED69CE99-F04F-DA70-BA06-7A13939980C3}"/>
          </ac:spMkLst>
        </pc:spChg>
        <pc:spChg chg="add mod">
          <ac:chgData name="Olha Perminova (UA)" userId="3a6a8ff4-9418-475a-a23d-87d0c5689c66" providerId="ADAL" clId="{9A235F19-1981-498E-BA97-5613F340D513}" dt="2024-06-10T14:54:47.497" v="1228" actId="14100"/>
          <ac:spMkLst>
            <pc:docMk/>
            <pc:sldMk cId="3998587978" sldId="2147481969"/>
            <ac:spMk id="141" creationId="{6E1D3BB9-1788-2704-DC25-F283CE60D0B3}"/>
          </ac:spMkLst>
        </pc:spChg>
        <pc:spChg chg="add del mod">
          <ac:chgData name="Olha Perminova (UA)" userId="3a6a8ff4-9418-475a-a23d-87d0c5689c66" providerId="ADAL" clId="{9A235F19-1981-498E-BA97-5613F340D513}" dt="2024-06-10T14:54:50.800" v="1229" actId="478"/>
          <ac:spMkLst>
            <pc:docMk/>
            <pc:sldMk cId="3998587978" sldId="2147481969"/>
            <ac:spMk id="142" creationId="{1CBFA2A5-FB2F-D4BA-3DF2-6E03149E729E}"/>
          </ac:spMkLst>
        </pc:spChg>
        <pc:spChg chg="add mod">
          <ac:chgData name="Olha Perminova (UA)" userId="3a6a8ff4-9418-475a-a23d-87d0c5689c66" providerId="ADAL" clId="{9A235F19-1981-498E-BA97-5613F340D513}" dt="2024-06-10T14:55:36.355" v="1248" actId="6549"/>
          <ac:spMkLst>
            <pc:docMk/>
            <pc:sldMk cId="3998587978" sldId="2147481969"/>
            <ac:spMk id="143" creationId="{5791E58A-C025-5D3A-CCC7-D729968B9DA2}"/>
          </ac:spMkLst>
        </pc:spChg>
        <pc:spChg chg="del mod">
          <ac:chgData name="Olha Perminova (UA)" userId="3a6a8ff4-9418-475a-a23d-87d0c5689c66" providerId="ADAL" clId="{9A235F19-1981-498E-BA97-5613F340D513}" dt="2024-06-10T14:14:45.715" v="575" actId="478"/>
          <ac:spMkLst>
            <pc:docMk/>
            <pc:sldMk cId="3998587978" sldId="2147481969"/>
            <ac:spMk id="149" creationId="{4F8D49D5-4873-CB69-4B18-8429A53BCC9A}"/>
          </ac:spMkLst>
        </pc:spChg>
        <pc:grpChg chg="add del mod">
          <ac:chgData name="Olha Perminova (UA)" userId="3a6a8ff4-9418-475a-a23d-87d0c5689c66" providerId="ADAL" clId="{9A235F19-1981-498E-BA97-5613F340D513}" dt="2024-06-10T14:21:24.343" v="806" actId="478"/>
          <ac:grpSpMkLst>
            <pc:docMk/>
            <pc:sldMk cId="3998587978" sldId="2147481969"/>
            <ac:grpSpMk id="14" creationId="{7F8D157E-B78E-7D15-14CB-D27BF0D1B1F7}"/>
          </ac:grpSpMkLst>
        </pc:grpChg>
        <pc:grpChg chg="del mod">
          <ac:chgData name="Olha Perminova (UA)" userId="3a6a8ff4-9418-475a-a23d-87d0c5689c66" providerId="ADAL" clId="{9A235F19-1981-498E-BA97-5613F340D513}" dt="2024-06-10T14:16:18.180" v="654" actId="165"/>
          <ac:grpSpMkLst>
            <pc:docMk/>
            <pc:sldMk cId="3998587978" sldId="2147481969"/>
            <ac:grpSpMk id="30" creationId="{C5C4599D-50B9-1AA7-BE9F-BC3736FC71F2}"/>
          </ac:grpSpMkLst>
        </pc:grpChg>
        <pc:grpChg chg="del mod">
          <ac:chgData name="Olha Perminova (UA)" userId="3a6a8ff4-9418-475a-a23d-87d0c5689c66" providerId="ADAL" clId="{9A235F19-1981-498E-BA97-5613F340D513}" dt="2024-06-10T14:16:18.180" v="654" actId="165"/>
          <ac:grpSpMkLst>
            <pc:docMk/>
            <pc:sldMk cId="3998587978" sldId="2147481969"/>
            <ac:grpSpMk id="46" creationId="{1324A672-D1F1-FD5A-72D1-48C43942DF8F}"/>
          </ac:grpSpMkLst>
        </pc:grpChg>
        <pc:grpChg chg="del mod">
          <ac:chgData name="Olha Perminova (UA)" userId="3a6a8ff4-9418-475a-a23d-87d0c5689c66" providerId="ADAL" clId="{9A235F19-1981-498E-BA97-5613F340D513}" dt="2024-06-10T14:16:18.180" v="654" actId="165"/>
          <ac:grpSpMkLst>
            <pc:docMk/>
            <pc:sldMk cId="3998587978" sldId="2147481969"/>
            <ac:grpSpMk id="49" creationId="{0D8D010A-64F6-3698-58B5-25707D7DF964}"/>
          </ac:grpSpMkLst>
        </pc:grpChg>
        <pc:grpChg chg="del mod">
          <ac:chgData name="Olha Perminova (UA)" userId="3a6a8ff4-9418-475a-a23d-87d0c5689c66" providerId="ADAL" clId="{9A235F19-1981-498E-BA97-5613F340D513}" dt="2024-06-10T14:16:18.180" v="654" actId="165"/>
          <ac:grpSpMkLst>
            <pc:docMk/>
            <pc:sldMk cId="3998587978" sldId="2147481969"/>
            <ac:grpSpMk id="52" creationId="{671860C4-AE27-9D15-0B63-1F0D44C755A1}"/>
          </ac:grpSpMkLst>
        </pc:grpChg>
        <pc:grpChg chg="del mod">
          <ac:chgData name="Olha Perminova (UA)" userId="3a6a8ff4-9418-475a-a23d-87d0c5689c66" providerId="ADAL" clId="{9A235F19-1981-498E-BA97-5613F340D513}" dt="2024-06-10T14:21:24.343" v="806" actId="478"/>
          <ac:grpSpMkLst>
            <pc:docMk/>
            <pc:sldMk cId="3998587978" sldId="2147481969"/>
            <ac:grpSpMk id="55" creationId="{980BD1CA-D4A1-DC53-347E-8B3166BB9160}"/>
          </ac:grpSpMkLst>
        </pc:grpChg>
        <pc:grpChg chg="del mod">
          <ac:chgData name="Olha Perminova (UA)" userId="3a6a8ff4-9418-475a-a23d-87d0c5689c66" providerId="ADAL" clId="{9A235F19-1981-498E-BA97-5613F340D513}" dt="2024-06-10T14:21:24.343" v="806" actId="478"/>
          <ac:grpSpMkLst>
            <pc:docMk/>
            <pc:sldMk cId="3998587978" sldId="2147481969"/>
            <ac:grpSpMk id="58" creationId="{26DED851-1CA6-CEBE-9BC7-3282413222E8}"/>
          </ac:grpSpMkLst>
        </pc:grpChg>
        <pc:grpChg chg="del mod">
          <ac:chgData name="Olha Perminova (UA)" userId="3a6a8ff4-9418-475a-a23d-87d0c5689c66" providerId="ADAL" clId="{9A235F19-1981-498E-BA97-5613F340D513}" dt="2024-06-10T14:21:24.343" v="806" actId="478"/>
          <ac:grpSpMkLst>
            <pc:docMk/>
            <pc:sldMk cId="3998587978" sldId="2147481969"/>
            <ac:grpSpMk id="61" creationId="{1CE48FF5-39DC-629B-7D3A-387472804D3D}"/>
          </ac:grpSpMkLst>
        </pc:grpChg>
        <pc:grpChg chg="del">
          <ac:chgData name="Olha Perminova (UA)" userId="3a6a8ff4-9418-475a-a23d-87d0c5689c66" providerId="ADAL" clId="{9A235F19-1981-498E-BA97-5613F340D513}" dt="2024-06-10T14:24:13.156" v="934" actId="478"/>
          <ac:grpSpMkLst>
            <pc:docMk/>
            <pc:sldMk cId="3998587978" sldId="2147481969"/>
            <ac:grpSpMk id="70" creationId="{89633096-6853-31FC-9D54-D6FD2D79A567}"/>
          </ac:grpSpMkLst>
        </pc:grpChg>
        <pc:grpChg chg="del mod">
          <ac:chgData name="Olha Perminova (UA)" userId="3a6a8ff4-9418-475a-a23d-87d0c5689c66" providerId="ADAL" clId="{9A235F19-1981-498E-BA97-5613F340D513}" dt="2024-06-10T14:16:03.919" v="650" actId="165"/>
          <ac:grpSpMkLst>
            <pc:docMk/>
            <pc:sldMk cId="3998587978" sldId="2147481969"/>
            <ac:grpSpMk id="71" creationId="{C05E4F0F-FB57-3CFE-9E92-93D6F012925D}"/>
          </ac:grpSpMkLst>
        </pc:grpChg>
        <pc:grpChg chg="add del mod">
          <ac:chgData name="Olha Perminova (UA)" userId="3a6a8ff4-9418-475a-a23d-87d0c5689c66" providerId="ADAL" clId="{9A235F19-1981-498E-BA97-5613F340D513}" dt="2024-06-10T14:47:34.250" v="952" actId="165"/>
          <ac:grpSpMkLst>
            <pc:docMk/>
            <pc:sldMk cId="3998587978" sldId="2147481969"/>
            <ac:grpSpMk id="83" creationId="{FB307459-1874-8169-EFFA-4D14D308BB08}"/>
          </ac:grpSpMkLst>
        </pc:grpChg>
        <pc:grpChg chg="add mod">
          <ac:chgData name="Olha Perminova (UA)" userId="3a6a8ff4-9418-475a-a23d-87d0c5689c66" providerId="ADAL" clId="{9A235F19-1981-498E-BA97-5613F340D513}" dt="2024-06-10T14:20:59.897" v="768" actId="1076"/>
          <ac:grpSpMkLst>
            <pc:docMk/>
            <pc:sldMk cId="3998587978" sldId="2147481969"/>
            <ac:grpSpMk id="85" creationId="{8942B4A7-B037-D953-3055-4B1C05D34065}"/>
          </ac:grpSpMkLst>
        </pc:grpChg>
        <pc:grpChg chg="add mod">
          <ac:chgData name="Olha Perminova (UA)" userId="3a6a8ff4-9418-475a-a23d-87d0c5689c66" providerId="ADAL" clId="{9A235F19-1981-498E-BA97-5613F340D513}" dt="2024-06-10T14:20:54.200" v="765" actId="554"/>
          <ac:grpSpMkLst>
            <pc:docMk/>
            <pc:sldMk cId="3998587978" sldId="2147481969"/>
            <ac:grpSpMk id="86" creationId="{A1ED5FC0-03AB-4FD5-B5A4-311BF7E24FA5}"/>
          </ac:grpSpMkLst>
        </pc:grpChg>
        <pc:grpChg chg="add mod topLvl">
          <ac:chgData name="Olha Perminova (UA)" userId="3a6a8ff4-9418-475a-a23d-87d0c5689c66" providerId="ADAL" clId="{9A235F19-1981-498E-BA97-5613F340D513}" dt="2024-06-10T14:23:01.539" v="901" actId="165"/>
          <ac:grpSpMkLst>
            <pc:docMk/>
            <pc:sldMk cId="3998587978" sldId="2147481969"/>
            <ac:grpSpMk id="87" creationId="{3E9CEFB6-7063-23FE-C68F-CE74EA719DEC}"/>
          </ac:grpSpMkLst>
        </pc:grpChg>
        <pc:grpChg chg="add mod">
          <ac:chgData name="Olha Perminova (UA)" userId="3a6a8ff4-9418-475a-a23d-87d0c5689c66" providerId="ADAL" clId="{9A235F19-1981-498E-BA97-5613F340D513}" dt="2024-06-10T14:20:52.366" v="764" actId="554"/>
          <ac:grpSpMkLst>
            <pc:docMk/>
            <pc:sldMk cId="3998587978" sldId="2147481969"/>
            <ac:grpSpMk id="88" creationId="{252DCC70-2CD2-A590-0C8D-95B507F7ABCE}"/>
          </ac:grpSpMkLst>
        </pc:grpChg>
        <pc:grpChg chg="add mod">
          <ac:chgData name="Olha Perminova (UA)" userId="3a6a8ff4-9418-475a-a23d-87d0c5689c66" providerId="ADAL" clId="{9A235F19-1981-498E-BA97-5613F340D513}" dt="2024-06-10T14:53:39.647" v="1214" actId="1037"/>
          <ac:grpSpMkLst>
            <pc:docMk/>
            <pc:sldMk cId="3998587978" sldId="2147481969"/>
            <ac:grpSpMk id="89" creationId="{488753B2-E69D-A02A-D079-8A62C0B593B5}"/>
          </ac:grpSpMkLst>
        </pc:grpChg>
        <pc:grpChg chg="add mod">
          <ac:chgData name="Olha Perminova (UA)" userId="3a6a8ff4-9418-475a-a23d-87d0c5689c66" providerId="ADAL" clId="{9A235F19-1981-498E-BA97-5613F340D513}" dt="2024-06-10T14:53:39.647" v="1214" actId="1037"/>
          <ac:grpSpMkLst>
            <pc:docMk/>
            <pc:sldMk cId="3998587978" sldId="2147481969"/>
            <ac:grpSpMk id="92" creationId="{A8F7375C-32A3-BB97-3BA1-E98792ECC3E4}"/>
          </ac:grpSpMkLst>
        </pc:grpChg>
        <pc:grpChg chg="add mod">
          <ac:chgData name="Olha Perminova (UA)" userId="3a6a8ff4-9418-475a-a23d-87d0c5689c66" providerId="ADAL" clId="{9A235F19-1981-498E-BA97-5613F340D513}" dt="2024-06-10T14:53:39.647" v="1214" actId="1037"/>
          <ac:grpSpMkLst>
            <pc:docMk/>
            <pc:sldMk cId="3998587978" sldId="2147481969"/>
            <ac:grpSpMk id="95" creationId="{4EEFDCDC-EBE9-5665-2952-5B1BD1A32D5D}"/>
          </ac:grpSpMkLst>
        </pc:grpChg>
        <pc:grpChg chg="add mod topLvl">
          <ac:chgData name="Olha Perminova (UA)" userId="3a6a8ff4-9418-475a-a23d-87d0c5689c66" providerId="ADAL" clId="{9A235F19-1981-498E-BA97-5613F340D513}" dt="2024-06-10T14:53:39.647" v="1214" actId="1037"/>
          <ac:grpSpMkLst>
            <pc:docMk/>
            <pc:sldMk cId="3998587978" sldId="2147481969"/>
            <ac:grpSpMk id="98" creationId="{88BE07E1-AD47-FE58-C6C5-7DA7BED804DC}"/>
          </ac:grpSpMkLst>
        </pc:grpChg>
        <pc:grpChg chg="add del mod">
          <ac:chgData name="Olha Perminova (UA)" userId="3a6a8ff4-9418-475a-a23d-87d0c5689c66" providerId="ADAL" clId="{9A235F19-1981-498E-BA97-5613F340D513}" dt="2024-06-10T14:23:01.539" v="901" actId="165"/>
          <ac:grpSpMkLst>
            <pc:docMk/>
            <pc:sldMk cId="3998587978" sldId="2147481969"/>
            <ac:grpSpMk id="102" creationId="{65615B9B-AEFF-E75C-9E59-E5D2C1A6C39A}"/>
          </ac:grpSpMkLst>
        </pc:grpChg>
        <pc:grpChg chg="add mod">
          <ac:chgData name="Olha Perminova (UA)" userId="3a6a8ff4-9418-475a-a23d-87d0c5689c66" providerId="ADAL" clId="{9A235F19-1981-498E-BA97-5613F340D513}" dt="2024-06-10T14:22:08.074" v="894"/>
          <ac:grpSpMkLst>
            <pc:docMk/>
            <pc:sldMk cId="3998587978" sldId="2147481969"/>
            <ac:grpSpMk id="104" creationId="{880F8A21-5B82-3560-8D5D-2FD7D58C765F}"/>
          </ac:grpSpMkLst>
        </pc:grpChg>
        <pc:grpChg chg="add del mod">
          <ac:chgData name="Olha Perminova (UA)" userId="3a6a8ff4-9418-475a-a23d-87d0c5689c66" providerId="ADAL" clId="{9A235F19-1981-498E-BA97-5613F340D513}" dt="2024-06-10T14:23:01.539" v="901" actId="165"/>
          <ac:grpSpMkLst>
            <pc:docMk/>
            <pc:sldMk cId="3998587978" sldId="2147481969"/>
            <ac:grpSpMk id="109" creationId="{DAC4680B-1131-8085-0FF8-843E2E87F21F}"/>
          </ac:grpSpMkLst>
        </pc:grpChg>
        <pc:grpChg chg="add del mod">
          <ac:chgData name="Olha Perminova (UA)" userId="3a6a8ff4-9418-475a-a23d-87d0c5689c66" providerId="ADAL" clId="{9A235F19-1981-498E-BA97-5613F340D513}" dt="2024-06-10T14:47:34.250" v="952" actId="165"/>
          <ac:grpSpMkLst>
            <pc:docMk/>
            <pc:sldMk cId="3998587978" sldId="2147481969"/>
            <ac:grpSpMk id="112" creationId="{13B43323-84BD-E7A6-1633-76638E5D00D8}"/>
          </ac:grpSpMkLst>
        </pc:grpChg>
        <pc:grpChg chg="add del mod">
          <ac:chgData name="Olha Perminova (UA)" userId="3a6a8ff4-9418-475a-a23d-87d0c5689c66" providerId="ADAL" clId="{9A235F19-1981-498E-BA97-5613F340D513}" dt="2024-06-10T14:47:34.250" v="952" actId="165"/>
          <ac:grpSpMkLst>
            <pc:docMk/>
            <pc:sldMk cId="3998587978" sldId="2147481969"/>
            <ac:grpSpMk id="116" creationId="{054E125B-6AEC-5978-BB3D-04F18FE83DC3}"/>
          </ac:grpSpMkLst>
        </pc:grpChg>
        <pc:grpChg chg="add del mod">
          <ac:chgData name="Olha Perminova (UA)" userId="3a6a8ff4-9418-475a-a23d-87d0c5689c66" providerId="ADAL" clId="{9A235F19-1981-498E-BA97-5613F340D513}" dt="2024-06-10T14:47:34.250" v="952" actId="165"/>
          <ac:grpSpMkLst>
            <pc:docMk/>
            <pc:sldMk cId="3998587978" sldId="2147481969"/>
            <ac:grpSpMk id="120" creationId="{7FA26ACD-A827-D399-B469-1940308093B2}"/>
          </ac:grpSpMkLst>
        </pc:grpChg>
        <pc:grpChg chg="add del mod">
          <ac:chgData name="Olha Perminova (UA)" userId="3a6a8ff4-9418-475a-a23d-87d0c5689c66" providerId="ADAL" clId="{9A235F19-1981-498E-BA97-5613F340D513}" dt="2024-06-10T14:47:34.250" v="952" actId="165"/>
          <ac:grpSpMkLst>
            <pc:docMk/>
            <pc:sldMk cId="3998587978" sldId="2147481969"/>
            <ac:grpSpMk id="124" creationId="{24B9EDC6-52B8-F719-0D34-0D5ED21CA4D2}"/>
          </ac:grpSpMkLst>
        </pc:grpChg>
        <pc:grpChg chg="add mod">
          <ac:chgData name="Olha Perminova (UA)" userId="3a6a8ff4-9418-475a-a23d-87d0c5689c66" providerId="ADAL" clId="{9A235F19-1981-498E-BA97-5613F340D513}" dt="2024-06-10T14:54:34.406" v="1227" actId="552"/>
          <ac:grpSpMkLst>
            <pc:docMk/>
            <pc:sldMk cId="3998587978" sldId="2147481969"/>
            <ac:grpSpMk id="128" creationId="{1BBF61EB-54A3-8665-D91C-30DDDF4098C8}"/>
          </ac:grpSpMkLst>
        </pc:grpChg>
        <pc:grpChg chg="add mod">
          <ac:chgData name="Olha Perminova (UA)" userId="3a6a8ff4-9418-475a-a23d-87d0c5689c66" providerId="ADAL" clId="{9A235F19-1981-498E-BA97-5613F340D513}" dt="2024-06-10T14:54:34.406" v="1227" actId="552"/>
          <ac:grpSpMkLst>
            <pc:docMk/>
            <pc:sldMk cId="3998587978" sldId="2147481969"/>
            <ac:grpSpMk id="129" creationId="{E19A6BF1-A235-FF4C-2DB0-D32164F9C357}"/>
          </ac:grpSpMkLst>
        </pc:grpChg>
        <pc:grpChg chg="add mod">
          <ac:chgData name="Olha Perminova (UA)" userId="3a6a8ff4-9418-475a-a23d-87d0c5689c66" providerId="ADAL" clId="{9A235F19-1981-498E-BA97-5613F340D513}" dt="2024-06-10T14:54:34.406" v="1227" actId="552"/>
          <ac:grpSpMkLst>
            <pc:docMk/>
            <pc:sldMk cId="3998587978" sldId="2147481969"/>
            <ac:grpSpMk id="130" creationId="{FAD7FD5B-8D9F-0AF3-470D-AAC77EE25811}"/>
          </ac:grpSpMkLst>
        </pc:grpChg>
        <pc:grpChg chg="add mod">
          <ac:chgData name="Olha Perminova (UA)" userId="3a6a8ff4-9418-475a-a23d-87d0c5689c66" providerId="ADAL" clId="{9A235F19-1981-498E-BA97-5613F340D513}" dt="2024-06-10T14:54:34.406" v="1227" actId="552"/>
          <ac:grpSpMkLst>
            <pc:docMk/>
            <pc:sldMk cId="3998587978" sldId="2147481969"/>
            <ac:grpSpMk id="132" creationId="{916DCBBB-40AC-CB72-D782-374D03857D2F}"/>
          </ac:grpSpMkLst>
        </pc:grpChg>
        <pc:grpChg chg="add mod">
          <ac:chgData name="Olha Perminova (UA)" userId="3a6a8ff4-9418-475a-a23d-87d0c5689c66" providerId="ADAL" clId="{9A235F19-1981-498E-BA97-5613F340D513}" dt="2024-06-10T14:54:34.406" v="1227" actId="552"/>
          <ac:grpSpMkLst>
            <pc:docMk/>
            <pc:sldMk cId="3998587978" sldId="2147481969"/>
            <ac:grpSpMk id="133" creationId="{4C2AFF10-FE6F-4ADE-CB07-1E4A03BD9D16}"/>
          </ac:grpSpMkLst>
        </pc:grpChg>
        <pc:graphicFrameChg chg="mod">
          <ac:chgData name="Olha Perminova (UA)" userId="3a6a8ff4-9418-475a-a23d-87d0c5689c66" providerId="ADAL" clId="{9A235F19-1981-498E-BA97-5613F340D513}" dt="2024-06-10T14:48:58.471" v="1145"/>
          <ac:graphicFrameMkLst>
            <pc:docMk/>
            <pc:sldMk cId="3998587978" sldId="2147481969"/>
            <ac:graphicFrameMk id="18" creationId="{B17D7669-20A3-7481-8F23-CD69449C9745}"/>
          </ac:graphicFrameMkLst>
        </pc:graphicFrameChg>
      </pc:sldChg>
    </pc:docChg>
  </pc:docChgLst>
  <pc:docChgLst>
    <pc:chgData name="Annemarija Apine (LV)" userId="S::annemarija.apine@pwc.com::546f5c59-3b8d-47fd-b739-a8fadc631053" providerId="AD" clId="Web-{35A73284-F35F-56B8-AA7B-C375590B3A3B}"/>
    <pc:docChg chg="modSld">
      <pc:chgData name="Annemarija Apine (LV)" userId="S::annemarija.apine@pwc.com::546f5c59-3b8d-47fd-b739-a8fadc631053" providerId="AD" clId="Web-{35A73284-F35F-56B8-AA7B-C375590B3A3B}" dt="2024-07-08T15:33:31.539" v="9"/>
      <pc:docMkLst>
        <pc:docMk/>
      </pc:docMkLst>
      <pc:sldChg chg="addSp delSp">
        <pc:chgData name="Annemarija Apine (LV)" userId="S::annemarija.apine@pwc.com::546f5c59-3b8d-47fd-b739-a8fadc631053" providerId="AD" clId="Web-{35A73284-F35F-56B8-AA7B-C375590B3A3B}" dt="2024-07-08T15:33:24.930" v="5"/>
        <pc:sldMkLst>
          <pc:docMk/>
          <pc:sldMk cId="796361483" sldId="2147481942"/>
        </pc:sldMkLst>
        <pc:spChg chg="del">
          <ac:chgData name="Annemarija Apine (LV)" userId="S::annemarija.apine@pwc.com::546f5c59-3b8d-47fd-b739-a8fadc631053" providerId="AD" clId="Web-{35A73284-F35F-56B8-AA7B-C375590B3A3B}" dt="2024-07-08T15:33:24.836" v="4"/>
          <ac:spMkLst>
            <pc:docMk/>
            <pc:sldMk cId="796361483" sldId="2147481942"/>
            <ac:spMk id="3" creationId="{7D84EAD6-3EE4-C052-2B5F-2FFA6C0D7A59}"/>
          </ac:spMkLst>
        </pc:spChg>
        <pc:spChg chg="add">
          <ac:chgData name="Annemarija Apine (LV)" userId="S::annemarija.apine@pwc.com::546f5c59-3b8d-47fd-b739-a8fadc631053" providerId="AD" clId="Web-{35A73284-F35F-56B8-AA7B-C375590B3A3B}" dt="2024-07-08T15:33:24.930" v="5"/>
          <ac:spMkLst>
            <pc:docMk/>
            <pc:sldMk cId="796361483" sldId="2147481942"/>
            <ac:spMk id="4" creationId="{105587AA-FA0F-DDB0-8F03-3B49380D72FD}"/>
          </ac:spMkLst>
        </pc:spChg>
      </pc:sldChg>
      <pc:sldChg chg="addSp delSp modSp">
        <pc:chgData name="Annemarija Apine (LV)" userId="S::annemarija.apine@pwc.com::546f5c59-3b8d-47fd-b739-a8fadc631053" providerId="AD" clId="Web-{35A73284-F35F-56B8-AA7B-C375590B3A3B}" dt="2024-07-08T15:33:27.617" v="7"/>
        <pc:sldMkLst>
          <pc:docMk/>
          <pc:sldMk cId="1527880861" sldId="2147481962"/>
        </pc:sldMkLst>
        <pc:spChg chg="del">
          <ac:chgData name="Annemarija Apine (LV)" userId="S::annemarija.apine@pwc.com::546f5c59-3b8d-47fd-b739-a8fadc631053" providerId="AD" clId="Web-{35A73284-F35F-56B8-AA7B-C375590B3A3B}" dt="2024-07-08T15:33:27.367" v="6"/>
          <ac:spMkLst>
            <pc:docMk/>
            <pc:sldMk cId="1527880861" sldId="2147481962"/>
            <ac:spMk id="3" creationId="{7D84EAD6-3EE4-C052-2B5F-2FFA6C0D7A59}"/>
          </ac:spMkLst>
        </pc:spChg>
        <pc:spChg chg="add">
          <ac:chgData name="Annemarija Apine (LV)" userId="S::annemarija.apine@pwc.com::546f5c59-3b8d-47fd-b739-a8fadc631053" providerId="AD" clId="Web-{35A73284-F35F-56B8-AA7B-C375590B3A3B}" dt="2024-07-08T15:33:27.617" v="7"/>
          <ac:spMkLst>
            <pc:docMk/>
            <pc:sldMk cId="1527880861" sldId="2147481962"/>
            <ac:spMk id="4" creationId="{98C84147-9168-8D75-2941-0234E6F2685C}"/>
          </ac:spMkLst>
        </pc:spChg>
        <pc:spChg chg="mod">
          <ac:chgData name="Annemarija Apine (LV)" userId="S::annemarija.apine@pwc.com::546f5c59-3b8d-47fd-b739-a8fadc631053" providerId="AD" clId="Web-{35A73284-F35F-56B8-AA7B-C375590B3A3B}" dt="2024-07-08T15:33:16.539" v="1" actId="20577"/>
          <ac:spMkLst>
            <pc:docMk/>
            <pc:sldMk cId="1527880861" sldId="2147481962"/>
            <ac:spMk id="7" creationId="{A168F800-7305-A09D-AF78-9EB408346FA0}"/>
          </ac:spMkLst>
        </pc:spChg>
      </pc:sldChg>
      <pc:sldChg chg="addSp delSp modSp">
        <pc:chgData name="Annemarija Apine (LV)" userId="S::annemarija.apine@pwc.com::546f5c59-3b8d-47fd-b739-a8fadc631053" providerId="AD" clId="Web-{35A73284-F35F-56B8-AA7B-C375590B3A3B}" dt="2024-07-08T15:33:31.539" v="9"/>
        <pc:sldMkLst>
          <pc:docMk/>
          <pc:sldMk cId="3140329955" sldId="2147481963"/>
        </pc:sldMkLst>
        <pc:spChg chg="del">
          <ac:chgData name="Annemarija Apine (LV)" userId="S::annemarija.apine@pwc.com::546f5c59-3b8d-47fd-b739-a8fadc631053" providerId="AD" clId="Web-{35A73284-F35F-56B8-AA7B-C375590B3A3B}" dt="2024-07-08T15:33:31.321" v="8"/>
          <ac:spMkLst>
            <pc:docMk/>
            <pc:sldMk cId="3140329955" sldId="2147481963"/>
            <ac:spMk id="3" creationId="{7D84EAD6-3EE4-C052-2B5F-2FFA6C0D7A59}"/>
          </ac:spMkLst>
        </pc:spChg>
        <pc:spChg chg="add">
          <ac:chgData name="Annemarija Apine (LV)" userId="S::annemarija.apine@pwc.com::546f5c59-3b8d-47fd-b739-a8fadc631053" providerId="AD" clId="Web-{35A73284-F35F-56B8-AA7B-C375590B3A3B}" dt="2024-07-08T15:33:31.539" v="9"/>
          <ac:spMkLst>
            <pc:docMk/>
            <pc:sldMk cId="3140329955" sldId="2147481963"/>
            <ac:spMk id="4" creationId="{494C7222-AE98-0AC7-435A-C552BE73C91E}"/>
          </ac:spMkLst>
        </pc:spChg>
        <pc:spChg chg="mod">
          <ac:chgData name="Annemarija Apine (LV)" userId="S::annemarija.apine@pwc.com::546f5c59-3b8d-47fd-b739-a8fadc631053" providerId="AD" clId="Web-{35A73284-F35F-56B8-AA7B-C375590B3A3B}" dt="2024-07-08T15:33:19.211" v="3" actId="20577"/>
          <ac:spMkLst>
            <pc:docMk/>
            <pc:sldMk cId="3140329955" sldId="2147481963"/>
            <ac:spMk id="7" creationId="{A168F800-7305-A09D-AF78-9EB408346FA0}"/>
          </ac:spMkLst>
        </pc:spChg>
      </pc:sldChg>
    </pc:docChg>
  </pc:docChgLst>
  <pc:docChgLst>
    <pc:chgData name="Sindija Kirsteine (LV)" userId="5f25501a-2215-4bb3-9d9c-8d1484ffa7c1" providerId="ADAL" clId="{D7852ECE-A92D-45BF-9C74-2B2AE819D074}"/>
    <pc:docChg chg="custSel modSld replTag">
      <pc:chgData name="Sindija Kirsteine (LV)" userId="5f25501a-2215-4bb3-9d9c-8d1484ffa7c1" providerId="ADAL" clId="{D7852ECE-A92D-45BF-9C74-2B2AE819D074}" dt="2024-09-02T07:07:41.071" v="57"/>
      <pc:docMkLst>
        <pc:docMk/>
      </pc:docMkLst>
      <pc:sldChg chg="modSp mod">
        <pc:chgData name="Sindija Kirsteine (LV)" userId="5f25501a-2215-4bb3-9d9c-8d1484ffa7c1" providerId="ADAL" clId="{D7852ECE-A92D-45BF-9C74-2B2AE819D074}" dt="2024-09-02T07:07:33.855" v="51" actId="21"/>
        <pc:sldMkLst>
          <pc:docMk/>
          <pc:sldMk cId="796361483" sldId="2147481942"/>
        </pc:sldMkLst>
        <pc:spChg chg="mod">
          <ac:chgData name="Sindija Kirsteine (LV)" userId="5f25501a-2215-4bb3-9d9c-8d1484ffa7c1" providerId="ADAL" clId="{D7852ECE-A92D-45BF-9C74-2B2AE819D074}" dt="2024-09-02T07:07:33.855" v="51" actId="21"/>
          <ac:spMkLst>
            <pc:docMk/>
            <pc:sldMk cId="796361483" sldId="2147481942"/>
            <ac:spMk id="24" creationId="{20F6161A-E3E2-A765-A44D-92728895AC83}"/>
          </ac:spMkLst>
        </pc:spChg>
      </pc:sldChg>
      <pc:sldChg chg="modSp mod">
        <pc:chgData name="Sindija Kirsteine (LV)" userId="5f25501a-2215-4bb3-9d9c-8d1484ffa7c1" providerId="ADAL" clId="{D7852ECE-A92D-45BF-9C74-2B2AE819D074}" dt="2024-09-02T07:07:37.930" v="56" actId="20577"/>
        <pc:sldMkLst>
          <pc:docMk/>
          <pc:sldMk cId="1527880861" sldId="2147481962"/>
        </pc:sldMkLst>
        <pc:spChg chg="mod">
          <ac:chgData name="Sindija Kirsteine (LV)" userId="5f25501a-2215-4bb3-9d9c-8d1484ffa7c1" providerId="ADAL" clId="{D7852ECE-A92D-45BF-9C74-2B2AE819D074}" dt="2024-09-02T07:07:37.930" v="56" actId="20577"/>
          <ac:spMkLst>
            <pc:docMk/>
            <pc:sldMk cId="1527880861" sldId="2147481962"/>
            <ac:spMk id="24" creationId="{20F6161A-E3E2-A765-A44D-92728895AC83}"/>
          </ac:spMkLst>
        </pc:spChg>
      </pc:sldChg>
      <pc:sldChg chg="modSp mod">
        <pc:chgData name="Sindija Kirsteine (LV)" userId="5f25501a-2215-4bb3-9d9c-8d1484ffa7c1" providerId="ADAL" clId="{D7852ECE-A92D-45BF-9C74-2B2AE819D074}" dt="2024-09-02T07:07:29.462" v="49" actId="20577"/>
        <pc:sldMkLst>
          <pc:docMk/>
          <pc:sldMk cId="3140329955" sldId="2147481963"/>
        </pc:sldMkLst>
        <pc:spChg chg="mod">
          <ac:chgData name="Sindija Kirsteine (LV)" userId="5f25501a-2215-4bb3-9d9c-8d1484ffa7c1" providerId="ADAL" clId="{D7852ECE-A92D-45BF-9C74-2B2AE819D074}" dt="2024-09-02T07:07:29.462" v="49" actId="20577"/>
          <ac:spMkLst>
            <pc:docMk/>
            <pc:sldMk cId="3140329955" sldId="2147481963"/>
            <ac:spMk id="24" creationId="{20F6161A-E3E2-A765-A44D-92728895AC83}"/>
          </ac:spMkLst>
        </pc:spChg>
      </pc:sldChg>
    </pc:docChg>
  </pc:docChgLst>
  <pc:docChgLst>
    <pc:chgData name="Sindija Kirsteine (LV)" userId="5f25501a-2215-4bb3-9d9c-8d1484ffa7c1" providerId="ADAL" clId="{AD634740-2A4A-4DBA-91EE-B286EB63FCB7}"/>
    <pc:docChg chg="undo custSel addSld delSld modSld sldOrd replTag">
      <pc:chgData name="Sindija Kirsteine (LV)" userId="5f25501a-2215-4bb3-9d9c-8d1484ffa7c1" providerId="ADAL" clId="{AD634740-2A4A-4DBA-91EE-B286EB63FCB7}" dt="2024-06-10T09:35:33.308" v="3118"/>
      <pc:docMkLst>
        <pc:docMk/>
      </pc:docMkLst>
      <pc:sldChg chg="modSp mod">
        <pc:chgData name="Sindija Kirsteine (LV)" userId="5f25501a-2215-4bb3-9d9c-8d1484ffa7c1" providerId="ADAL" clId="{AD634740-2A4A-4DBA-91EE-B286EB63FCB7}" dt="2024-06-05T08:35:39.276" v="875" actId="20577"/>
        <pc:sldMkLst>
          <pc:docMk/>
          <pc:sldMk cId="0" sldId="257"/>
        </pc:sldMkLst>
        <pc:spChg chg="mod">
          <ac:chgData name="Sindija Kirsteine (LV)" userId="5f25501a-2215-4bb3-9d9c-8d1484ffa7c1" providerId="ADAL" clId="{AD634740-2A4A-4DBA-91EE-B286EB63FCB7}" dt="2024-06-05T08:25:40.085" v="537"/>
          <ac:spMkLst>
            <pc:docMk/>
            <pc:sldMk cId="0" sldId="257"/>
            <ac:spMk id="4" creationId="{D2DC2135-6C91-C657-7AF3-7AE1A1FE4EA9}"/>
          </ac:spMkLst>
        </pc:spChg>
        <pc:spChg chg="mod">
          <ac:chgData name="Sindija Kirsteine (LV)" userId="5f25501a-2215-4bb3-9d9c-8d1484ffa7c1" providerId="ADAL" clId="{AD634740-2A4A-4DBA-91EE-B286EB63FCB7}" dt="2024-06-05T08:35:39.276" v="875" actId="20577"/>
          <ac:spMkLst>
            <pc:docMk/>
            <pc:sldMk cId="0" sldId="257"/>
            <ac:spMk id="43" creationId="{062F8418-DF01-4DEB-DD86-BFE5C35728DB}"/>
          </ac:spMkLst>
        </pc:spChg>
        <pc:spChg chg="mod">
          <ac:chgData name="Sindija Kirsteine (LV)" userId="5f25501a-2215-4bb3-9d9c-8d1484ffa7c1" providerId="ADAL" clId="{AD634740-2A4A-4DBA-91EE-B286EB63FCB7}" dt="2024-06-05T08:35:30.974" v="867" actId="20577"/>
          <ac:spMkLst>
            <pc:docMk/>
            <pc:sldMk cId="0" sldId="257"/>
            <ac:spMk id="44" creationId="{B5C75262-5B73-0D6D-2784-7C4146FFCE0D}"/>
          </ac:spMkLst>
        </pc:spChg>
        <pc:spChg chg="mod">
          <ac:chgData name="Sindija Kirsteine (LV)" userId="5f25501a-2215-4bb3-9d9c-8d1484ffa7c1" providerId="ADAL" clId="{AD634740-2A4A-4DBA-91EE-B286EB63FCB7}" dt="2024-06-05T08:35:32.874" v="869" actId="20577"/>
          <ac:spMkLst>
            <pc:docMk/>
            <pc:sldMk cId="0" sldId="257"/>
            <ac:spMk id="46" creationId="{D3984ABA-C280-1233-6275-A6FFB82AC7C6}"/>
          </ac:spMkLst>
        </pc:spChg>
        <pc:spChg chg="mod">
          <ac:chgData name="Sindija Kirsteine (LV)" userId="5f25501a-2215-4bb3-9d9c-8d1484ffa7c1" providerId="ADAL" clId="{AD634740-2A4A-4DBA-91EE-B286EB63FCB7}" dt="2024-06-05T08:35:34.648" v="871" actId="20577"/>
          <ac:spMkLst>
            <pc:docMk/>
            <pc:sldMk cId="0" sldId="257"/>
            <ac:spMk id="47" creationId="{22420D02-673E-A1D3-B38E-73257965E943}"/>
          </ac:spMkLst>
        </pc:spChg>
        <pc:spChg chg="mod">
          <ac:chgData name="Sindija Kirsteine (LV)" userId="5f25501a-2215-4bb3-9d9c-8d1484ffa7c1" providerId="ADAL" clId="{AD634740-2A4A-4DBA-91EE-B286EB63FCB7}" dt="2024-06-05T08:35:36.532" v="873" actId="20577"/>
          <ac:spMkLst>
            <pc:docMk/>
            <pc:sldMk cId="0" sldId="257"/>
            <ac:spMk id="48" creationId="{533E4F8D-7B13-9790-8931-DFE03A2CF14A}"/>
          </ac:spMkLst>
        </pc:spChg>
        <pc:spChg chg="mod">
          <ac:chgData name="Sindija Kirsteine (LV)" userId="5f25501a-2215-4bb3-9d9c-8d1484ffa7c1" providerId="ADAL" clId="{AD634740-2A4A-4DBA-91EE-B286EB63FCB7}" dt="2024-06-05T08:35:28.793" v="865" actId="20577"/>
          <ac:spMkLst>
            <pc:docMk/>
            <pc:sldMk cId="0" sldId="257"/>
            <ac:spMk id="51" creationId="{81AF180C-6B8F-CA49-F52D-1B3F038B0FBD}"/>
          </ac:spMkLst>
        </pc:spChg>
      </pc:sldChg>
      <pc:sldChg chg="addSp delSp modSp mod">
        <pc:chgData name="Sindija Kirsteine (LV)" userId="5f25501a-2215-4bb3-9d9c-8d1484ffa7c1" providerId="ADAL" clId="{AD634740-2A4A-4DBA-91EE-B286EB63FCB7}" dt="2024-06-05T08:27:48.043" v="602"/>
        <pc:sldMkLst>
          <pc:docMk/>
          <pc:sldMk cId="1395428684" sldId="269"/>
        </pc:sldMkLst>
        <pc:spChg chg="mod">
          <ac:chgData name="Sindija Kirsteine (LV)" userId="5f25501a-2215-4bb3-9d9c-8d1484ffa7c1" providerId="ADAL" clId="{AD634740-2A4A-4DBA-91EE-B286EB63FCB7}" dt="2024-06-05T08:22:49.695" v="435"/>
          <ac:spMkLst>
            <pc:docMk/>
            <pc:sldMk cId="1395428684" sldId="269"/>
            <ac:spMk id="3" creationId="{07B729B6-6A1E-DA06-7FD1-06B57DF4CA3D}"/>
          </ac:spMkLst>
        </pc:spChg>
        <pc:spChg chg="mod">
          <ac:chgData name="Sindija Kirsteine (LV)" userId="5f25501a-2215-4bb3-9d9c-8d1484ffa7c1" providerId="ADAL" clId="{AD634740-2A4A-4DBA-91EE-B286EB63FCB7}" dt="2024-06-05T08:27:48.043" v="602"/>
          <ac:spMkLst>
            <pc:docMk/>
            <pc:sldMk cId="1395428684" sldId="269"/>
            <ac:spMk id="6" creationId="{18051140-FCCA-F20A-06DC-408A65F92BBB}"/>
          </ac:spMkLst>
        </pc:spChg>
        <pc:spChg chg="mod">
          <ac:chgData name="Sindija Kirsteine (LV)" userId="5f25501a-2215-4bb3-9d9c-8d1484ffa7c1" providerId="ADAL" clId="{AD634740-2A4A-4DBA-91EE-B286EB63FCB7}" dt="2024-06-05T08:27:48.043" v="602"/>
          <ac:spMkLst>
            <pc:docMk/>
            <pc:sldMk cId="1395428684" sldId="269"/>
            <ac:spMk id="7" creationId="{D50524A2-16C9-8119-7624-94AD33A92698}"/>
          </ac:spMkLst>
        </pc:spChg>
        <pc:spChg chg="mod">
          <ac:chgData name="Sindija Kirsteine (LV)" userId="5f25501a-2215-4bb3-9d9c-8d1484ffa7c1" providerId="ADAL" clId="{AD634740-2A4A-4DBA-91EE-B286EB63FCB7}" dt="2024-06-05T08:27:48.043" v="602"/>
          <ac:spMkLst>
            <pc:docMk/>
            <pc:sldMk cId="1395428684" sldId="269"/>
            <ac:spMk id="12" creationId="{1E94DCF4-87CD-C04D-202B-3602D5E9CAB7}"/>
          </ac:spMkLst>
        </pc:spChg>
        <pc:spChg chg="mod">
          <ac:chgData name="Sindija Kirsteine (LV)" userId="5f25501a-2215-4bb3-9d9c-8d1484ffa7c1" providerId="ADAL" clId="{AD634740-2A4A-4DBA-91EE-B286EB63FCB7}" dt="2024-06-05T08:27:48.043" v="602"/>
          <ac:spMkLst>
            <pc:docMk/>
            <pc:sldMk cId="1395428684" sldId="269"/>
            <ac:spMk id="14" creationId="{2CFCB049-D49D-8F78-B934-154FC9EF7C93}"/>
          </ac:spMkLst>
        </pc:spChg>
        <pc:spChg chg="mod">
          <ac:chgData name="Sindija Kirsteine (LV)" userId="5f25501a-2215-4bb3-9d9c-8d1484ffa7c1" providerId="ADAL" clId="{AD634740-2A4A-4DBA-91EE-B286EB63FCB7}" dt="2024-06-05T08:27:48.043" v="602"/>
          <ac:spMkLst>
            <pc:docMk/>
            <pc:sldMk cId="1395428684" sldId="269"/>
            <ac:spMk id="15" creationId="{864ABA50-7CE9-3265-972A-A369BF6A74EC}"/>
          </ac:spMkLst>
        </pc:spChg>
        <pc:spChg chg="mod">
          <ac:chgData name="Sindija Kirsteine (LV)" userId="5f25501a-2215-4bb3-9d9c-8d1484ffa7c1" providerId="ADAL" clId="{AD634740-2A4A-4DBA-91EE-B286EB63FCB7}" dt="2024-06-05T08:27:48.043" v="602"/>
          <ac:spMkLst>
            <pc:docMk/>
            <pc:sldMk cId="1395428684" sldId="269"/>
            <ac:spMk id="16" creationId="{8C6285E4-6EF7-019D-BDF2-18E6F30DAC71}"/>
          </ac:spMkLst>
        </pc:spChg>
        <pc:spChg chg="mod">
          <ac:chgData name="Sindija Kirsteine (LV)" userId="5f25501a-2215-4bb3-9d9c-8d1484ffa7c1" providerId="ADAL" clId="{AD634740-2A4A-4DBA-91EE-B286EB63FCB7}" dt="2024-06-05T08:27:48.043" v="602"/>
          <ac:spMkLst>
            <pc:docMk/>
            <pc:sldMk cId="1395428684" sldId="269"/>
            <ac:spMk id="17" creationId="{113BDFC9-9059-6694-2CA3-4143DB68E019}"/>
          </ac:spMkLst>
        </pc:spChg>
        <pc:grpChg chg="add mod">
          <ac:chgData name="Sindija Kirsteine (LV)" userId="5f25501a-2215-4bb3-9d9c-8d1484ffa7c1" providerId="ADAL" clId="{AD634740-2A4A-4DBA-91EE-B286EB63FCB7}" dt="2024-06-05T08:27:48.043" v="602"/>
          <ac:grpSpMkLst>
            <pc:docMk/>
            <pc:sldMk cId="1395428684" sldId="269"/>
            <ac:grpSpMk id="5" creationId="{44146702-A337-91F0-08D9-C7706A95A89F}"/>
          </ac:grpSpMkLst>
        </pc:grpChg>
        <pc:grpChg chg="del">
          <ac:chgData name="Sindija Kirsteine (LV)" userId="5f25501a-2215-4bb3-9d9c-8d1484ffa7c1" providerId="ADAL" clId="{AD634740-2A4A-4DBA-91EE-B286EB63FCB7}" dt="2024-06-05T08:27:47.790" v="601" actId="478"/>
          <ac:grpSpMkLst>
            <pc:docMk/>
            <pc:sldMk cId="1395428684" sldId="269"/>
            <ac:grpSpMk id="37" creationId="{352E7B30-4249-D378-2910-F85BB5B8127A}"/>
          </ac:grpSpMkLst>
        </pc:grpChg>
      </pc:sldChg>
      <pc:sldChg chg="addSp delSp modSp mod ord delCm">
        <pc:chgData name="Sindija Kirsteine (LV)" userId="5f25501a-2215-4bb3-9d9c-8d1484ffa7c1" providerId="ADAL" clId="{AD634740-2A4A-4DBA-91EE-B286EB63FCB7}" dt="2024-06-10T07:48:32.827" v="2660" actId="207"/>
        <pc:sldMkLst>
          <pc:docMk/>
          <pc:sldMk cId="0" sldId="317"/>
        </pc:sldMkLst>
        <pc:spChg chg="mod">
          <ac:chgData name="Sindija Kirsteine (LV)" userId="5f25501a-2215-4bb3-9d9c-8d1484ffa7c1" providerId="ADAL" clId="{AD634740-2A4A-4DBA-91EE-B286EB63FCB7}" dt="2024-06-05T08:23:21.381" v="458"/>
          <ac:spMkLst>
            <pc:docMk/>
            <pc:sldMk cId="0" sldId="317"/>
            <ac:spMk id="3" creationId="{4054DBA8-7533-4104-F0C8-00FAEB2195D2}"/>
          </ac:spMkLst>
        </pc:spChg>
        <pc:spChg chg="mod">
          <ac:chgData name="Sindija Kirsteine (LV)" userId="5f25501a-2215-4bb3-9d9c-8d1484ffa7c1" providerId="ADAL" clId="{AD634740-2A4A-4DBA-91EE-B286EB63FCB7}" dt="2024-06-05T08:28:40.495" v="638"/>
          <ac:spMkLst>
            <pc:docMk/>
            <pc:sldMk cId="0" sldId="317"/>
            <ac:spMk id="5" creationId="{811FBC76-38A1-3D0C-CA42-D9229C2EBEB2}"/>
          </ac:spMkLst>
        </pc:spChg>
        <pc:spChg chg="mod">
          <ac:chgData name="Sindija Kirsteine (LV)" userId="5f25501a-2215-4bb3-9d9c-8d1484ffa7c1" providerId="ADAL" clId="{AD634740-2A4A-4DBA-91EE-B286EB63FCB7}" dt="2024-06-05T08:28:40.495" v="638"/>
          <ac:spMkLst>
            <pc:docMk/>
            <pc:sldMk cId="0" sldId="317"/>
            <ac:spMk id="6" creationId="{854733CA-77D5-53D8-34FD-33C7350DC9E9}"/>
          </ac:spMkLst>
        </pc:spChg>
        <pc:spChg chg="mod">
          <ac:chgData name="Sindija Kirsteine (LV)" userId="5f25501a-2215-4bb3-9d9c-8d1484ffa7c1" providerId="ADAL" clId="{AD634740-2A4A-4DBA-91EE-B286EB63FCB7}" dt="2024-06-05T08:28:40.495" v="638"/>
          <ac:spMkLst>
            <pc:docMk/>
            <pc:sldMk cId="0" sldId="317"/>
            <ac:spMk id="7" creationId="{BAE5EC89-5375-5422-44C1-548532963130}"/>
          </ac:spMkLst>
        </pc:spChg>
        <pc:spChg chg="mod">
          <ac:chgData name="Sindija Kirsteine (LV)" userId="5f25501a-2215-4bb3-9d9c-8d1484ffa7c1" providerId="ADAL" clId="{AD634740-2A4A-4DBA-91EE-B286EB63FCB7}" dt="2024-06-05T08:28:40.495" v="638"/>
          <ac:spMkLst>
            <pc:docMk/>
            <pc:sldMk cId="0" sldId="317"/>
            <ac:spMk id="8" creationId="{7922B9AC-D06F-291B-14D6-CC66BCC27C1C}"/>
          </ac:spMkLst>
        </pc:spChg>
        <pc:spChg chg="mod">
          <ac:chgData name="Sindija Kirsteine (LV)" userId="5f25501a-2215-4bb3-9d9c-8d1484ffa7c1" providerId="ADAL" clId="{AD634740-2A4A-4DBA-91EE-B286EB63FCB7}" dt="2024-06-05T08:28:40.495" v="638"/>
          <ac:spMkLst>
            <pc:docMk/>
            <pc:sldMk cId="0" sldId="317"/>
            <ac:spMk id="9" creationId="{3EEFE46F-1E14-3996-0E3A-8704BA16695C}"/>
          </ac:spMkLst>
        </pc:spChg>
        <pc:spChg chg="mod">
          <ac:chgData name="Sindija Kirsteine (LV)" userId="5f25501a-2215-4bb3-9d9c-8d1484ffa7c1" providerId="ADAL" clId="{AD634740-2A4A-4DBA-91EE-B286EB63FCB7}" dt="2024-06-05T08:28:40.495" v="638"/>
          <ac:spMkLst>
            <pc:docMk/>
            <pc:sldMk cId="0" sldId="317"/>
            <ac:spMk id="10" creationId="{7C153D51-E589-669E-2102-30184770539A}"/>
          </ac:spMkLst>
        </pc:spChg>
        <pc:spChg chg="mod">
          <ac:chgData name="Sindija Kirsteine (LV)" userId="5f25501a-2215-4bb3-9d9c-8d1484ffa7c1" providerId="ADAL" clId="{AD634740-2A4A-4DBA-91EE-B286EB63FCB7}" dt="2024-06-05T08:28:40.495" v="638"/>
          <ac:spMkLst>
            <pc:docMk/>
            <pc:sldMk cId="0" sldId="317"/>
            <ac:spMk id="11" creationId="{CA5D8FF2-E36A-CFBC-2EF3-7BE51989331D}"/>
          </ac:spMkLst>
        </pc:spChg>
        <pc:spChg chg="add mod">
          <ac:chgData name="Sindija Kirsteine (LV)" userId="5f25501a-2215-4bb3-9d9c-8d1484ffa7c1" providerId="ADAL" clId="{AD634740-2A4A-4DBA-91EE-B286EB63FCB7}" dt="2024-06-10T07:48:32.827" v="2660" actId="207"/>
          <ac:spMkLst>
            <pc:docMk/>
            <pc:sldMk cId="0" sldId="317"/>
            <ac:spMk id="12" creationId="{59783A96-B5FE-DDBB-D9D0-8B2BC464F04F}"/>
          </ac:spMkLst>
        </pc:spChg>
        <pc:grpChg chg="add mod">
          <ac:chgData name="Sindija Kirsteine (LV)" userId="5f25501a-2215-4bb3-9d9c-8d1484ffa7c1" providerId="ADAL" clId="{AD634740-2A4A-4DBA-91EE-B286EB63FCB7}" dt="2024-06-05T08:28:40.495" v="638"/>
          <ac:grpSpMkLst>
            <pc:docMk/>
            <pc:sldMk cId="0" sldId="317"/>
            <ac:grpSpMk id="2" creationId="{7DD15C27-0EEF-6252-C492-2DB4D44A4344}"/>
          </ac:grpSpMkLst>
        </pc:grpChg>
        <pc:grpChg chg="del">
          <ac:chgData name="Sindija Kirsteine (LV)" userId="5f25501a-2215-4bb3-9d9c-8d1484ffa7c1" providerId="ADAL" clId="{AD634740-2A4A-4DBA-91EE-B286EB63FCB7}" dt="2024-06-05T08:28:40.274" v="637" actId="478"/>
          <ac:grpSpMkLst>
            <pc:docMk/>
            <pc:sldMk cId="0" sldId="317"/>
            <ac:grpSpMk id="25" creationId="{9C4D462A-1299-E301-A3CC-6A77244EC900}"/>
          </ac:grpSpMkLst>
        </pc:grpChg>
        <pc:cxnChg chg="add">
          <ac:chgData name="Sindija Kirsteine (LV)" userId="5f25501a-2215-4bb3-9d9c-8d1484ffa7c1" providerId="ADAL" clId="{AD634740-2A4A-4DBA-91EE-B286EB63FCB7}" dt="2024-06-10T07:47:48.930" v="2659" actId="11529"/>
          <ac:cxnSpMkLst>
            <pc:docMk/>
            <pc:sldMk cId="0" sldId="317"/>
            <ac:cxnSpMk id="14" creationId="{65702FDC-13D4-230D-4AE7-857EDCD012F2}"/>
          </ac:cxnSpMkLst>
        </pc:cxn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15:03:48.866" v="2475"/>
              <pc2:cmMkLst xmlns:pc2="http://schemas.microsoft.com/office/powerpoint/2019/9/main/command">
                <pc:docMk/>
                <pc:sldMk cId="0" sldId="317"/>
                <pc2:cmMk id="{4A1AB072-8859-46AB-BD17-FA8F74F5D532}"/>
              </pc2:cmMkLst>
            </pc226:cmChg>
          </p:ext>
        </pc:extLst>
      </pc:sldChg>
      <pc:sldChg chg="addSp modSp mod">
        <pc:chgData name="Sindija Kirsteine (LV)" userId="5f25501a-2215-4bb3-9d9c-8d1484ffa7c1" providerId="ADAL" clId="{AD634740-2A4A-4DBA-91EE-B286EB63FCB7}" dt="2024-06-07T15:00:40.107" v="2408" actId="20577"/>
        <pc:sldMkLst>
          <pc:docMk/>
          <pc:sldMk cId="3910420445" sldId="318"/>
        </pc:sldMkLst>
        <pc:spChg chg="add mod">
          <ac:chgData name="Sindija Kirsteine (LV)" userId="5f25501a-2215-4bb3-9d9c-8d1484ffa7c1" providerId="ADAL" clId="{AD634740-2A4A-4DBA-91EE-B286EB63FCB7}" dt="2024-06-07T15:00:40.107" v="2408" actId="20577"/>
          <ac:spMkLst>
            <pc:docMk/>
            <pc:sldMk cId="3910420445" sldId="318"/>
            <ac:spMk id="2" creationId="{3ACF7BD8-388B-FD79-4524-771C9B5D26CC}"/>
          </ac:spMkLst>
        </pc:spChg>
        <pc:spChg chg="mod">
          <ac:chgData name="Sindija Kirsteine (LV)" userId="5f25501a-2215-4bb3-9d9c-8d1484ffa7c1" providerId="ADAL" clId="{AD634740-2A4A-4DBA-91EE-B286EB63FCB7}" dt="2024-06-05T08:27:28.624" v="586" actId="20577"/>
          <ac:spMkLst>
            <pc:docMk/>
            <pc:sldMk cId="3910420445" sldId="318"/>
            <ac:spMk id="9" creationId="{9C0FFD5F-DADC-2ACD-0E26-EB5192486BB9}"/>
          </ac:spMkLst>
        </pc:spChg>
        <pc:spChg chg="mod">
          <ac:chgData name="Sindija Kirsteine (LV)" userId="5f25501a-2215-4bb3-9d9c-8d1484ffa7c1" providerId="ADAL" clId="{AD634740-2A4A-4DBA-91EE-B286EB63FCB7}" dt="2024-06-05T08:27:30.668" v="588" actId="20577"/>
          <ac:spMkLst>
            <pc:docMk/>
            <pc:sldMk cId="3910420445" sldId="318"/>
            <ac:spMk id="10" creationId="{F8AE939C-0D5C-6E4D-68E5-5418A7D7E228}"/>
          </ac:spMkLst>
        </pc:spChg>
        <pc:spChg chg="mod">
          <ac:chgData name="Sindija Kirsteine (LV)" userId="5f25501a-2215-4bb3-9d9c-8d1484ffa7c1" providerId="ADAL" clId="{AD634740-2A4A-4DBA-91EE-B286EB63FCB7}" dt="2024-06-05T08:27:32.648" v="590" actId="20577"/>
          <ac:spMkLst>
            <pc:docMk/>
            <pc:sldMk cId="3910420445" sldId="318"/>
            <ac:spMk id="12" creationId="{1B219C83-5ECB-E72D-D217-1A1628589890}"/>
          </ac:spMkLst>
        </pc:spChg>
        <pc:spChg chg="mod">
          <ac:chgData name="Sindija Kirsteine (LV)" userId="5f25501a-2215-4bb3-9d9c-8d1484ffa7c1" providerId="ADAL" clId="{AD634740-2A4A-4DBA-91EE-B286EB63FCB7}" dt="2024-06-05T08:27:34.870" v="592" actId="20577"/>
          <ac:spMkLst>
            <pc:docMk/>
            <pc:sldMk cId="3910420445" sldId="318"/>
            <ac:spMk id="13" creationId="{DDE59943-60AD-DE69-E439-6748EB1D466E}"/>
          </ac:spMkLst>
        </pc:spChg>
        <pc:spChg chg="mod">
          <ac:chgData name="Sindija Kirsteine (LV)" userId="5f25501a-2215-4bb3-9d9c-8d1484ffa7c1" providerId="ADAL" clId="{AD634740-2A4A-4DBA-91EE-B286EB63FCB7}" dt="2024-06-05T08:27:36.695" v="594" actId="20577"/>
          <ac:spMkLst>
            <pc:docMk/>
            <pc:sldMk cId="3910420445" sldId="318"/>
            <ac:spMk id="15" creationId="{B6AD5ACC-ADD6-A4A0-35DF-14FCD1641DE1}"/>
          </ac:spMkLst>
        </pc:spChg>
        <pc:spChg chg="mod">
          <ac:chgData name="Sindija Kirsteine (LV)" userId="5f25501a-2215-4bb3-9d9c-8d1484ffa7c1" providerId="ADAL" clId="{AD634740-2A4A-4DBA-91EE-B286EB63FCB7}" dt="2024-06-05T08:27:38.554" v="596" actId="20577"/>
          <ac:spMkLst>
            <pc:docMk/>
            <pc:sldMk cId="3910420445" sldId="318"/>
            <ac:spMk id="16" creationId="{E33CA906-B71B-6EB1-7754-15CDF86E1FCB}"/>
          </ac:spMkLst>
        </pc:spChg>
        <pc:spChg chg="mod">
          <ac:chgData name="Sindija Kirsteine (LV)" userId="5f25501a-2215-4bb3-9d9c-8d1484ffa7c1" providerId="ADAL" clId="{AD634740-2A4A-4DBA-91EE-B286EB63FCB7}" dt="2024-06-05T08:22:27.968" v="429"/>
          <ac:spMkLst>
            <pc:docMk/>
            <pc:sldMk cId="3910420445" sldId="318"/>
            <ac:spMk id="17" creationId="{693F9EAE-8F0B-929A-77B9-1CA5A84FA7A6}"/>
          </ac:spMkLst>
        </pc:spChg>
        <pc:cxnChg chg="add mod">
          <ac:chgData name="Sindija Kirsteine (LV)" userId="5f25501a-2215-4bb3-9d9c-8d1484ffa7c1" providerId="ADAL" clId="{AD634740-2A4A-4DBA-91EE-B286EB63FCB7}" dt="2024-06-07T08:38:56.940" v="1217" actId="1076"/>
          <ac:cxnSpMkLst>
            <pc:docMk/>
            <pc:sldMk cId="3910420445" sldId="318"/>
            <ac:cxnSpMk id="18" creationId="{1258DF46-4B70-24D8-4F7F-BCE7AEA95E19}"/>
          </ac:cxnSpMkLst>
        </pc:cxnChg>
      </pc:sldChg>
      <pc:sldChg chg="addSp delSp modSp mod">
        <pc:chgData name="Sindija Kirsteine (LV)" userId="5f25501a-2215-4bb3-9d9c-8d1484ffa7c1" providerId="ADAL" clId="{AD634740-2A4A-4DBA-91EE-B286EB63FCB7}" dt="2024-06-05T08:27:44.434" v="599"/>
        <pc:sldMkLst>
          <pc:docMk/>
          <pc:sldMk cId="2834373602" sldId="757"/>
        </pc:sldMkLst>
        <pc:spChg chg="mod">
          <ac:chgData name="Sindija Kirsteine (LV)" userId="5f25501a-2215-4bb3-9d9c-8d1484ffa7c1" providerId="ADAL" clId="{AD634740-2A4A-4DBA-91EE-B286EB63FCB7}" dt="2024-06-05T08:22:46.131" v="433"/>
          <ac:spMkLst>
            <pc:docMk/>
            <pc:sldMk cId="2834373602" sldId="757"/>
            <ac:spMk id="2" creationId="{1D196AC2-1443-7050-7543-AE20CE3288E8}"/>
          </ac:spMkLst>
        </pc:spChg>
        <pc:spChg chg="mod">
          <ac:chgData name="Sindija Kirsteine (LV)" userId="5f25501a-2215-4bb3-9d9c-8d1484ffa7c1" providerId="ADAL" clId="{AD634740-2A4A-4DBA-91EE-B286EB63FCB7}" dt="2024-06-05T08:27:44.434" v="599"/>
          <ac:spMkLst>
            <pc:docMk/>
            <pc:sldMk cId="2834373602" sldId="757"/>
            <ac:spMk id="9" creationId="{64F2C7D8-4E0D-2A8A-A96D-C7BC04F57A0C}"/>
          </ac:spMkLst>
        </pc:spChg>
        <pc:spChg chg="mod">
          <ac:chgData name="Sindija Kirsteine (LV)" userId="5f25501a-2215-4bb3-9d9c-8d1484ffa7c1" providerId="ADAL" clId="{AD634740-2A4A-4DBA-91EE-B286EB63FCB7}" dt="2024-06-05T08:27:44.434" v="599"/>
          <ac:spMkLst>
            <pc:docMk/>
            <pc:sldMk cId="2834373602" sldId="757"/>
            <ac:spMk id="10" creationId="{0DA8ADB2-16F7-C5CC-A726-9DF171BD9AA5}"/>
          </ac:spMkLst>
        </pc:spChg>
        <pc:spChg chg="mod">
          <ac:chgData name="Sindija Kirsteine (LV)" userId="5f25501a-2215-4bb3-9d9c-8d1484ffa7c1" providerId="ADAL" clId="{AD634740-2A4A-4DBA-91EE-B286EB63FCB7}" dt="2024-06-05T08:27:44.434" v="599"/>
          <ac:spMkLst>
            <pc:docMk/>
            <pc:sldMk cId="2834373602" sldId="757"/>
            <ac:spMk id="14" creationId="{9DD980B9-21B9-A65A-F8E5-B3D5F032999B}"/>
          </ac:spMkLst>
        </pc:spChg>
        <pc:spChg chg="mod">
          <ac:chgData name="Sindija Kirsteine (LV)" userId="5f25501a-2215-4bb3-9d9c-8d1484ffa7c1" providerId="ADAL" clId="{AD634740-2A4A-4DBA-91EE-B286EB63FCB7}" dt="2024-06-05T08:27:44.434" v="599"/>
          <ac:spMkLst>
            <pc:docMk/>
            <pc:sldMk cId="2834373602" sldId="757"/>
            <ac:spMk id="15" creationId="{02C25D1B-AA28-A163-F4A7-6F25138F3C07}"/>
          </ac:spMkLst>
        </pc:spChg>
        <pc:spChg chg="mod">
          <ac:chgData name="Sindija Kirsteine (LV)" userId="5f25501a-2215-4bb3-9d9c-8d1484ffa7c1" providerId="ADAL" clId="{AD634740-2A4A-4DBA-91EE-B286EB63FCB7}" dt="2024-06-05T08:27:44.434" v="599"/>
          <ac:spMkLst>
            <pc:docMk/>
            <pc:sldMk cId="2834373602" sldId="757"/>
            <ac:spMk id="16" creationId="{BCC2C371-A73E-412C-630D-C3E8883517E7}"/>
          </ac:spMkLst>
        </pc:spChg>
        <pc:spChg chg="mod">
          <ac:chgData name="Sindija Kirsteine (LV)" userId="5f25501a-2215-4bb3-9d9c-8d1484ffa7c1" providerId="ADAL" clId="{AD634740-2A4A-4DBA-91EE-B286EB63FCB7}" dt="2024-06-05T08:27:44.434" v="599"/>
          <ac:spMkLst>
            <pc:docMk/>
            <pc:sldMk cId="2834373602" sldId="757"/>
            <ac:spMk id="17" creationId="{EB51D44B-5B4D-2AF1-320D-FDE735E32A97}"/>
          </ac:spMkLst>
        </pc:spChg>
        <pc:spChg chg="mod">
          <ac:chgData name="Sindija Kirsteine (LV)" userId="5f25501a-2215-4bb3-9d9c-8d1484ffa7c1" providerId="ADAL" clId="{AD634740-2A4A-4DBA-91EE-B286EB63FCB7}" dt="2024-06-05T08:27:44.434" v="599"/>
          <ac:spMkLst>
            <pc:docMk/>
            <pc:sldMk cId="2834373602" sldId="757"/>
            <ac:spMk id="18" creationId="{318C18E2-2E64-0061-DECE-5C7BB951AAC9}"/>
          </ac:spMkLst>
        </pc:spChg>
        <pc:grpChg chg="add mod">
          <ac:chgData name="Sindija Kirsteine (LV)" userId="5f25501a-2215-4bb3-9d9c-8d1484ffa7c1" providerId="ADAL" clId="{AD634740-2A4A-4DBA-91EE-B286EB63FCB7}" dt="2024-06-05T08:27:44.434" v="599"/>
          <ac:grpSpMkLst>
            <pc:docMk/>
            <pc:sldMk cId="2834373602" sldId="757"/>
            <ac:grpSpMk id="7" creationId="{69CEA96A-17E2-579F-F4B3-045F4A74888C}"/>
          </ac:grpSpMkLst>
        </pc:grpChg>
        <pc:grpChg chg="del">
          <ac:chgData name="Sindija Kirsteine (LV)" userId="5f25501a-2215-4bb3-9d9c-8d1484ffa7c1" providerId="ADAL" clId="{AD634740-2A4A-4DBA-91EE-B286EB63FCB7}" dt="2024-06-05T08:27:44.165" v="598" actId="478"/>
          <ac:grpSpMkLst>
            <pc:docMk/>
            <pc:sldMk cId="2834373602" sldId="757"/>
            <ac:grpSpMk id="21" creationId="{3FDA6B32-877D-323A-7115-32FBCF8F2574}"/>
          </ac:grpSpMkLst>
        </pc:grpChg>
      </pc:sldChg>
      <pc:sldChg chg="addSp delSp modSp mod ord">
        <pc:chgData name="Sindija Kirsteine (LV)" userId="5f25501a-2215-4bb3-9d9c-8d1484ffa7c1" providerId="ADAL" clId="{AD634740-2A4A-4DBA-91EE-B286EB63FCB7}" dt="2024-06-07T14:59:17.591" v="2338"/>
        <pc:sldMkLst>
          <pc:docMk/>
          <pc:sldMk cId="12612729" sldId="761"/>
        </pc:sldMkLst>
        <pc:spChg chg="mod">
          <ac:chgData name="Sindija Kirsteine (LV)" userId="5f25501a-2215-4bb3-9d9c-8d1484ffa7c1" providerId="ADAL" clId="{AD634740-2A4A-4DBA-91EE-B286EB63FCB7}" dt="2024-06-05T08:24:45.737" v="511"/>
          <ac:spMkLst>
            <pc:docMk/>
            <pc:sldMk cId="12612729" sldId="761"/>
            <ac:spMk id="2" creationId="{69E106F8-1B3E-9362-637B-7C102288BB6A}"/>
          </ac:spMkLst>
        </pc:spChg>
        <pc:spChg chg="mod">
          <ac:chgData name="Sindija Kirsteine (LV)" userId="5f25501a-2215-4bb3-9d9c-8d1484ffa7c1" providerId="ADAL" clId="{AD634740-2A4A-4DBA-91EE-B286EB63FCB7}" dt="2024-06-05T08:34:54.203" v="841"/>
          <ac:spMkLst>
            <pc:docMk/>
            <pc:sldMk cId="12612729" sldId="761"/>
            <ac:spMk id="13" creationId="{5BBEED25-80F2-E970-7CB8-291AF84398AC}"/>
          </ac:spMkLst>
        </pc:spChg>
        <pc:spChg chg="mod">
          <ac:chgData name="Sindija Kirsteine (LV)" userId="5f25501a-2215-4bb3-9d9c-8d1484ffa7c1" providerId="ADAL" clId="{AD634740-2A4A-4DBA-91EE-B286EB63FCB7}" dt="2024-06-05T08:34:54.203" v="841"/>
          <ac:spMkLst>
            <pc:docMk/>
            <pc:sldMk cId="12612729" sldId="761"/>
            <ac:spMk id="14" creationId="{092BFA48-E787-6DC9-0CD0-1D66C9EC463A}"/>
          </ac:spMkLst>
        </pc:spChg>
        <pc:spChg chg="mod">
          <ac:chgData name="Sindija Kirsteine (LV)" userId="5f25501a-2215-4bb3-9d9c-8d1484ffa7c1" providerId="ADAL" clId="{AD634740-2A4A-4DBA-91EE-B286EB63FCB7}" dt="2024-06-05T08:34:54.203" v="841"/>
          <ac:spMkLst>
            <pc:docMk/>
            <pc:sldMk cId="12612729" sldId="761"/>
            <ac:spMk id="15" creationId="{5B3FE16C-E7AE-657D-F2ED-FE95CE0B2859}"/>
          </ac:spMkLst>
        </pc:spChg>
        <pc:spChg chg="mod">
          <ac:chgData name="Sindija Kirsteine (LV)" userId="5f25501a-2215-4bb3-9d9c-8d1484ffa7c1" providerId="ADAL" clId="{AD634740-2A4A-4DBA-91EE-B286EB63FCB7}" dt="2024-06-05T08:34:54.203" v="841"/>
          <ac:spMkLst>
            <pc:docMk/>
            <pc:sldMk cId="12612729" sldId="761"/>
            <ac:spMk id="16" creationId="{7EBD572D-6F1C-CE26-DFF3-364DD1B4B09C}"/>
          </ac:spMkLst>
        </pc:spChg>
        <pc:spChg chg="mod">
          <ac:chgData name="Sindija Kirsteine (LV)" userId="5f25501a-2215-4bb3-9d9c-8d1484ffa7c1" providerId="ADAL" clId="{AD634740-2A4A-4DBA-91EE-B286EB63FCB7}" dt="2024-06-05T08:34:54.203" v="841"/>
          <ac:spMkLst>
            <pc:docMk/>
            <pc:sldMk cId="12612729" sldId="761"/>
            <ac:spMk id="17" creationId="{DD97AEF7-10A8-8503-FDF6-B326B0676989}"/>
          </ac:spMkLst>
        </pc:spChg>
        <pc:spChg chg="mod">
          <ac:chgData name="Sindija Kirsteine (LV)" userId="5f25501a-2215-4bb3-9d9c-8d1484ffa7c1" providerId="ADAL" clId="{AD634740-2A4A-4DBA-91EE-B286EB63FCB7}" dt="2024-06-05T08:34:54.203" v="841"/>
          <ac:spMkLst>
            <pc:docMk/>
            <pc:sldMk cId="12612729" sldId="761"/>
            <ac:spMk id="18" creationId="{8F40EB88-C881-F353-C6AE-C9A69B641EA0}"/>
          </ac:spMkLst>
        </pc:spChg>
        <pc:spChg chg="mod">
          <ac:chgData name="Sindija Kirsteine (LV)" userId="5f25501a-2215-4bb3-9d9c-8d1484ffa7c1" providerId="ADAL" clId="{AD634740-2A4A-4DBA-91EE-B286EB63FCB7}" dt="2024-06-05T08:34:54.203" v="841"/>
          <ac:spMkLst>
            <pc:docMk/>
            <pc:sldMk cId="12612729" sldId="761"/>
            <ac:spMk id="19" creationId="{6B812998-50FB-79E1-2073-C716D2F8B529}"/>
          </ac:spMkLst>
        </pc:spChg>
        <pc:grpChg chg="del">
          <ac:chgData name="Sindija Kirsteine (LV)" userId="5f25501a-2215-4bb3-9d9c-8d1484ffa7c1" providerId="ADAL" clId="{AD634740-2A4A-4DBA-91EE-B286EB63FCB7}" dt="2024-06-05T08:34:53.888" v="840" actId="478"/>
          <ac:grpSpMkLst>
            <pc:docMk/>
            <pc:sldMk cId="12612729" sldId="761"/>
            <ac:grpSpMk id="3" creationId="{CECEC2E9-9EBE-11AA-1177-48DC75CC998A}"/>
          </ac:grpSpMkLst>
        </pc:grpChg>
        <pc:grpChg chg="add mod">
          <ac:chgData name="Sindija Kirsteine (LV)" userId="5f25501a-2215-4bb3-9d9c-8d1484ffa7c1" providerId="ADAL" clId="{AD634740-2A4A-4DBA-91EE-B286EB63FCB7}" dt="2024-06-05T08:34:54.203" v="841"/>
          <ac:grpSpMkLst>
            <pc:docMk/>
            <pc:sldMk cId="12612729" sldId="761"/>
            <ac:grpSpMk id="12" creationId="{075ADFF6-DF93-E786-67DB-96E9161F3009}"/>
          </ac:grpSpMkLst>
        </pc:grpChg>
      </pc:sldChg>
      <pc:sldChg chg="modSp del mod modShow">
        <pc:chgData name="Sindija Kirsteine (LV)" userId="5f25501a-2215-4bb3-9d9c-8d1484ffa7c1" providerId="ADAL" clId="{AD634740-2A4A-4DBA-91EE-B286EB63FCB7}" dt="2024-06-07T06:25:41.367" v="1103" actId="2696"/>
        <pc:sldMkLst>
          <pc:docMk/>
          <pc:sldMk cId="2056487948" sldId="763"/>
        </pc:sldMkLst>
        <pc:spChg chg="mod">
          <ac:chgData name="Sindija Kirsteine (LV)" userId="5f25501a-2215-4bb3-9d9c-8d1484ffa7c1" providerId="ADAL" clId="{AD634740-2A4A-4DBA-91EE-B286EB63FCB7}" dt="2024-06-05T08:25:00.936" v="518"/>
          <ac:spMkLst>
            <pc:docMk/>
            <pc:sldMk cId="2056487948" sldId="763"/>
            <ac:spMk id="3" creationId="{7C64739B-BBAB-9B07-CCF5-1EB4AD51C2F6}"/>
          </ac:spMkLst>
        </pc:spChg>
        <pc:spChg chg="mod">
          <ac:chgData name="Sindija Kirsteine (LV)" userId="5f25501a-2215-4bb3-9d9c-8d1484ffa7c1" providerId="ADAL" clId="{AD634740-2A4A-4DBA-91EE-B286EB63FCB7}" dt="2024-06-05T08:35:20.771" v="859" actId="20577"/>
          <ac:spMkLst>
            <pc:docMk/>
            <pc:sldMk cId="2056487948" sldId="763"/>
            <ac:spMk id="13" creationId="{44861B7E-0E93-30BA-D7A2-6CE473BB6899}"/>
          </ac:spMkLst>
        </pc:spChg>
        <pc:spChg chg="mod">
          <ac:chgData name="Sindija Kirsteine (LV)" userId="5f25501a-2215-4bb3-9d9c-8d1484ffa7c1" providerId="ADAL" clId="{AD634740-2A4A-4DBA-91EE-B286EB63FCB7}" dt="2024-06-05T08:35:14.561" v="853" actId="20577"/>
          <ac:spMkLst>
            <pc:docMk/>
            <pc:sldMk cId="2056487948" sldId="763"/>
            <ac:spMk id="14" creationId="{329CA1CC-E98B-6BCA-EE49-61A97CA4CE01}"/>
          </ac:spMkLst>
        </pc:spChg>
        <pc:spChg chg="mod">
          <ac:chgData name="Sindija Kirsteine (LV)" userId="5f25501a-2215-4bb3-9d9c-8d1484ffa7c1" providerId="ADAL" clId="{AD634740-2A4A-4DBA-91EE-B286EB63FCB7}" dt="2024-06-05T08:35:16.254" v="855" actId="20577"/>
          <ac:spMkLst>
            <pc:docMk/>
            <pc:sldMk cId="2056487948" sldId="763"/>
            <ac:spMk id="21" creationId="{9C698947-DE76-182D-DFD7-B1003F100EAB}"/>
          </ac:spMkLst>
        </pc:spChg>
        <pc:spChg chg="mod">
          <ac:chgData name="Sindija Kirsteine (LV)" userId="5f25501a-2215-4bb3-9d9c-8d1484ffa7c1" providerId="ADAL" clId="{AD634740-2A4A-4DBA-91EE-B286EB63FCB7}" dt="2024-06-05T08:35:18.283" v="857" actId="20577"/>
          <ac:spMkLst>
            <pc:docMk/>
            <pc:sldMk cId="2056487948" sldId="763"/>
            <ac:spMk id="24" creationId="{FBC36502-3424-BB2B-9F48-0A37D58A3700}"/>
          </ac:spMkLst>
        </pc:spChg>
        <pc:spChg chg="mod">
          <ac:chgData name="Sindija Kirsteine (LV)" userId="5f25501a-2215-4bb3-9d9c-8d1484ffa7c1" providerId="ADAL" clId="{AD634740-2A4A-4DBA-91EE-B286EB63FCB7}" dt="2024-06-05T08:35:22.861" v="861" actId="20577"/>
          <ac:spMkLst>
            <pc:docMk/>
            <pc:sldMk cId="2056487948" sldId="763"/>
            <ac:spMk id="27" creationId="{B93E2AC6-039C-6E8D-1D82-772D46B675EB}"/>
          </ac:spMkLst>
        </pc:spChg>
        <pc:spChg chg="mod">
          <ac:chgData name="Sindija Kirsteine (LV)" userId="5f25501a-2215-4bb3-9d9c-8d1484ffa7c1" providerId="ADAL" clId="{AD634740-2A4A-4DBA-91EE-B286EB63FCB7}" dt="2024-06-05T08:35:12.473" v="851" actId="20577"/>
          <ac:spMkLst>
            <pc:docMk/>
            <pc:sldMk cId="2056487948" sldId="763"/>
            <ac:spMk id="30" creationId="{5B5D674B-6A42-9B33-53B4-87CFC6156FB4}"/>
          </ac:spMkLst>
        </pc:spChg>
      </pc:sldChg>
      <pc:sldChg chg="addSp delSp modSp mod ord">
        <pc:chgData name="Sindija Kirsteine (LV)" userId="5f25501a-2215-4bb3-9d9c-8d1484ffa7c1" providerId="ADAL" clId="{AD634740-2A4A-4DBA-91EE-B286EB63FCB7}" dt="2024-06-07T14:59:17.591" v="2338"/>
        <pc:sldMkLst>
          <pc:docMk/>
          <pc:sldMk cId="2326445928" sldId="764"/>
        </pc:sldMkLst>
        <pc:spChg chg="mod">
          <ac:chgData name="Sindija Kirsteine (LV)" userId="5f25501a-2215-4bb3-9d9c-8d1484ffa7c1" providerId="ADAL" clId="{AD634740-2A4A-4DBA-91EE-B286EB63FCB7}" dt="2024-06-05T08:24:51.706" v="515"/>
          <ac:spMkLst>
            <pc:docMk/>
            <pc:sldMk cId="2326445928" sldId="764"/>
            <ac:spMk id="2" creationId="{5E819559-CA8D-76F9-8402-D2EB38AA36E5}"/>
          </ac:spMkLst>
        </pc:spChg>
        <pc:spChg chg="mod">
          <ac:chgData name="Sindija Kirsteine (LV)" userId="5f25501a-2215-4bb3-9d9c-8d1484ffa7c1" providerId="ADAL" clId="{AD634740-2A4A-4DBA-91EE-B286EB63FCB7}" dt="2024-06-05T08:35:04.202" v="847"/>
          <ac:spMkLst>
            <pc:docMk/>
            <pc:sldMk cId="2326445928" sldId="764"/>
            <ac:spMk id="16" creationId="{7215C882-A2B4-6866-104D-5E0EEF1F063F}"/>
          </ac:spMkLst>
        </pc:spChg>
        <pc:spChg chg="mod">
          <ac:chgData name="Sindija Kirsteine (LV)" userId="5f25501a-2215-4bb3-9d9c-8d1484ffa7c1" providerId="ADAL" clId="{AD634740-2A4A-4DBA-91EE-B286EB63FCB7}" dt="2024-06-05T08:35:04.202" v="847"/>
          <ac:spMkLst>
            <pc:docMk/>
            <pc:sldMk cId="2326445928" sldId="764"/>
            <ac:spMk id="17" creationId="{6C01AC70-3C95-5049-8B92-588C4EC43CB6}"/>
          </ac:spMkLst>
        </pc:spChg>
        <pc:spChg chg="mod">
          <ac:chgData name="Sindija Kirsteine (LV)" userId="5f25501a-2215-4bb3-9d9c-8d1484ffa7c1" providerId="ADAL" clId="{AD634740-2A4A-4DBA-91EE-B286EB63FCB7}" dt="2024-06-05T08:35:04.202" v="847"/>
          <ac:spMkLst>
            <pc:docMk/>
            <pc:sldMk cId="2326445928" sldId="764"/>
            <ac:spMk id="18" creationId="{7D5E2449-DBAD-20A4-E67A-BB5B01AF0103}"/>
          </ac:spMkLst>
        </pc:spChg>
        <pc:spChg chg="mod">
          <ac:chgData name="Sindija Kirsteine (LV)" userId="5f25501a-2215-4bb3-9d9c-8d1484ffa7c1" providerId="ADAL" clId="{AD634740-2A4A-4DBA-91EE-B286EB63FCB7}" dt="2024-06-05T08:35:04.202" v="847"/>
          <ac:spMkLst>
            <pc:docMk/>
            <pc:sldMk cId="2326445928" sldId="764"/>
            <ac:spMk id="19" creationId="{54B0937F-0C73-A644-51DB-53B18700FEEC}"/>
          </ac:spMkLst>
        </pc:spChg>
        <pc:spChg chg="mod">
          <ac:chgData name="Sindija Kirsteine (LV)" userId="5f25501a-2215-4bb3-9d9c-8d1484ffa7c1" providerId="ADAL" clId="{AD634740-2A4A-4DBA-91EE-B286EB63FCB7}" dt="2024-06-05T08:35:04.202" v="847"/>
          <ac:spMkLst>
            <pc:docMk/>
            <pc:sldMk cId="2326445928" sldId="764"/>
            <ac:spMk id="21" creationId="{E28CEBC3-CAFE-219C-6387-3D4E5F15FFE6}"/>
          </ac:spMkLst>
        </pc:spChg>
        <pc:spChg chg="mod">
          <ac:chgData name="Sindija Kirsteine (LV)" userId="5f25501a-2215-4bb3-9d9c-8d1484ffa7c1" providerId="ADAL" clId="{AD634740-2A4A-4DBA-91EE-B286EB63FCB7}" dt="2024-06-05T08:35:04.202" v="847"/>
          <ac:spMkLst>
            <pc:docMk/>
            <pc:sldMk cId="2326445928" sldId="764"/>
            <ac:spMk id="25" creationId="{0319F565-7FCE-8C4A-2DE7-B88FEFD44E25}"/>
          </ac:spMkLst>
        </pc:spChg>
        <pc:spChg chg="mod">
          <ac:chgData name="Sindija Kirsteine (LV)" userId="5f25501a-2215-4bb3-9d9c-8d1484ffa7c1" providerId="ADAL" clId="{AD634740-2A4A-4DBA-91EE-B286EB63FCB7}" dt="2024-06-05T08:35:04.202" v="847"/>
          <ac:spMkLst>
            <pc:docMk/>
            <pc:sldMk cId="2326445928" sldId="764"/>
            <ac:spMk id="28" creationId="{0CD87B39-0C16-1A7B-4417-6F028652449D}"/>
          </ac:spMkLst>
        </pc:spChg>
        <pc:grpChg chg="del">
          <ac:chgData name="Sindija Kirsteine (LV)" userId="5f25501a-2215-4bb3-9d9c-8d1484ffa7c1" providerId="ADAL" clId="{AD634740-2A4A-4DBA-91EE-B286EB63FCB7}" dt="2024-06-05T08:35:03.633" v="846" actId="478"/>
          <ac:grpSpMkLst>
            <pc:docMk/>
            <pc:sldMk cId="2326445928" sldId="764"/>
            <ac:grpSpMk id="3" creationId="{56DC0F92-61BB-1851-106C-EC75957919AE}"/>
          </ac:grpSpMkLst>
        </pc:grpChg>
        <pc:grpChg chg="add mod">
          <ac:chgData name="Sindija Kirsteine (LV)" userId="5f25501a-2215-4bb3-9d9c-8d1484ffa7c1" providerId="ADAL" clId="{AD634740-2A4A-4DBA-91EE-B286EB63FCB7}" dt="2024-06-05T08:35:04.202" v="847"/>
          <ac:grpSpMkLst>
            <pc:docMk/>
            <pc:sldMk cId="2326445928" sldId="764"/>
            <ac:grpSpMk id="15" creationId="{8BEC1D25-1C62-3C3C-097B-F25E500AE7CA}"/>
          </ac:grpSpMkLst>
        </pc:grpChg>
      </pc:sldChg>
      <pc:sldChg chg="addSp delSp modSp mod">
        <pc:chgData name="Sindija Kirsteine (LV)" userId="5f25501a-2215-4bb3-9d9c-8d1484ffa7c1" providerId="ADAL" clId="{AD634740-2A4A-4DBA-91EE-B286EB63FCB7}" dt="2024-06-05T08:36:08.025" v="878"/>
        <pc:sldMkLst>
          <pc:docMk/>
          <pc:sldMk cId="4204094504" sldId="769"/>
        </pc:sldMkLst>
        <pc:spChg chg="mod">
          <ac:chgData name="Sindija Kirsteine (LV)" userId="5f25501a-2215-4bb3-9d9c-8d1484ffa7c1" providerId="ADAL" clId="{AD634740-2A4A-4DBA-91EE-B286EB63FCB7}" dt="2024-06-05T08:25:43.353" v="539"/>
          <ac:spMkLst>
            <pc:docMk/>
            <pc:sldMk cId="4204094504" sldId="769"/>
            <ac:spMk id="3" creationId="{50BE8D0B-0159-6A39-A753-7CB43C7CF41D}"/>
          </ac:spMkLst>
        </pc:spChg>
        <pc:spChg chg="mod">
          <ac:chgData name="Sindija Kirsteine (LV)" userId="5f25501a-2215-4bb3-9d9c-8d1484ffa7c1" providerId="ADAL" clId="{AD634740-2A4A-4DBA-91EE-B286EB63FCB7}" dt="2024-06-05T08:36:08.025" v="878"/>
          <ac:spMkLst>
            <pc:docMk/>
            <pc:sldMk cId="4204094504" sldId="769"/>
            <ac:spMk id="6" creationId="{3DD02043-E998-FF86-86B4-A96408367AC4}"/>
          </ac:spMkLst>
        </pc:spChg>
        <pc:spChg chg="mod">
          <ac:chgData name="Sindija Kirsteine (LV)" userId="5f25501a-2215-4bb3-9d9c-8d1484ffa7c1" providerId="ADAL" clId="{AD634740-2A4A-4DBA-91EE-B286EB63FCB7}" dt="2024-06-05T08:36:08.025" v="878"/>
          <ac:spMkLst>
            <pc:docMk/>
            <pc:sldMk cId="4204094504" sldId="769"/>
            <ac:spMk id="7" creationId="{B47C7D57-651A-4B54-6F34-462F293D64AB}"/>
          </ac:spMkLst>
        </pc:spChg>
        <pc:spChg chg="mod">
          <ac:chgData name="Sindija Kirsteine (LV)" userId="5f25501a-2215-4bb3-9d9c-8d1484ffa7c1" providerId="ADAL" clId="{AD634740-2A4A-4DBA-91EE-B286EB63FCB7}" dt="2024-06-05T08:36:08.025" v="878"/>
          <ac:spMkLst>
            <pc:docMk/>
            <pc:sldMk cId="4204094504" sldId="769"/>
            <ac:spMk id="9" creationId="{63D2CD0C-6164-EE83-8723-27B02985D458}"/>
          </ac:spMkLst>
        </pc:spChg>
        <pc:spChg chg="mod">
          <ac:chgData name="Sindija Kirsteine (LV)" userId="5f25501a-2215-4bb3-9d9c-8d1484ffa7c1" providerId="ADAL" clId="{AD634740-2A4A-4DBA-91EE-B286EB63FCB7}" dt="2024-06-05T08:36:08.025" v="878"/>
          <ac:spMkLst>
            <pc:docMk/>
            <pc:sldMk cId="4204094504" sldId="769"/>
            <ac:spMk id="10" creationId="{370BF058-05DE-3CE4-F31A-D41DF6011C1A}"/>
          </ac:spMkLst>
        </pc:spChg>
        <pc:spChg chg="mod">
          <ac:chgData name="Sindija Kirsteine (LV)" userId="5f25501a-2215-4bb3-9d9c-8d1484ffa7c1" providerId="ADAL" clId="{AD634740-2A4A-4DBA-91EE-B286EB63FCB7}" dt="2024-06-05T08:36:08.025" v="878"/>
          <ac:spMkLst>
            <pc:docMk/>
            <pc:sldMk cId="4204094504" sldId="769"/>
            <ac:spMk id="11" creationId="{9F171FB5-F28F-A9A8-F2FE-4AD34693B50E}"/>
          </ac:spMkLst>
        </pc:spChg>
        <pc:spChg chg="mod">
          <ac:chgData name="Sindija Kirsteine (LV)" userId="5f25501a-2215-4bb3-9d9c-8d1484ffa7c1" providerId="ADAL" clId="{AD634740-2A4A-4DBA-91EE-B286EB63FCB7}" dt="2024-06-05T08:36:08.025" v="878"/>
          <ac:spMkLst>
            <pc:docMk/>
            <pc:sldMk cId="4204094504" sldId="769"/>
            <ac:spMk id="12" creationId="{518253B4-A8C3-BA64-9221-C136A20094CA}"/>
          </ac:spMkLst>
        </pc:spChg>
        <pc:spChg chg="mod">
          <ac:chgData name="Sindija Kirsteine (LV)" userId="5f25501a-2215-4bb3-9d9c-8d1484ffa7c1" providerId="ADAL" clId="{AD634740-2A4A-4DBA-91EE-B286EB63FCB7}" dt="2024-06-05T08:36:08.025" v="878"/>
          <ac:spMkLst>
            <pc:docMk/>
            <pc:sldMk cId="4204094504" sldId="769"/>
            <ac:spMk id="14" creationId="{B0A3C50F-BE3C-CC86-01B1-490D035FCD82}"/>
          </ac:spMkLst>
        </pc:spChg>
        <pc:grpChg chg="del">
          <ac:chgData name="Sindija Kirsteine (LV)" userId="5f25501a-2215-4bb3-9d9c-8d1484ffa7c1" providerId="ADAL" clId="{AD634740-2A4A-4DBA-91EE-B286EB63FCB7}" dt="2024-06-05T08:36:07.711" v="877" actId="478"/>
          <ac:grpSpMkLst>
            <pc:docMk/>
            <pc:sldMk cId="4204094504" sldId="769"/>
            <ac:grpSpMk id="2" creationId="{A080E78F-7368-2E10-6BCA-1E491F130C33}"/>
          </ac:grpSpMkLst>
        </pc:grpChg>
        <pc:grpChg chg="add mod">
          <ac:chgData name="Sindija Kirsteine (LV)" userId="5f25501a-2215-4bb3-9d9c-8d1484ffa7c1" providerId="ADAL" clId="{AD634740-2A4A-4DBA-91EE-B286EB63FCB7}" dt="2024-06-05T08:36:08.025" v="878"/>
          <ac:grpSpMkLst>
            <pc:docMk/>
            <pc:sldMk cId="4204094504" sldId="769"/>
            <ac:grpSpMk id="4" creationId="{0B1B7A20-C37A-69B5-6A59-249C7C805D9C}"/>
          </ac:grpSpMkLst>
        </pc:grpChg>
      </pc:sldChg>
      <pc:sldChg chg="addSp delSp modSp mod">
        <pc:chgData name="Sindija Kirsteine (LV)" userId="5f25501a-2215-4bb3-9d9c-8d1484ffa7c1" providerId="ADAL" clId="{AD634740-2A4A-4DBA-91EE-B286EB63FCB7}" dt="2024-06-05T08:36:27.429" v="895"/>
        <pc:sldMkLst>
          <pc:docMk/>
          <pc:sldMk cId="301651023" sldId="6887"/>
        </pc:sldMkLst>
        <pc:spChg chg="mod">
          <ac:chgData name="Sindija Kirsteine (LV)" userId="5f25501a-2215-4bb3-9d9c-8d1484ffa7c1" providerId="ADAL" clId="{AD634740-2A4A-4DBA-91EE-B286EB63FCB7}" dt="2024-06-05T08:26:11.508" v="557"/>
          <ac:spMkLst>
            <pc:docMk/>
            <pc:sldMk cId="301651023" sldId="6887"/>
            <ac:spMk id="26" creationId="{E90EBED5-0119-63B5-8ADA-A782F80BE09D}"/>
          </ac:spMkLst>
        </pc:spChg>
        <pc:spChg chg="mod">
          <ac:chgData name="Sindija Kirsteine (LV)" userId="5f25501a-2215-4bb3-9d9c-8d1484ffa7c1" providerId="ADAL" clId="{AD634740-2A4A-4DBA-91EE-B286EB63FCB7}" dt="2024-06-05T08:36:27.429" v="895"/>
          <ac:spMkLst>
            <pc:docMk/>
            <pc:sldMk cId="301651023" sldId="6887"/>
            <ac:spMk id="27" creationId="{D6155AF2-A2E2-79D3-8DF6-690434B56D80}"/>
          </ac:spMkLst>
        </pc:spChg>
        <pc:spChg chg="mod">
          <ac:chgData name="Sindija Kirsteine (LV)" userId="5f25501a-2215-4bb3-9d9c-8d1484ffa7c1" providerId="ADAL" clId="{AD634740-2A4A-4DBA-91EE-B286EB63FCB7}" dt="2024-06-05T08:36:27.429" v="895"/>
          <ac:spMkLst>
            <pc:docMk/>
            <pc:sldMk cId="301651023" sldId="6887"/>
            <ac:spMk id="28" creationId="{593C3569-982C-3E00-A57A-FBA2BBE1654E}"/>
          </ac:spMkLst>
        </pc:spChg>
        <pc:spChg chg="mod">
          <ac:chgData name="Sindija Kirsteine (LV)" userId="5f25501a-2215-4bb3-9d9c-8d1484ffa7c1" providerId="ADAL" clId="{AD634740-2A4A-4DBA-91EE-B286EB63FCB7}" dt="2024-06-05T08:36:27.429" v="895"/>
          <ac:spMkLst>
            <pc:docMk/>
            <pc:sldMk cId="301651023" sldId="6887"/>
            <ac:spMk id="30" creationId="{14CE6011-A369-17C7-6632-229E91F12EDB}"/>
          </ac:spMkLst>
        </pc:spChg>
        <pc:spChg chg="mod">
          <ac:chgData name="Sindija Kirsteine (LV)" userId="5f25501a-2215-4bb3-9d9c-8d1484ffa7c1" providerId="ADAL" clId="{AD634740-2A4A-4DBA-91EE-B286EB63FCB7}" dt="2024-06-05T08:36:27.429" v="895"/>
          <ac:spMkLst>
            <pc:docMk/>
            <pc:sldMk cId="301651023" sldId="6887"/>
            <ac:spMk id="32" creationId="{66098ECD-18B6-182E-1929-76F330729C36}"/>
          </ac:spMkLst>
        </pc:spChg>
        <pc:spChg chg="mod">
          <ac:chgData name="Sindija Kirsteine (LV)" userId="5f25501a-2215-4bb3-9d9c-8d1484ffa7c1" providerId="ADAL" clId="{AD634740-2A4A-4DBA-91EE-B286EB63FCB7}" dt="2024-06-05T08:36:27.429" v="895"/>
          <ac:spMkLst>
            <pc:docMk/>
            <pc:sldMk cId="301651023" sldId="6887"/>
            <ac:spMk id="35" creationId="{E9CFA06E-BE24-83CC-9058-CFB44AC8CFB8}"/>
          </ac:spMkLst>
        </pc:spChg>
        <pc:spChg chg="mod">
          <ac:chgData name="Sindija Kirsteine (LV)" userId="5f25501a-2215-4bb3-9d9c-8d1484ffa7c1" providerId="ADAL" clId="{AD634740-2A4A-4DBA-91EE-B286EB63FCB7}" dt="2024-06-05T08:36:27.429" v="895"/>
          <ac:spMkLst>
            <pc:docMk/>
            <pc:sldMk cId="301651023" sldId="6887"/>
            <ac:spMk id="38" creationId="{BE4C6298-A95C-D32F-080C-549D57294AE9}"/>
          </ac:spMkLst>
        </pc:spChg>
        <pc:spChg chg="mod">
          <ac:chgData name="Sindija Kirsteine (LV)" userId="5f25501a-2215-4bb3-9d9c-8d1484ffa7c1" providerId="ADAL" clId="{AD634740-2A4A-4DBA-91EE-B286EB63FCB7}" dt="2024-06-05T08:36:27.429" v="895"/>
          <ac:spMkLst>
            <pc:docMk/>
            <pc:sldMk cId="301651023" sldId="6887"/>
            <ac:spMk id="41" creationId="{2F5F56CA-D418-5A18-F48A-2DD5D458DB36}"/>
          </ac:spMkLst>
        </pc:spChg>
        <pc:grpChg chg="del">
          <ac:chgData name="Sindija Kirsteine (LV)" userId="5f25501a-2215-4bb3-9d9c-8d1484ffa7c1" providerId="ADAL" clId="{AD634740-2A4A-4DBA-91EE-B286EB63FCB7}" dt="2024-06-05T08:36:27.177" v="894" actId="478"/>
          <ac:grpSpMkLst>
            <pc:docMk/>
            <pc:sldMk cId="301651023" sldId="6887"/>
            <ac:grpSpMk id="2" creationId="{D926B872-8210-A0B7-F5CF-85716A067531}"/>
          </ac:grpSpMkLst>
        </pc:grpChg>
        <pc:grpChg chg="add mod">
          <ac:chgData name="Sindija Kirsteine (LV)" userId="5f25501a-2215-4bb3-9d9c-8d1484ffa7c1" providerId="ADAL" clId="{AD634740-2A4A-4DBA-91EE-B286EB63FCB7}" dt="2024-06-05T08:36:27.429" v="895"/>
          <ac:grpSpMkLst>
            <pc:docMk/>
            <pc:sldMk cId="301651023" sldId="6887"/>
            <ac:grpSpMk id="5" creationId="{9A662FD0-25E5-85FD-1BA6-E8A71D16AA76}"/>
          </ac:grpSpMkLst>
        </pc:grpChg>
      </pc:sldChg>
      <pc:sldChg chg="addSp delSp modSp mod delCm modCm">
        <pc:chgData name="Sindija Kirsteine (LV)" userId="5f25501a-2215-4bb3-9d9c-8d1484ffa7c1" providerId="ADAL" clId="{AD634740-2A4A-4DBA-91EE-B286EB63FCB7}" dt="2024-06-10T07:46:18.014" v="2602" actId="1076"/>
        <pc:sldMkLst>
          <pc:docMk/>
          <pc:sldMk cId="192098022" sldId="2147481877"/>
        </pc:sldMkLst>
        <pc:spChg chg="mod">
          <ac:chgData name="Sindija Kirsteine (LV)" userId="5f25501a-2215-4bb3-9d9c-8d1484ffa7c1" providerId="ADAL" clId="{AD634740-2A4A-4DBA-91EE-B286EB63FCB7}" dt="2024-06-10T07:46:18.014" v="2602" actId="1076"/>
          <ac:spMkLst>
            <pc:docMk/>
            <pc:sldMk cId="192098022" sldId="2147481877"/>
            <ac:spMk id="3" creationId="{6A355E03-E3D4-57E7-8E5C-EA6D87D67D07}"/>
          </ac:spMkLst>
        </pc:spChg>
        <pc:spChg chg="add del mod">
          <ac:chgData name="Sindija Kirsteine (LV)" userId="5f25501a-2215-4bb3-9d9c-8d1484ffa7c1" providerId="ADAL" clId="{AD634740-2A4A-4DBA-91EE-B286EB63FCB7}" dt="2024-06-07T14:43:43.574" v="2327" actId="478"/>
          <ac:spMkLst>
            <pc:docMk/>
            <pc:sldMk cId="192098022" sldId="2147481877"/>
            <ac:spMk id="4" creationId="{5D11349D-67E6-D358-56A1-2A641284DFB5}"/>
          </ac:spMkLst>
        </pc:spChg>
        <pc:spChg chg="add del mod">
          <ac:chgData name="Sindija Kirsteine (LV)" userId="5f25501a-2215-4bb3-9d9c-8d1484ffa7c1" providerId="ADAL" clId="{AD634740-2A4A-4DBA-91EE-B286EB63FCB7}" dt="2024-06-07T14:43:41.808" v="2325" actId="478"/>
          <ac:spMkLst>
            <pc:docMk/>
            <pc:sldMk cId="192098022" sldId="2147481877"/>
            <ac:spMk id="5" creationId="{308ECC67-B761-96DF-30AC-C0262F606CFA}"/>
          </ac:spMkLst>
        </pc:spChg>
        <pc:spChg chg="del">
          <ac:chgData name="Sindija Kirsteine (LV)" userId="5f25501a-2215-4bb3-9d9c-8d1484ffa7c1" providerId="ADAL" clId="{AD634740-2A4A-4DBA-91EE-B286EB63FCB7}" dt="2024-06-05T11:59:07.504" v="1053" actId="478"/>
          <ac:spMkLst>
            <pc:docMk/>
            <pc:sldMk cId="192098022" sldId="2147481877"/>
            <ac:spMk id="6" creationId="{847F1DA5-4E0E-C3BD-946C-125801C6EDE8}"/>
          </ac:spMkLst>
        </pc:spChg>
        <pc:spChg chg="mod">
          <ac:chgData name="Sindija Kirsteine (LV)" userId="5f25501a-2215-4bb3-9d9c-8d1484ffa7c1" providerId="ADAL" clId="{AD634740-2A4A-4DBA-91EE-B286EB63FCB7}" dt="2024-06-05T08:21:25.633" v="417"/>
          <ac:spMkLst>
            <pc:docMk/>
            <pc:sldMk cId="192098022" sldId="2147481877"/>
            <ac:spMk id="7" creationId="{99589C5F-A268-A9F2-6268-411BE0E28F8C}"/>
          </ac:spMkLst>
        </pc:spChg>
        <pc:spChg chg="add del mod">
          <ac:chgData name="Sindija Kirsteine (LV)" userId="5f25501a-2215-4bb3-9d9c-8d1484ffa7c1" providerId="ADAL" clId="{AD634740-2A4A-4DBA-91EE-B286EB63FCB7}" dt="2024-06-07T14:43:40.698" v="2324" actId="478"/>
          <ac:spMkLst>
            <pc:docMk/>
            <pc:sldMk cId="192098022" sldId="2147481877"/>
            <ac:spMk id="8" creationId="{AD0EC130-F5B9-24BB-A5F8-C9198B2644E6}"/>
          </ac:spMkLst>
        </pc:spChg>
        <pc:spChg chg="add del mod">
          <ac:chgData name="Sindija Kirsteine (LV)" userId="5f25501a-2215-4bb3-9d9c-8d1484ffa7c1" providerId="ADAL" clId="{AD634740-2A4A-4DBA-91EE-B286EB63FCB7}" dt="2024-06-07T14:43:40.698" v="2324" actId="478"/>
          <ac:spMkLst>
            <pc:docMk/>
            <pc:sldMk cId="192098022" sldId="2147481877"/>
            <ac:spMk id="10" creationId="{C56FC8EF-C04E-C075-E2F4-4BCB83948E28}"/>
          </ac:spMkLst>
        </pc:spChg>
        <pc:extLst>
          <p:ext xmlns:p="http://schemas.openxmlformats.org/presentationml/2006/main" uri="{D6D511B9-2390-475A-947B-AFAB55BFBCF1}">
            <pc226:cmChg xmlns:pc226="http://schemas.microsoft.com/office/powerpoint/2022/06/main/command" chg="del mod">
              <pc226:chgData name="Sindija Kirsteine (LV)" userId="5f25501a-2215-4bb3-9d9c-8d1484ffa7c1" providerId="ADAL" clId="{AD634740-2A4A-4DBA-91EE-B286EB63FCB7}" dt="2024-06-07T15:01:30.501" v="2419"/>
              <pc2:cmMkLst xmlns:pc2="http://schemas.microsoft.com/office/powerpoint/2019/9/main/command">
                <pc:docMk/>
                <pc:sldMk cId="192098022" sldId="2147481877"/>
                <pc2:cmMk id="{42340CB7-382F-4BFC-9464-B01F4E65E661}"/>
              </pc2:cmMkLst>
            </pc226:cmChg>
            <pc226:cmChg xmlns:pc226="http://schemas.microsoft.com/office/powerpoint/2022/06/main/command" chg="mod">
              <pc226:chgData name="Sindija Kirsteine (LV)" userId="5f25501a-2215-4bb3-9d9c-8d1484ffa7c1" providerId="ADAL" clId="{AD634740-2A4A-4DBA-91EE-B286EB63FCB7}" dt="2024-06-05T11:59:07.511" v="1054" actId="2056"/>
              <pc2:cmMkLst xmlns:pc2="http://schemas.microsoft.com/office/powerpoint/2019/9/main/command">
                <pc:docMk/>
                <pc:sldMk cId="192098022" sldId="2147481877"/>
                <pc2:cmMk id="{2BAFDAD7-4750-421D-879A-E56EE9100927}"/>
              </pc2:cmMkLst>
            </pc226:cmChg>
          </p:ext>
        </pc:extLst>
      </pc:sldChg>
      <pc:sldChg chg="addSp delSp modSp mod delCm">
        <pc:chgData name="Sindija Kirsteine (LV)" userId="5f25501a-2215-4bb3-9d9c-8d1484ffa7c1" providerId="ADAL" clId="{AD634740-2A4A-4DBA-91EE-B286EB63FCB7}" dt="2024-06-05T11:46:36.659" v="1005" actId="948"/>
        <pc:sldMkLst>
          <pc:docMk/>
          <pc:sldMk cId="839732171" sldId="2147481882"/>
        </pc:sldMkLst>
        <pc:spChg chg="mod">
          <ac:chgData name="Sindija Kirsteine (LV)" userId="5f25501a-2215-4bb3-9d9c-8d1484ffa7c1" providerId="ADAL" clId="{AD634740-2A4A-4DBA-91EE-B286EB63FCB7}" dt="2024-06-05T11:32:34.525" v="960" actId="948"/>
          <ac:spMkLst>
            <pc:docMk/>
            <pc:sldMk cId="839732171" sldId="2147481882"/>
            <ac:spMk id="3" creationId="{4EF6DB77-182C-C281-1C2F-C2E2D9AB6583}"/>
          </ac:spMkLst>
        </pc:spChg>
        <pc:spChg chg="add mod">
          <ac:chgData name="Sindija Kirsteine (LV)" userId="5f25501a-2215-4bb3-9d9c-8d1484ffa7c1" providerId="ADAL" clId="{AD634740-2A4A-4DBA-91EE-B286EB63FCB7}" dt="2024-06-05T08:21:47.096" v="422"/>
          <ac:spMkLst>
            <pc:docMk/>
            <pc:sldMk cId="839732171" sldId="2147481882"/>
            <ac:spMk id="5" creationId="{7E4ED79F-2C53-B555-2F4D-21E619D1E11A}"/>
          </ac:spMkLst>
        </pc:spChg>
        <pc:spChg chg="mod">
          <ac:chgData name="Sindija Kirsteine (LV)" userId="5f25501a-2215-4bb3-9d9c-8d1484ffa7c1" providerId="ADAL" clId="{AD634740-2A4A-4DBA-91EE-B286EB63FCB7}" dt="2024-06-05T11:46:36.659" v="1005" actId="948"/>
          <ac:spMkLst>
            <pc:docMk/>
            <pc:sldMk cId="839732171" sldId="2147481882"/>
            <ac:spMk id="6" creationId="{2CB3F9F5-858C-1D21-4D13-EAEDABE2E74A}"/>
          </ac:spMkLst>
        </pc:spChg>
        <pc:spChg chg="del mod">
          <ac:chgData name="Sindija Kirsteine (LV)" userId="5f25501a-2215-4bb3-9d9c-8d1484ffa7c1" providerId="ADAL" clId="{AD634740-2A4A-4DBA-91EE-B286EB63FCB7}" dt="2024-06-05T08:21:31.114" v="419" actId="478"/>
          <ac:spMkLst>
            <pc:docMk/>
            <pc:sldMk cId="839732171" sldId="2147481882"/>
            <ac:spMk id="10" creationId="{A4023E8B-2A57-59A4-3BAA-367FEF6C1A6B}"/>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0:43.994" v="402"/>
              <pc2:cmMkLst xmlns:pc2="http://schemas.microsoft.com/office/powerpoint/2019/9/main/command">
                <pc:docMk/>
                <pc:sldMk cId="839732171" sldId="2147481882"/>
                <pc2:cmMk id="{AC732292-0AA3-46F5-86C5-9A6BAAAA2C1F}"/>
              </pc2:cmMkLst>
            </pc226:cmChg>
          </p:ext>
        </pc:extLst>
      </pc:sldChg>
      <pc:sldChg chg="modSp mod delCm">
        <pc:chgData name="Sindija Kirsteine (LV)" userId="5f25501a-2215-4bb3-9d9c-8d1484ffa7c1" providerId="ADAL" clId="{AD634740-2A4A-4DBA-91EE-B286EB63FCB7}" dt="2024-06-07T15:46:59.949" v="2588" actId="20577"/>
        <pc:sldMkLst>
          <pc:docMk/>
          <pc:sldMk cId="1076096228" sldId="2147481883"/>
        </pc:sldMkLst>
        <pc:spChg chg="mod">
          <ac:chgData name="Sindija Kirsteine (LV)" userId="5f25501a-2215-4bb3-9d9c-8d1484ffa7c1" providerId="ADAL" clId="{AD634740-2A4A-4DBA-91EE-B286EB63FCB7}" dt="2024-06-05T08:21:55.625" v="425"/>
          <ac:spMkLst>
            <pc:docMk/>
            <pc:sldMk cId="1076096228" sldId="2147481883"/>
            <ac:spMk id="5" creationId="{77809E40-37CF-33A7-7901-D1413BC4E7D9}"/>
          </ac:spMkLst>
        </pc:spChg>
        <pc:spChg chg="mod">
          <ac:chgData name="Sindija Kirsteine (LV)" userId="5f25501a-2215-4bb3-9d9c-8d1484ffa7c1" providerId="ADAL" clId="{AD634740-2A4A-4DBA-91EE-B286EB63FCB7}" dt="2024-06-07T15:46:59.949" v="2588"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53:06.261" v="2006"/>
              <pc2:cmMkLst xmlns:pc2="http://schemas.microsoft.com/office/powerpoint/2019/9/main/command">
                <pc:docMk/>
                <pc:sldMk cId="1076096228" sldId="2147481883"/>
                <pc2:cmMk id="{A5CE162D-2EEE-4922-B176-CB61EFDAC24E}"/>
              </pc2:cmMkLst>
            </pc226:cmChg>
            <pc226:cmChg xmlns:pc226="http://schemas.microsoft.com/office/powerpoint/2022/06/main/command" chg="del">
              <pc226:chgData name="Sindija Kirsteine (LV)" userId="5f25501a-2215-4bb3-9d9c-8d1484ffa7c1" providerId="ADAL" clId="{AD634740-2A4A-4DBA-91EE-B286EB63FCB7}" dt="2024-06-07T08:53:05.089" v="2005"/>
              <pc2:cmMkLst xmlns:pc2="http://schemas.microsoft.com/office/powerpoint/2019/9/main/command">
                <pc:docMk/>
                <pc:sldMk cId="1076096228" sldId="2147481883"/>
                <pc2:cmMk id="{15B0C1A2-347A-4C6A-94D2-48D8CFAC1078}"/>
              </pc2:cmMkLst>
            </pc226:cmChg>
          </p:ext>
        </pc:extLst>
      </pc:sldChg>
      <pc:sldChg chg="modSp mod ord">
        <pc:chgData name="Sindija Kirsteine (LV)" userId="5f25501a-2215-4bb3-9d9c-8d1484ffa7c1" providerId="ADAL" clId="{AD634740-2A4A-4DBA-91EE-B286EB63FCB7}" dt="2024-06-07T15:03:41.571" v="2473" actId="27636"/>
        <pc:sldMkLst>
          <pc:docMk/>
          <pc:sldMk cId="1498590892" sldId="2147481885"/>
        </pc:sldMkLst>
        <pc:spChg chg="mod">
          <ac:chgData name="Sindija Kirsteine (LV)" userId="5f25501a-2215-4bb3-9d9c-8d1484ffa7c1" providerId="ADAL" clId="{AD634740-2A4A-4DBA-91EE-B286EB63FCB7}" dt="2024-06-07T15:03:41.571" v="2473" actId="27636"/>
          <ac:spMkLst>
            <pc:docMk/>
            <pc:sldMk cId="1498590892" sldId="2147481885"/>
            <ac:spMk id="4" creationId="{B1CBE399-95B1-4855-23E2-3019CA5A03DE}"/>
          </ac:spMkLst>
        </pc:spChg>
      </pc:sldChg>
      <pc:sldChg chg="modSp mod">
        <pc:chgData name="Sindija Kirsteine (LV)" userId="5f25501a-2215-4bb3-9d9c-8d1484ffa7c1" providerId="ADAL" clId="{AD634740-2A4A-4DBA-91EE-B286EB63FCB7}" dt="2024-06-07T14:59:57.054" v="2349"/>
        <pc:sldMkLst>
          <pc:docMk/>
          <pc:sldMk cId="4260349440" sldId="2147481886"/>
        </pc:sldMkLst>
        <pc:spChg chg="mod">
          <ac:chgData name="Sindija Kirsteine (LV)" userId="5f25501a-2215-4bb3-9d9c-8d1484ffa7c1" providerId="ADAL" clId="{AD634740-2A4A-4DBA-91EE-B286EB63FCB7}" dt="2024-06-07T14:59:57.054" v="2349"/>
          <ac:spMkLst>
            <pc:docMk/>
            <pc:sldMk cId="4260349440" sldId="2147481886"/>
            <ac:spMk id="4" creationId="{B1CBE399-95B1-4855-23E2-3019CA5A03DE}"/>
          </ac:spMkLst>
        </pc:spChg>
      </pc:sldChg>
      <pc:sldChg chg="modSp mod ord">
        <pc:chgData name="Sindija Kirsteine (LV)" userId="5f25501a-2215-4bb3-9d9c-8d1484ffa7c1" providerId="ADAL" clId="{AD634740-2A4A-4DBA-91EE-B286EB63FCB7}" dt="2024-06-07T15:03:29.394" v="2469"/>
        <pc:sldMkLst>
          <pc:docMk/>
          <pc:sldMk cId="2647739992" sldId="2147481887"/>
        </pc:sldMkLst>
        <pc:spChg chg="mod">
          <ac:chgData name="Sindija Kirsteine (LV)" userId="5f25501a-2215-4bb3-9d9c-8d1484ffa7c1" providerId="ADAL" clId="{AD634740-2A4A-4DBA-91EE-B286EB63FCB7}" dt="2024-06-07T15:03:29.394" v="2469"/>
          <ac:spMkLst>
            <pc:docMk/>
            <pc:sldMk cId="2647739992" sldId="2147481887"/>
            <ac:spMk id="4" creationId="{B1CBE399-95B1-4855-23E2-3019CA5A03DE}"/>
          </ac:spMkLst>
        </pc:spChg>
        <pc:spChg chg="mod">
          <ac:chgData name="Sindija Kirsteine (LV)" userId="5f25501a-2215-4bb3-9d9c-8d1484ffa7c1" providerId="ADAL" clId="{AD634740-2A4A-4DBA-91EE-B286EB63FCB7}" dt="2024-06-07T15:02:58.852" v="2453"/>
          <ac:spMkLst>
            <pc:docMk/>
            <pc:sldMk cId="2647739992" sldId="2147481887"/>
            <ac:spMk id="20" creationId="{DA4789A9-B8AF-52BF-5DEF-333466FE31C0}"/>
          </ac:spMkLst>
        </pc:spChg>
      </pc:sldChg>
      <pc:sldChg chg="modSp del mod modShow delCm">
        <pc:chgData name="Sindija Kirsteine (LV)" userId="5f25501a-2215-4bb3-9d9c-8d1484ffa7c1" providerId="ADAL" clId="{AD634740-2A4A-4DBA-91EE-B286EB63FCB7}" dt="2024-06-07T06:25:38.960" v="1101" actId="2696"/>
        <pc:sldMkLst>
          <pc:docMk/>
          <pc:sldMk cId="59703751" sldId="2147481888"/>
        </pc:sldMkLst>
        <pc:spChg chg="mod">
          <ac:chgData name="Sindija Kirsteine (LV)" userId="5f25501a-2215-4bb3-9d9c-8d1484ffa7c1" providerId="ADAL" clId="{AD634740-2A4A-4DBA-91EE-B286EB63FCB7}" dt="2024-06-05T08:25:29.157" v="532" actId="20577"/>
          <ac:spMkLst>
            <pc:docMk/>
            <pc:sldMk cId="59703751" sldId="2147481888"/>
            <ac:spMk id="4" creationId="{B1CBE399-95B1-4855-23E2-3019CA5A03DE}"/>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5:18.547" v="526"/>
              <pc2:cmMkLst xmlns:pc2="http://schemas.microsoft.com/office/powerpoint/2019/9/main/command">
                <pc:docMk/>
                <pc:sldMk cId="59703751" sldId="2147481888"/>
                <pc2:cmMk id="{4B62BA8B-4351-4CD1-8070-6A6DD6FEFD97}"/>
              </pc2:cmMkLst>
            </pc226:cmChg>
          </p:ext>
        </pc:extLst>
      </pc:sldChg>
      <pc:sldChg chg="modSp mod">
        <pc:chgData name="Sindija Kirsteine (LV)" userId="5f25501a-2215-4bb3-9d9c-8d1484ffa7c1" providerId="ADAL" clId="{AD634740-2A4A-4DBA-91EE-B286EB63FCB7}" dt="2024-06-07T06:25:49.257" v="1108" actId="20577"/>
        <pc:sldMkLst>
          <pc:docMk/>
          <pc:sldMk cId="449992976" sldId="2147481889"/>
        </pc:sldMkLst>
        <pc:spChg chg="mod">
          <ac:chgData name="Sindija Kirsteine (LV)" userId="5f25501a-2215-4bb3-9d9c-8d1484ffa7c1" providerId="ADAL" clId="{AD634740-2A4A-4DBA-91EE-B286EB63FCB7}" dt="2024-06-07T06:25:49.257" v="1108" actId="20577"/>
          <ac:spMkLst>
            <pc:docMk/>
            <pc:sldMk cId="449992976" sldId="2147481889"/>
            <ac:spMk id="4" creationId="{B1CBE399-95B1-4855-23E2-3019CA5A03DE}"/>
          </ac:spMkLst>
        </pc:spChg>
      </pc:sldChg>
      <pc:sldChg chg="modSp mod delCm">
        <pc:chgData name="Sindija Kirsteine (LV)" userId="5f25501a-2215-4bb3-9d9c-8d1484ffa7c1" providerId="ADAL" clId="{AD634740-2A4A-4DBA-91EE-B286EB63FCB7}" dt="2024-06-10T07:46:24.976" v="2604"/>
        <pc:sldMkLst>
          <pc:docMk/>
          <pc:sldMk cId="3901568867" sldId="2147481894"/>
        </pc:sldMkLst>
        <pc:spChg chg="mod">
          <ac:chgData name="Sindija Kirsteine (LV)" userId="5f25501a-2215-4bb3-9d9c-8d1484ffa7c1" providerId="ADAL" clId="{AD634740-2A4A-4DBA-91EE-B286EB63FCB7}" dt="2024-06-10T07:46:24.976" v="2604"/>
          <ac:spMkLst>
            <pc:docMk/>
            <pc:sldMk cId="3901568867" sldId="2147481894"/>
            <ac:spMk id="2" creationId="{00000000-0000-0000-0000-000000000000}"/>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10T07:45:53.081" v="2597"/>
              <pc2:cmMkLst xmlns:pc2="http://schemas.microsoft.com/office/powerpoint/2019/9/main/command">
                <pc:docMk/>
                <pc:sldMk cId="3901568867" sldId="2147481894"/>
                <pc2:cmMk id="{48CE4E91-3BD3-4EFA-B790-50795C518EF0}"/>
              </pc2:cmMkLst>
            </pc226:cmChg>
          </p:ext>
        </pc:extLst>
      </pc:sldChg>
      <pc:sldChg chg="addSp delSp modSp mod ord">
        <pc:chgData name="Sindija Kirsteine (LV)" userId="5f25501a-2215-4bb3-9d9c-8d1484ffa7c1" providerId="ADAL" clId="{AD634740-2A4A-4DBA-91EE-B286EB63FCB7}" dt="2024-06-07T14:59:17.591" v="2338"/>
        <pc:sldMkLst>
          <pc:docMk/>
          <pc:sldMk cId="2731229360" sldId="2147481895"/>
        </pc:sldMkLst>
        <pc:spChg chg="mod">
          <ac:chgData name="Sindija Kirsteine (LV)" userId="5f25501a-2215-4bb3-9d9c-8d1484ffa7c1" providerId="ADAL" clId="{AD634740-2A4A-4DBA-91EE-B286EB63FCB7}" dt="2024-06-05T08:24:48.546" v="513"/>
          <ac:spMkLst>
            <pc:docMk/>
            <pc:sldMk cId="2731229360" sldId="2147481895"/>
            <ac:spMk id="3" creationId="{3C51BFB5-F916-5BE2-0E6F-7E9812C79E56}"/>
          </ac:spMkLst>
        </pc:spChg>
        <pc:spChg chg="mod">
          <ac:chgData name="Sindija Kirsteine (LV)" userId="5f25501a-2215-4bb3-9d9c-8d1484ffa7c1" providerId="ADAL" clId="{AD634740-2A4A-4DBA-91EE-B286EB63FCB7}" dt="2024-06-05T08:35:00.088" v="844"/>
          <ac:spMkLst>
            <pc:docMk/>
            <pc:sldMk cId="2731229360" sldId="2147481895"/>
            <ac:spMk id="17" creationId="{6DA53E30-F96B-6833-4C88-7469C1FAA717}"/>
          </ac:spMkLst>
        </pc:spChg>
        <pc:spChg chg="mod">
          <ac:chgData name="Sindija Kirsteine (LV)" userId="5f25501a-2215-4bb3-9d9c-8d1484ffa7c1" providerId="ADAL" clId="{AD634740-2A4A-4DBA-91EE-B286EB63FCB7}" dt="2024-06-05T08:35:00.088" v="844"/>
          <ac:spMkLst>
            <pc:docMk/>
            <pc:sldMk cId="2731229360" sldId="2147481895"/>
            <ac:spMk id="18" creationId="{87C0CF4C-D8C0-C432-809C-63DCEB47120E}"/>
          </ac:spMkLst>
        </pc:spChg>
        <pc:spChg chg="mod">
          <ac:chgData name="Sindija Kirsteine (LV)" userId="5f25501a-2215-4bb3-9d9c-8d1484ffa7c1" providerId="ADAL" clId="{AD634740-2A4A-4DBA-91EE-B286EB63FCB7}" dt="2024-06-05T08:35:00.088" v="844"/>
          <ac:spMkLst>
            <pc:docMk/>
            <pc:sldMk cId="2731229360" sldId="2147481895"/>
            <ac:spMk id="19" creationId="{577BEA8F-F690-A1D5-2883-0EBF8A176E05}"/>
          </ac:spMkLst>
        </pc:spChg>
        <pc:spChg chg="mod">
          <ac:chgData name="Sindija Kirsteine (LV)" userId="5f25501a-2215-4bb3-9d9c-8d1484ffa7c1" providerId="ADAL" clId="{AD634740-2A4A-4DBA-91EE-B286EB63FCB7}" dt="2024-06-05T08:35:00.088" v="844"/>
          <ac:spMkLst>
            <pc:docMk/>
            <pc:sldMk cId="2731229360" sldId="2147481895"/>
            <ac:spMk id="20" creationId="{3EC16632-C079-DC4C-E174-CDFE92C0B971}"/>
          </ac:spMkLst>
        </pc:spChg>
        <pc:spChg chg="mod">
          <ac:chgData name="Sindija Kirsteine (LV)" userId="5f25501a-2215-4bb3-9d9c-8d1484ffa7c1" providerId="ADAL" clId="{AD634740-2A4A-4DBA-91EE-B286EB63FCB7}" dt="2024-06-05T08:35:00.088" v="844"/>
          <ac:spMkLst>
            <pc:docMk/>
            <pc:sldMk cId="2731229360" sldId="2147481895"/>
            <ac:spMk id="21" creationId="{6A238922-F823-13D2-371B-CBD04F274DD9}"/>
          </ac:spMkLst>
        </pc:spChg>
        <pc:spChg chg="mod">
          <ac:chgData name="Sindija Kirsteine (LV)" userId="5f25501a-2215-4bb3-9d9c-8d1484ffa7c1" providerId="ADAL" clId="{AD634740-2A4A-4DBA-91EE-B286EB63FCB7}" dt="2024-06-05T08:35:00.088" v="844"/>
          <ac:spMkLst>
            <pc:docMk/>
            <pc:sldMk cId="2731229360" sldId="2147481895"/>
            <ac:spMk id="23" creationId="{140B6471-0A0E-1E1A-DE43-0434AB3EDE61}"/>
          </ac:spMkLst>
        </pc:spChg>
        <pc:spChg chg="mod">
          <ac:chgData name="Sindija Kirsteine (LV)" userId="5f25501a-2215-4bb3-9d9c-8d1484ffa7c1" providerId="ADAL" clId="{AD634740-2A4A-4DBA-91EE-B286EB63FCB7}" dt="2024-06-05T08:35:00.088" v="844"/>
          <ac:spMkLst>
            <pc:docMk/>
            <pc:sldMk cId="2731229360" sldId="2147481895"/>
            <ac:spMk id="24" creationId="{BC9AF67D-F8F4-DA79-05B7-2B4E466AE175}"/>
          </ac:spMkLst>
        </pc:spChg>
        <pc:grpChg chg="del">
          <ac:chgData name="Sindija Kirsteine (LV)" userId="5f25501a-2215-4bb3-9d9c-8d1484ffa7c1" providerId="ADAL" clId="{AD634740-2A4A-4DBA-91EE-B286EB63FCB7}" dt="2024-06-05T08:34:59.851" v="843" actId="478"/>
          <ac:grpSpMkLst>
            <pc:docMk/>
            <pc:sldMk cId="2731229360" sldId="2147481895"/>
            <ac:grpSpMk id="4" creationId="{1BBC90F7-45FE-5341-A1A0-E8682D73CB7D}"/>
          </ac:grpSpMkLst>
        </pc:grpChg>
        <pc:grpChg chg="add mod">
          <ac:chgData name="Sindija Kirsteine (LV)" userId="5f25501a-2215-4bb3-9d9c-8d1484ffa7c1" providerId="ADAL" clId="{AD634740-2A4A-4DBA-91EE-B286EB63FCB7}" dt="2024-06-05T08:35:00.088" v="844"/>
          <ac:grpSpMkLst>
            <pc:docMk/>
            <pc:sldMk cId="2731229360" sldId="2147481895"/>
            <ac:grpSpMk id="16" creationId="{9A690DFF-F5A3-BA45-3611-03F7B2D90D7E}"/>
          </ac:grpSpMkLst>
        </pc:grpChg>
      </pc:sldChg>
      <pc:sldChg chg="addSp delSp modSp mod ord">
        <pc:chgData name="Sindija Kirsteine (LV)" userId="5f25501a-2215-4bb3-9d9c-8d1484ffa7c1" providerId="ADAL" clId="{AD634740-2A4A-4DBA-91EE-B286EB63FCB7}" dt="2024-06-07T14:59:17.591" v="2338"/>
        <pc:sldMkLst>
          <pc:docMk/>
          <pc:sldMk cId="3817097256" sldId="2147481898"/>
        </pc:sldMkLst>
        <pc:spChg chg="mod">
          <ac:chgData name="Sindija Kirsteine (LV)" userId="5f25501a-2215-4bb3-9d9c-8d1484ffa7c1" providerId="ADAL" clId="{AD634740-2A4A-4DBA-91EE-B286EB63FCB7}" dt="2024-06-05T08:24:37.876" v="507"/>
          <ac:spMkLst>
            <pc:docMk/>
            <pc:sldMk cId="3817097256" sldId="2147481898"/>
            <ac:spMk id="4" creationId="{EBA7BF60-0AE3-D651-C97F-6030A71AE8DD}"/>
          </ac:spMkLst>
        </pc:spChg>
        <pc:spChg chg="mod">
          <ac:chgData name="Sindija Kirsteine (LV)" userId="5f25501a-2215-4bb3-9d9c-8d1484ffa7c1" providerId="ADAL" clId="{AD634740-2A4A-4DBA-91EE-B286EB63FCB7}" dt="2024-06-05T08:31:58.197" v="739" actId="20577"/>
          <ac:spMkLst>
            <pc:docMk/>
            <pc:sldMk cId="3817097256" sldId="2147481898"/>
            <ac:spMk id="26" creationId="{3E10A8E4-6F82-C1E3-7C1B-10F33167F2C6}"/>
          </ac:spMkLst>
        </pc:spChg>
        <pc:spChg chg="mod">
          <ac:chgData name="Sindija Kirsteine (LV)" userId="5f25501a-2215-4bb3-9d9c-8d1484ffa7c1" providerId="ADAL" clId="{AD634740-2A4A-4DBA-91EE-B286EB63FCB7}" dt="2024-06-05T08:32:00.558" v="741" actId="20577"/>
          <ac:spMkLst>
            <pc:docMk/>
            <pc:sldMk cId="3817097256" sldId="2147481898"/>
            <ac:spMk id="27" creationId="{9AD1FBED-27B3-220A-DB91-049FAE531D86}"/>
          </ac:spMkLst>
        </pc:spChg>
        <pc:spChg chg="mod">
          <ac:chgData name="Sindija Kirsteine (LV)" userId="5f25501a-2215-4bb3-9d9c-8d1484ffa7c1" providerId="ADAL" clId="{AD634740-2A4A-4DBA-91EE-B286EB63FCB7}" dt="2024-06-05T08:32:02.749" v="743" actId="20577"/>
          <ac:spMkLst>
            <pc:docMk/>
            <pc:sldMk cId="3817097256" sldId="2147481898"/>
            <ac:spMk id="28" creationId="{252405C5-D58E-8F7C-185D-F573DE157FD4}"/>
          </ac:spMkLst>
        </pc:spChg>
        <pc:spChg chg="mod">
          <ac:chgData name="Sindija Kirsteine (LV)" userId="5f25501a-2215-4bb3-9d9c-8d1484ffa7c1" providerId="ADAL" clId="{AD634740-2A4A-4DBA-91EE-B286EB63FCB7}" dt="2024-06-05T08:31:29.534" v="723"/>
          <ac:spMkLst>
            <pc:docMk/>
            <pc:sldMk cId="3817097256" sldId="2147481898"/>
            <ac:spMk id="29" creationId="{2D15EBC4-B127-E708-B578-3FEF3CD12ACA}"/>
          </ac:spMkLst>
        </pc:spChg>
        <pc:spChg chg="mod">
          <ac:chgData name="Sindija Kirsteine (LV)" userId="5f25501a-2215-4bb3-9d9c-8d1484ffa7c1" providerId="ADAL" clId="{AD634740-2A4A-4DBA-91EE-B286EB63FCB7}" dt="2024-06-05T08:32:04.532" v="745" actId="20577"/>
          <ac:spMkLst>
            <pc:docMk/>
            <pc:sldMk cId="3817097256" sldId="2147481898"/>
            <ac:spMk id="30" creationId="{55B7CA2E-2D87-CFC4-36AE-5CF38C879E3D}"/>
          </ac:spMkLst>
        </pc:spChg>
        <pc:spChg chg="mod">
          <ac:chgData name="Sindija Kirsteine (LV)" userId="5f25501a-2215-4bb3-9d9c-8d1484ffa7c1" providerId="ADAL" clId="{AD634740-2A4A-4DBA-91EE-B286EB63FCB7}" dt="2024-06-05T08:32:06.419" v="747" actId="20577"/>
          <ac:spMkLst>
            <pc:docMk/>
            <pc:sldMk cId="3817097256" sldId="2147481898"/>
            <ac:spMk id="31" creationId="{0E2721CC-BE44-731B-3359-AC9C18BCA675}"/>
          </ac:spMkLst>
        </pc:spChg>
        <pc:spChg chg="mod">
          <ac:chgData name="Sindija Kirsteine (LV)" userId="5f25501a-2215-4bb3-9d9c-8d1484ffa7c1" providerId="ADAL" clId="{AD634740-2A4A-4DBA-91EE-B286EB63FCB7}" dt="2024-06-05T08:32:08.590" v="749" actId="20577"/>
          <ac:spMkLst>
            <pc:docMk/>
            <pc:sldMk cId="3817097256" sldId="2147481898"/>
            <ac:spMk id="32" creationId="{899CD54B-9C28-FC8E-BFDC-6CA961FBCDD3}"/>
          </ac:spMkLst>
        </pc:spChg>
        <pc:spChg chg="mod">
          <ac:chgData name="Sindija Kirsteine (LV)" userId="5f25501a-2215-4bb3-9d9c-8d1484ffa7c1" providerId="ADAL" clId="{AD634740-2A4A-4DBA-91EE-B286EB63FCB7}" dt="2024-06-05T08:34:35.278" v="831"/>
          <ac:spMkLst>
            <pc:docMk/>
            <pc:sldMk cId="3817097256" sldId="2147481898"/>
            <ac:spMk id="33" creationId="{61FB8EE6-6412-90C2-5B90-A613C6CA7497}"/>
          </ac:spMkLst>
        </pc:spChg>
        <pc:spChg chg="mod">
          <ac:chgData name="Sindija Kirsteine (LV)" userId="5f25501a-2215-4bb3-9d9c-8d1484ffa7c1" providerId="ADAL" clId="{AD634740-2A4A-4DBA-91EE-B286EB63FCB7}" dt="2024-06-05T08:34:35.278" v="831"/>
          <ac:spMkLst>
            <pc:docMk/>
            <pc:sldMk cId="3817097256" sldId="2147481898"/>
            <ac:spMk id="34" creationId="{52D6C5BD-A4B4-233B-8D15-E46CE9DB3B78}"/>
          </ac:spMkLst>
        </pc:spChg>
        <pc:spChg chg="mod">
          <ac:chgData name="Sindija Kirsteine (LV)" userId="5f25501a-2215-4bb3-9d9c-8d1484ffa7c1" providerId="ADAL" clId="{AD634740-2A4A-4DBA-91EE-B286EB63FCB7}" dt="2024-06-05T08:34:35.278" v="831"/>
          <ac:spMkLst>
            <pc:docMk/>
            <pc:sldMk cId="3817097256" sldId="2147481898"/>
            <ac:spMk id="35" creationId="{B69D5CB5-2997-A74C-04ED-4F6223F17C8C}"/>
          </ac:spMkLst>
        </pc:spChg>
        <pc:spChg chg="mod">
          <ac:chgData name="Sindija Kirsteine (LV)" userId="5f25501a-2215-4bb3-9d9c-8d1484ffa7c1" providerId="ADAL" clId="{AD634740-2A4A-4DBA-91EE-B286EB63FCB7}" dt="2024-06-05T08:34:35.278" v="831"/>
          <ac:spMkLst>
            <pc:docMk/>
            <pc:sldMk cId="3817097256" sldId="2147481898"/>
            <ac:spMk id="36" creationId="{85942D98-0964-10CC-FC1F-2A996A669A75}"/>
          </ac:spMkLst>
        </pc:spChg>
        <pc:spChg chg="mod">
          <ac:chgData name="Sindija Kirsteine (LV)" userId="5f25501a-2215-4bb3-9d9c-8d1484ffa7c1" providerId="ADAL" clId="{AD634740-2A4A-4DBA-91EE-B286EB63FCB7}" dt="2024-06-05T08:34:35.278" v="831"/>
          <ac:spMkLst>
            <pc:docMk/>
            <pc:sldMk cId="3817097256" sldId="2147481898"/>
            <ac:spMk id="37" creationId="{083081EA-E2BB-F879-BF3A-0A2B0161DE89}"/>
          </ac:spMkLst>
        </pc:spChg>
        <pc:spChg chg="mod">
          <ac:chgData name="Sindija Kirsteine (LV)" userId="5f25501a-2215-4bb3-9d9c-8d1484ffa7c1" providerId="ADAL" clId="{AD634740-2A4A-4DBA-91EE-B286EB63FCB7}" dt="2024-06-05T08:34:35.278" v="831"/>
          <ac:spMkLst>
            <pc:docMk/>
            <pc:sldMk cId="3817097256" sldId="2147481898"/>
            <ac:spMk id="38" creationId="{A3ED027A-6595-1CEB-7503-6C875FFBF270}"/>
          </ac:spMkLst>
        </pc:spChg>
        <pc:spChg chg="mod">
          <ac:chgData name="Sindija Kirsteine (LV)" userId="5f25501a-2215-4bb3-9d9c-8d1484ffa7c1" providerId="ADAL" clId="{AD634740-2A4A-4DBA-91EE-B286EB63FCB7}" dt="2024-06-05T08:34:35.278" v="831"/>
          <ac:spMkLst>
            <pc:docMk/>
            <pc:sldMk cId="3817097256" sldId="2147481898"/>
            <ac:spMk id="39" creationId="{4AB1B0C6-E4F7-D03A-2E7F-6AA17FEBC06D}"/>
          </ac:spMkLst>
        </pc:spChg>
        <pc:grpChg chg="add mod">
          <ac:chgData name="Sindija Kirsteine (LV)" userId="5f25501a-2215-4bb3-9d9c-8d1484ffa7c1" providerId="ADAL" clId="{AD634740-2A4A-4DBA-91EE-B286EB63FCB7}" dt="2024-06-05T08:34:35.278" v="831"/>
          <ac:grpSpMkLst>
            <pc:docMk/>
            <pc:sldMk cId="3817097256" sldId="2147481898"/>
            <ac:grpSpMk id="6" creationId="{E4E12CDE-063B-643C-0E17-DA8F84BAEE7F}"/>
          </ac:grpSpMkLst>
        </pc:grpChg>
        <pc:grpChg chg="del mod">
          <ac:chgData name="Sindija Kirsteine (LV)" userId="5f25501a-2215-4bb3-9d9c-8d1484ffa7c1" providerId="ADAL" clId="{AD634740-2A4A-4DBA-91EE-B286EB63FCB7}" dt="2024-06-05T08:34:34.866" v="830" actId="478"/>
          <ac:grpSpMkLst>
            <pc:docMk/>
            <pc:sldMk cId="3817097256" sldId="2147481898"/>
            <ac:grpSpMk id="25" creationId="{DD83B19A-5EDD-BBBA-47BB-575643719E6C}"/>
          </ac:grpSpMkLst>
        </pc:grpChg>
      </pc:sldChg>
      <pc:sldChg chg="modSp mod">
        <pc:chgData name="Sindija Kirsteine (LV)" userId="5f25501a-2215-4bb3-9d9c-8d1484ffa7c1" providerId="ADAL" clId="{AD634740-2A4A-4DBA-91EE-B286EB63FCB7}" dt="2024-06-05T08:28:16.451" v="622" actId="20577"/>
        <pc:sldMkLst>
          <pc:docMk/>
          <pc:sldMk cId="365397333" sldId="2147481900"/>
        </pc:sldMkLst>
        <pc:spChg chg="mod">
          <ac:chgData name="Sindija Kirsteine (LV)" userId="5f25501a-2215-4bb3-9d9c-8d1484ffa7c1" providerId="ADAL" clId="{AD634740-2A4A-4DBA-91EE-B286EB63FCB7}" dt="2024-06-05T08:23:11.172" v="450"/>
          <ac:spMkLst>
            <pc:docMk/>
            <pc:sldMk cId="365397333" sldId="2147481900"/>
            <ac:spMk id="3" creationId="{AF59673E-73CB-6DB6-BB7C-CE1C0484AA98}"/>
          </ac:spMkLst>
        </pc:spChg>
        <pc:spChg chg="mod">
          <ac:chgData name="Sindija Kirsteine (LV)" userId="5f25501a-2215-4bb3-9d9c-8d1484ffa7c1" providerId="ADAL" clId="{AD634740-2A4A-4DBA-91EE-B286EB63FCB7}" dt="2024-06-05T08:28:06.311" v="612" actId="20577"/>
          <ac:spMkLst>
            <pc:docMk/>
            <pc:sldMk cId="365397333" sldId="2147481900"/>
            <ac:spMk id="31" creationId="{35F5B76D-15DC-9A2C-122C-889706E3303D}"/>
          </ac:spMkLst>
        </pc:spChg>
        <pc:spChg chg="mod">
          <ac:chgData name="Sindija Kirsteine (LV)" userId="5f25501a-2215-4bb3-9d9c-8d1484ffa7c1" providerId="ADAL" clId="{AD634740-2A4A-4DBA-91EE-B286EB63FCB7}" dt="2024-06-05T08:28:08.269" v="614" actId="20577"/>
          <ac:spMkLst>
            <pc:docMk/>
            <pc:sldMk cId="365397333" sldId="2147481900"/>
            <ac:spMk id="32" creationId="{F727B374-8CBD-55B6-E969-2291AEB8BFFC}"/>
          </ac:spMkLst>
        </pc:spChg>
        <pc:spChg chg="mod">
          <ac:chgData name="Sindija Kirsteine (LV)" userId="5f25501a-2215-4bb3-9d9c-8d1484ffa7c1" providerId="ADAL" clId="{AD634740-2A4A-4DBA-91EE-B286EB63FCB7}" dt="2024-06-05T08:28:10.498" v="616" actId="20577"/>
          <ac:spMkLst>
            <pc:docMk/>
            <pc:sldMk cId="365397333" sldId="2147481900"/>
            <ac:spMk id="34" creationId="{D4E299DF-E7D7-5B28-EC60-1C0041774448}"/>
          </ac:spMkLst>
        </pc:spChg>
        <pc:spChg chg="mod">
          <ac:chgData name="Sindija Kirsteine (LV)" userId="5f25501a-2215-4bb3-9d9c-8d1484ffa7c1" providerId="ADAL" clId="{AD634740-2A4A-4DBA-91EE-B286EB63FCB7}" dt="2024-06-05T08:28:12.336" v="618" actId="20577"/>
          <ac:spMkLst>
            <pc:docMk/>
            <pc:sldMk cId="365397333" sldId="2147481900"/>
            <ac:spMk id="35" creationId="{AA9C4B85-8AB7-221B-ABAB-3FE9FA04547D}"/>
          </ac:spMkLst>
        </pc:spChg>
        <pc:spChg chg="mod">
          <ac:chgData name="Sindija Kirsteine (LV)" userId="5f25501a-2215-4bb3-9d9c-8d1484ffa7c1" providerId="ADAL" clId="{AD634740-2A4A-4DBA-91EE-B286EB63FCB7}" dt="2024-06-05T08:28:14.022" v="620" actId="20577"/>
          <ac:spMkLst>
            <pc:docMk/>
            <pc:sldMk cId="365397333" sldId="2147481900"/>
            <ac:spMk id="36" creationId="{42CBA6AA-A424-57BE-23DF-55E86EE826AD}"/>
          </ac:spMkLst>
        </pc:spChg>
        <pc:spChg chg="mod">
          <ac:chgData name="Sindija Kirsteine (LV)" userId="5f25501a-2215-4bb3-9d9c-8d1484ffa7c1" providerId="ADAL" clId="{AD634740-2A4A-4DBA-91EE-B286EB63FCB7}" dt="2024-06-05T08:28:16.451" v="622" actId="20577"/>
          <ac:spMkLst>
            <pc:docMk/>
            <pc:sldMk cId="365397333" sldId="2147481900"/>
            <ac:spMk id="37" creationId="{1B3CD7A4-3795-5958-49C2-D6A8CCA5C862}"/>
          </ac:spMkLst>
        </pc:spChg>
      </pc:sldChg>
      <pc:sldChg chg="addSp delSp modSp mod">
        <pc:chgData name="Sindija Kirsteine (LV)" userId="5f25501a-2215-4bb3-9d9c-8d1484ffa7c1" providerId="ADAL" clId="{AD634740-2A4A-4DBA-91EE-B286EB63FCB7}" dt="2024-06-05T08:28:44.888" v="641"/>
        <pc:sldMkLst>
          <pc:docMk/>
          <pc:sldMk cId="4156649328" sldId="2147481901"/>
        </pc:sldMkLst>
        <pc:spChg chg="mod">
          <ac:chgData name="Sindija Kirsteine (LV)" userId="5f25501a-2215-4bb3-9d9c-8d1484ffa7c1" providerId="ADAL" clId="{AD634740-2A4A-4DBA-91EE-B286EB63FCB7}" dt="2024-06-05T08:23:24.309" v="460"/>
          <ac:spMkLst>
            <pc:docMk/>
            <pc:sldMk cId="4156649328" sldId="2147481901"/>
            <ac:spMk id="2" creationId="{85D1ABD7-EBF5-D374-FC0A-8987AE583B60}"/>
          </ac:spMkLst>
        </pc:spChg>
        <pc:spChg chg="mod">
          <ac:chgData name="Sindija Kirsteine (LV)" userId="5f25501a-2215-4bb3-9d9c-8d1484ffa7c1" providerId="ADAL" clId="{AD634740-2A4A-4DBA-91EE-B286EB63FCB7}" dt="2024-06-05T08:28:44.888" v="641"/>
          <ac:spMkLst>
            <pc:docMk/>
            <pc:sldMk cId="4156649328" sldId="2147481901"/>
            <ac:spMk id="5" creationId="{24326DA3-645B-E7E6-8772-6D3004B17B56}"/>
          </ac:spMkLst>
        </pc:spChg>
        <pc:spChg chg="mod">
          <ac:chgData name="Sindija Kirsteine (LV)" userId="5f25501a-2215-4bb3-9d9c-8d1484ffa7c1" providerId="ADAL" clId="{AD634740-2A4A-4DBA-91EE-B286EB63FCB7}" dt="2024-06-05T08:28:44.888" v="641"/>
          <ac:spMkLst>
            <pc:docMk/>
            <pc:sldMk cId="4156649328" sldId="2147481901"/>
            <ac:spMk id="8" creationId="{5BBEDFFA-071E-CF83-537D-44FC9669AAFE}"/>
          </ac:spMkLst>
        </pc:spChg>
        <pc:spChg chg="mod">
          <ac:chgData name="Sindija Kirsteine (LV)" userId="5f25501a-2215-4bb3-9d9c-8d1484ffa7c1" providerId="ADAL" clId="{AD634740-2A4A-4DBA-91EE-B286EB63FCB7}" dt="2024-06-05T08:28:44.888" v="641"/>
          <ac:spMkLst>
            <pc:docMk/>
            <pc:sldMk cId="4156649328" sldId="2147481901"/>
            <ac:spMk id="10" creationId="{CF15DAFC-C89A-F337-24E3-F756AE029C2A}"/>
          </ac:spMkLst>
        </pc:spChg>
        <pc:spChg chg="mod">
          <ac:chgData name="Sindija Kirsteine (LV)" userId="5f25501a-2215-4bb3-9d9c-8d1484ffa7c1" providerId="ADAL" clId="{AD634740-2A4A-4DBA-91EE-B286EB63FCB7}" dt="2024-06-05T08:28:44.888" v="641"/>
          <ac:spMkLst>
            <pc:docMk/>
            <pc:sldMk cId="4156649328" sldId="2147481901"/>
            <ac:spMk id="11" creationId="{06CFE582-4BD6-6486-88BC-C5E01CC04E50}"/>
          </ac:spMkLst>
        </pc:spChg>
        <pc:spChg chg="mod">
          <ac:chgData name="Sindija Kirsteine (LV)" userId="5f25501a-2215-4bb3-9d9c-8d1484ffa7c1" providerId="ADAL" clId="{AD634740-2A4A-4DBA-91EE-B286EB63FCB7}" dt="2024-06-05T08:28:44.888" v="641"/>
          <ac:spMkLst>
            <pc:docMk/>
            <pc:sldMk cId="4156649328" sldId="2147481901"/>
            <ac:spMk id="13" creationId="{C74320A0-F59E-965A-AB7D-CE0F85DEE6EA}"/>
          </ac:spMkLst>
        </pc:spChg>
        <pc:spChg chg="mod">
          <ac:chgData name="Sindija Kirsteine (LV)" userId="5f25501a-2215-4bb3-9d9c-8d1484ffa7c1" providerId="ADAL" clId="{AD634740-2A4A-4DBA-91EE-B286EB63FCB7}" dt="2024-06-05T08:28:44.888" v="641"/>
          <ac:spMkLst>
            <pc:docMk/>
            <pc:sldMk cId="4156649328" sldId="2147481901"/>
            <ac:spMk id="14" creationId="{0FD2DFCC-F6A7-16E4-9150-6CADACB44C50}"/>
          </ac:spMkLst>
        </pc:spChg>
        <pc:spChg chg="mod">
          <ac:chgData name="Sindija Kirsteine (LV)" userId="5f25501a-2215-4bb3-9d9c-8d1484ffa7c1" providerId="ADAL" clId="{AD634740-2A4A-4DBA-91EE-B286EB63FCB7}" dt="2024-06-05T08:28:44.888" v="641"/>
          <ac:spMkLst>
            <pc:docMk/>
            <pc:sldMk cId="4156649328" sldId="2147481901"/>
            <ac:spMk id="15" creationId="{F3C79A4E-B948-D41D-D1CA-0D2C7063E432}"/>
          </ac:spMkLst>
        </pc:spChg>
        <pc:grpChg chg="add mod">
          <ac:chgData name="Sindija Kirsteine (LV)" userId="5f25501a-2215-4bb3-9d9c-8d1484ffa7c1" providerId="ADAL" clId="{AD634740-2A4A-4DBA-91EE-B286EB63FCB7}" dt="2024-06-05T08:28:44.888" v="641"/>
          <ac:grpSpMkLst>
            <pc:docMk/>
            <pc:sldMk cId="4156649328" sldId="2147481901"/>
            <ac:grpSpMk id="3" creationId="{F3021B20-6656-AA5E-BB75-C941DBCF5429}"/>
          </ac:grpSpMkLst>
        </pc:grpChg>
        <pc:grpChg chg="del">
          <ac:chgData name="Sindija Kirsteine (LV)" userId="5f25501a-2215-4bb3-9d9c-8d1484ffa7c1" providerId="ADAL" clId="{AD634740-2A4A-4DBA-91EE-B286EB63FCB7}" dt="2024-06-05T08:28:44.619" v="640" actId="478"/>
          <ac:grpSpMkLst>
            <pc:docMk/>
            <pc:sldMk cId="4156649328" sldId="2147481901"/>
            <ac:grpSpMk id="35" creationId="{1B03DE5E-F288-FA39-7196-68EFA017885E}"/>
          </ac:grpSpMkLst>
        </pc:grpChg>
      </pc:sldChg>
      <pc:sldChg chg="modSp mod addCm delCm">
        <pc:chgData name="Sindija Kirsteine (LV)" userId="5f25501a-2215-4bb3-9d9c-8d1484ffa7c1" providerId="ADAL" clId="{AD634740-2A4A-4DBA-91EE-B286EB63FCB7}" dt="2024-06-07T15:01:35.568" v="2422"/>
        <pc:sldMkLst>
          <pc:docMk/>
          <pc:sldMk cId="310194463" sldId="2147481903"/>
        </pc:sldMkLst>
        <pc:spChg chg="mod">
          <ac:chgData name="Sindija Kirsteine (LV)" userId="5f25501a-2215-4bb3-9d9c-8d1484ffa7c1" providerId="ADAL" clId="{AD634740-2A4A-4DBA-91EE-B286EB63FCB7}" dt="2024-06-05T07:44:53.279" v="397"/>
          <ac:spMkLst>
            <pc:docMk/>
            <pc:sldMk cId="310194463" sldId="2147481903"/>
            <ac:spMk id="9" creationId="{BD7EB4A5-E45C-47EC-09CF-8C999B13144C}"/>
          </ac:spMkLst>
        </pc:spChg>
        <pc:spChg chg="mod">
          <ac:chgData name="Sindija Kirsteine (LV)" userId="5f25501a-2215-4bb3-9d9c-8d1484ffa7c1" providerId="ADAL" clId="{AD634740-2A4A-4DBA-91EE-B286EB63FCB7}" dt="2024-06-05T07:44:55.783" v="398" actId="20577"/>
          <ac:spMkLst>
            <pc:docMk/>
            <pc:sldMk cId="310194463" sldId="2147481903"/>
            <ac:spMk id="12" creationId="{03235C0C-4E25-DCDB-7AAF-D34D32C9063E}"/>
          </ac:spMkLst>
        </pc:spChg>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AD634740-2A4A-4DBA-91EE-B286EB63FCB7}" dt="2024-06-07T15:01:35.568" v="2422"/>
              <pc2:cmMkLst xmlns:pc2="http://schemas.microsoft.com/office/powerpoint/2019/9/main/command">
                <pc:docMk/>
                <pc:sldMk cId="310194463" sldId="2147481903"/>
                <pc2:cmMk id="{6502A2C1-7464-4727-BDD5-C3342AA60AC8}"/>
              </pc2:cmMkLst>
            </pc226:cmChg>
          </p:ext>
        </pc:extLst>
      </pc:sldChg>
      <pc:sldChg chg="addSp delSp modSp mod">
        <pc:chgData name="Sindija Kirsteine (LV)" userId="5f25501a-2215-4bb3-9d9c-8d1484ffa7c1" providerId="ADAL" clId="{AD634740-2A4A-4DBA-91EE-B286EB63FCB7}" dt="2024-06-05T08:28:34.445" v="632"/>
        <pc:sldMkLst>
          <pc:docMk/>
          <pc:sldMk cId="2785126703" sldId="2147481904"/>
        </pc:sldMkLst>
        <pc:spChg chg="mod">
          <ac:chgData name="Sindija Kirsteine (LV)" userId="5f25501a-2215-4bb3-9d9c-8d1484ffa7c1" providerId="ADAL" clId="{AD634740-2A4A-4DBA-91EE-B286EB63FCB7}" dt="2024-06-05T08:23:15.374" v="454"/>
          <ac:spMkLst>
            <pc:docMk/>
            <pc:sldMk cId="2785126703" sldId="2147481904"/>
            <ac:spMk id="6" creationId="{BB5AE894-C7E9-7EC5-6F97-2F99D72E73F5}"/>
          </ac:spMkLst>
        </pc:spChg>
        <pc:spChg chg="mod">
          <ac:chgData name="Sindija Kirsteine (LV)" userId="5f25501a-2215-4bb3-9d9c-8d1484ffa7c1" providerId="ADAL" clId="{AD634740-2A4A-4DBA-91EE-B286EB63FCB7}" dt="2024-06-05T08:28:34.445" v="632"/>
          <ac:spMkLst>
            <pc:docMk/>
            <pc:sldMk cId="2785126703" sldId="2147481904"/>
            <ac:spMk id="8" creationId="{956F4393-251E-B07A-1A42-0ECEBA2117CB}"/>
          </ac:spMkLst>
        </pc:spChg>
        <pc:spChg chg="mod">
          <ac:chgData name="Sindija Kirsteine (LV)" userId="5f25501a-2215-4bb3-9d9c-8d1484ffa7c1" providerId="ADAL" clId="{AD634740-2A4A-4DBA-91EE-B286EB63FCB7}" dt="2024-06-05T08:28:34.445" v="632"/>
          <ac:spMkLst>
            <pc:docMk/>
            <pc:sldMk cId="2785126703" sldId="2147481904"/>
            <ac:spMk id="9" creationId="{17E95B63-BE5A-7B81-1B0C-696CF5027E5A}"/>
          </ac:spMkLst>
        </pc:spChg>
        <pc:spChg chg="mod">
          <ac:chgData name="Sindija Kirsteine (LV)" userId="5f25501a-2215-4bb3-9d9c-8d1484ffa7c1" providerId="ADAL" clId="{AD634740-2A4A-4DBA-91EE-B286EB63FCB7}" dt="2024-06-05T08:28:34.445" v="632"/>
          <ac:spMkLst>
            <pc:docMk/>
            <pc:sldMk cId="2785126703" sldId="2147481904"/>
            <ac:spMk id="10" creationId="{2CBFB29C-AA09-F2D4-775E-D339AA9ECFE7}"/>
          </ac:spMkLst>
        </pc:spChg>
        <pc:spChg chg="mod">
          <ac:chgData name="Sindija Kirsteine (LV)" userId="5f25501a-2215-4bb3-9d9c-8d1484ffa7c1" providerId="ADAL" clId="{AD634740-2A4A-4DBA-91EE-B286EB63FCB7}" dt="2024-06-05T08:28:34.445" v="632"/>
          <ac:spMkLst>
            <pc:docMk/>
            <pc:sldMk cId="2785126703" sldId="2147481904"/>
            <ac:spMk id="16" creationId="{7CC162E5-78BF-2E9E-5A0A-1AD1B71B5C6F}"/>
          </ac:spMkLst>
        </pc:spChg>
        <pc:spChg chg="mod">
          <ac:chgData name="Sindija Kirsteine (LV)" userId="5f25501a-2215-4bb3-9d9c-8d1484ffa7c1" providerId="ADAL" clId="{AD634740-2A4A-4DBA-91EE-B286EB63FCB7}" dt="2024-06-05T08:28:34.445" v="632"/>
          <ac:spMkLst>
            <pc:docMk/>
            <pc:sldMk cId="2785126703" sldId="2147481904"/>
            <ac:spMk id="22" creationId="{842CCC65-0BD9-B267-4F52-763804492465}"/>
          </ac:spMkLst>
        </pc:spChg>
        <pc:spChg chg="mod">
          <ac:chgData name="Sindija Kirsteine (LV)" userId="5f25501a-2215-4bb3-9d9c-8d1484ffa7c1" providerId="ADAL" clId="{AD634740-2A4A-4DBA-91EE-B286EB63FCB7}" dt="2024-06-05T08:28:34.445" v="632"/>
          <ac:spMkLst>
            <pc:docMk/>
            <pc:sldMk cId="2785126703" sldId="2147481904"/>
            <ac:spMk id="29" creationId="{A9183982-9AA5-3064-E041-E25A50B341F8}"/>
          </ac:spMkLst>
        </pc:spChg>
        <pc:spChg chg="mod">
          <ac:chgData name="Sindija Kirsteine (LV)" userId="5f25501a-2215-4bb3-9d9c-8d1484ffa7c1" providerId="ADAL" clId="{AD634740-2A4A-4DBA-91EE-B286EB63FCB7}" dt="2024-06-05T08:28:34.445" v="632"/>
          <ac:spMkLst>
            <pc:docMk/>
            <pc:sldMk cId="2785126703" sldId="2147481904"/>
            <ac:spMk id="30" creationId="{51066D8C-EAF4-7B11-7C49-795BB66807E1}"/>
          </ac:spMkLst>
        </pc:spChg>
        <pc:grpChg chg="add mod">
          <ac:chgData name="Sindija Kirsteine (LV)" userId="5f25501a-2215-4bb3-9d9c-8d1484ffa7c1" providerId="ADAL" clId="{AD634740-2A4A-4DBA-91EE-B286EB63FCB7}" dt="2024-06-05T08:28:34.445" v="632"/>
          <ac:grpSpMkLst>
            <pc:docMk/>
            <pc:sldMk cId="2785126703" sldId="2147481904"/>
            <ac:grpSpMk id="7" creationId="{8E5DDB61-3D3D-28DB-CF8C-F76D813D18E3}"/>
          </ac:grpSpMkLst>
        </pc:grpChg>
        <pc:grpChg chg="del">
          <ac:chgData name="Sindija Kirsteine (LV)" userId="5f25501a-2215-4bb3-9d9c-8d1484ffa7c1" providerId="ADAL" clId="{AD634740-2A4A-4DBA-91EE-B286EB63FCB7}" dt="2024-06-05T08:28:34.145" v="631" actId="478"/>
          <ac:grpSpMkLst>
            <pc:docMk/>
            <pc:sldMk cId="2785126703" sldId="2147481904"/>
            <ac:grpSpMk id="43" creationId="{D48C5550-88FE-CDE7-0DDA-5330E34DFE89}"/>
          </ac:grpSpMkLst>
        </pc:grpChg>
      </pc:sldChg>
      <pc:sldChg chg="addSp delSp modSp mod">
        <pc:chgData name="Sindija Kirsteine (LV)" userId="5f25501a-2215-4bb3-9d9c-8d1484ffa7c1" providerId="ADAL" clId="{AD634740-2A4A-4DBA-91EE-B286EB63FCB7}" dt="2024-06-05T08:28:37.287" v="635"/>
        <pc:sldMkLst>
          <pc:docMk/>
          <pc:sldMk cId="4233423074" sldId="2147481905"/>
        </pc:sldMkLst>
        <pc:spChg chg="mod">
          <ac:chgData name="Sindija Kirsteine (LV)" userId="5f25501a-2215-4bb3-9d9c-8d1484ffa7c1" providerId="ADAL" clId="{AD634740-2A4A-4DBA-91EE-B286EB63FCB7}" dt="2024-06-05T08:23:17.477" v="456"/>
          <ac:spMkLst>
            <pc:docMk/>
            <pc:sldMk cId="4233423074" sldId="2147481905"/>
            <ac:spMk id="5" creationId="{2CEB3D9C-E816-F65C-9AF8-BCBDCD9B5290}"/>
          </ac:spMkLst>
        </pc:spChg>
        <pc:spChg chg="mod">
          <ac:chgData name="Sindija Kirsteine (LV)" userId="5f25501a-2215-4bb3-9d9c-8d1484ffa7c1" providerId="ADAL" clId="{AD634740-2A4A-4DBA-91EE-B286EB63FCB7}" dt="2024-06-05T08:28:37.287" v="635"/>
          <ac:spMkLst>
            <pc:docMk/>
            <pc:sldMk cId="4233423074" sldId="2147481905"/>
            <ac:spMk id="7" creationId="{F60C031E-0CA5-19CE-02E2-D78168C0C432}"/>
          </ac:spMkLst>
        </pc:spChg>
        <pc:spChg chg="mod">
          <ac:chgData name="Sindija Kirsteine (LV)" userId="5f25501a-2215-4bb3-9d9c-8d1484ffa7c1" providerId="ADAL" clId="{AD634740-2A4A-4DBA-91EE-B286EB63FCB7}" dt="2024-06-05T08:28:37.287" v="635"/>
          <ac:spMkLst>
            <pc:docMk/>
            <pc:sldMk cId="4233423074" sldId="2147481905"/>
            <ac:spMk id="9" creationId="{73F1981D-C806-70CF-1837-6A46FF385161}"/>
          </ac:spMkLst>
        </pc:spChg>
        <pc:spChg chg="mod">
          <ac:chgData name="Sindija Kirsteine (LV)" userId="5f25501a-2215-4bb3-9d9c-8d1484ffa7c1" providerId="ADAL" clId="{AD634740-2A4A-4DBA-91EE-B286EB63FCB7}" dt="2024-06-05T08:28:37.287" v="635"/>
          <ac:spMkLst>
            <pc:docMk/>
            <pc:sldMk cId="4233423074" sldId="2147481905"/>
            <ac:spMk id="10" creationId="{F31086A3-BA99-B2BD-D303-5F15E4A1FA7E}"/>
          </ac:spMkLst>
        </pc:spChg>
        <pc:spChg chg="mod">
          <ac:chgData name="Sindija Kirsteine (LV)" userId="5f25501a-2215-4bb3-9d9c-8d1484ffa7c1" providerId="ADAL" clId="{AD634740-2A4A-4DBA-91EE-B286EB63FCB7}" dt="2024-06-05T08:28:37.287" v="635"/>
          <ac:spMkLst>
            <pc:docMk/>
            <pc:sldMk cId="4233423074" sldId="2147481905"/>
            <ac:spMk id="16" creationId="{BCFEAAEB-70A1-2A5C-1AAF-7741BA072FBF}"/>
          </ac:spMkLst>
        </pc:spChg>
        <pc:spChg chg="mod">
          <ac:chgData name="Sindija Kirsteine (LV)" userId="5f25501a-2215-4bb3-9d9c-8d1484ffa7c1" providerId="ADAL" clId="{AD634740-2A4A-4DBA-91EE-B286EB63FCB7}" dt="2024-06-05T08:28:37.287" v="635"/>
          <ac:spMkLst>
            <pc:docMk/>
            <pc:sldMk cId="4233423074" sldId="2147481905"/>
            <ac:spMk id="22" creationId="{DBF61592-5C12-633B-76FD-E1B8A80C2707}"/>
          </ac:spMkLst>
        </pc:spChg>
        <pc:spChg chg="mod">
          <ac:chgData name="Sindija Kirsteine (LV)" userId="5f25501a-2215-4bb3-9d9c-8d1484ffa7c1" providerId="ADAL" clId="{AD634740-2A4A-4DBA-91EE-B286EB63FCB7}" dt="2024-06-05T08:28:37.287" v="635"/>
          <ac:spMkLst>
            <pc:docMk/>
            <pc:sldMk cId="4233423074" sldId="2147481905"/>
            <ac:spMk id="29" creationId="{A3749CF4-265C-2736-C610-7B5D7F96F034}"/>
          </ac:spMkLst>
        </pc:spChg>
        <pc:spChg chg="mod">
          <ac:chgData name="Sindija Kirsteine (LV)" userId="5f25501a-2215-4bb3-9d9c-8d1484ffa7c1" providerId="ADAL" clId="{AD634740-2A4A-4DBA-91EE-B286EB63FCB7}" dt="2024-06-05T08:28:37.287" v="635"/>
          <ac:spMkLst>
            <pc:docMk/>
            <pc:sldMk cId="4233423074" sldId="2147481905"/>
            <ac:spMk id="30" creationId="{72C727B7-2778-6335-FF0B-24BD8596D0EE}"/>
          </ac:spMkLst>
        </pc:spChg>
        <pc:grpChg chg="add mod">
          <ac:chgData name="Sindija Kirsteine (LV)" userId="5f25501a-2215-4bb3-9d9c-8d1484ffa7c1" providerId="ADAL" clId="{AD634740-2A4A-4DBA-91EE-B286EB63FCB7}" dt="2024-06-05T08:28:37.287" v="635"/>
          <ac:grpSpMkLst>
            <pc:docMk/>
            <pc:sldMk cId="4233423074" sldId="2147481905"/>
            <ac:grpSpMk id="6" creationId="{19779CEC-DA6C-1745-0562-31AE99ED8737}"/>
          </ac:grpSpMkLst>
        </pc:grpChg>
        <pc:grpChg chg="del">
          <ac:chgData name="Sindija Kirsteine (LV)" userId="5f25501a-2215-4bb3-9d9c-8d1484ffa7c1" providerId="ADAL" clId="{AD634740-2A4A-4DBA-91EE-B286EB63FCB7}" dt="2024-06-05T08:28:37.033" v="634" actId="478"/>
          <ac:grpSpMkLst>
            <pc:docMk/>
            <pc:sldMk cId="4233423074" sldId="2147481905"/>
            <ac:grpSpMk id="45" creationId="{C98B3666-F63F-061A-9E10-30A5B54BE992}"/>
          </ac:grpSpMkLst>
        </pc:grpChg>
      </pc:sldChg>
      <pc:sldChg chg="addSp delSp modSp mod modShow delCm">
        <pc:chgData name="Sindija Kirsteine (LV)" userId="5f25501a-2215-4bb3-9d9c-8d1484ffa7c1" providerId="ADAL" clId="{AD634740-2A4A-4DBA-91EE-B286EB63FCB7}" dt="2024-06-05T08:27:51.829" v="605"/>
        <pc:sldMkLst>
          <pc:docMk/>
          <pc:sldMk cId="2829430444" sldId="2147481906"/>
        </pc:sldMkLst>
        <pc:spChg chg="mod">
          <ac:chgData name="Sindija Kirsteine (LV)" userId="5f25501a-2215-4bb3-9d9c-8d1484ffa7c1" providerId="ADAL" clId="{AD634740-2A4A-4DBA-91EE-B286EB63FCB7}" dt="2024-06-05T08:22:53.290" v="437"/>
          <ac:spMkLst>
            <pc:docMk/>
            <pc:sldMk cId="2829430444" sldId="2147481906"/>
            <ac:spMk id="6" creationId="{B406E0CD-6107-E269-B513-42F75DF0F104}"/>
          </ac:spMkLst>
        </pc:spChg>
        <pc:spChg chg="mod">
          <ac:chgData name="Sindija Kirsteine (LV)" userId="5f25501a-2215-4bb3-9d9c-8d1484ffa7c1" providerId="ADAL" clId="{AD634740-2A4A-4DBA-91EE-B286EB63FCB7}" dt="2024-06-05T08:27:51.829" v="605"/>
          <ac:spMkLst>
            <pc:docMk/>
            <pc:sldMk cId="2829430444" sldId="2147481906"/>
            <ac:spMk id="8" creationId="{3DFFD00F-D0DF-7F84-FFD0-EF989C35F86B}"/>
          </ac:spMkLst>
        </pc:spChg>
        <pc:spChg chg="mod">
          <ac:chgData name="Sindija Kirsteine (LV)" userId="5f25501a-2215-4bb3-9d9c-8d1484ffa7c1" providerId="ADAL" clId="{AD634740-2A4A-4DBA-91EE-B286EB63FCB7}" dt="2024-06-05T08:27:51.829" v="605"/>
          <ac:spMkLst>
            <pc:docMk/>
            <pc:sldMk cId="2829430444" sldId="2147481906"/>
            <ac:spMk id="9" creationId="{02D61EFE-3B80-47F6-5A47-078F49031281}"/>
          </ac:spMkLst>
        </pc:spChg>
        <pc:spChg chg="mod">
          <ac:chgData name="Sindija Kirsteine (LV)" userId="5f25501a-2215-4bb3-9d9c-8d1484ffa7c1" providerId="ADAL" clId="{AD634740-2A4A-4DBA-91EE-B286EB63FCB7}" dt="2024-06-05T08:27:51.829" v="605"/>
          <ac:spMkLst>
            <pc:docMk/>
            <pc:sldMk cId="2829430444" sldId="2147481906"/>
            <ac:spMk id="10" creationId="{E7620417-CA25-4C85-685A-F9654D084E1A}"/>
          </ac:spMkLst>
        </pc:spChg>
        <pc:spChg chg="mod">
          <ac:chgData name="Sindija Kirsteine (LV)" userId="5f25501a-2215-4bb3-9d9c-8d1484ffa7c1" providerId="ADAL" clId="{AD634740-2A4A-4DBA-91EE-B286EB63FCB7}" dt="2024-06-05T08:27:51.829" v="605"/>
          <ac:spMkLst>
            <pc:docMk/>
            <pc:sldMk cId="2829430444" sldId="2147481906"/>
            <ac:spMk id="11" creationId="{416EA174-AF69-E288-DE3A-FC6ADA020D52}"/>
          </ac:spMkLst>
        </pc:spChg>
        <pc:spChg chg="mod">
          <ac:chgData name="Sindija Kirsteine (LV)" userId="5f25501a-2215-4bb3-9d9c-8d1484ffa7c1" providerId="ADAL" clId="{AD634740-2A4A-4DBA-91EE-B286EB63FCB7}" dt="2024-06-05T08:27:51.829" v="605"/>
          <ac:spMkLst>
            <pc:docMk/>
            <pc:sldMk cId="2829430444" sldId="2147481906"/>
            <ac:spMk id="12" creationId="{D704CE20-9536-92A4-D490-043CA68244AE}"/>
          </ac:spMkLst>
        </pc:spChg>
        <pc:spChg chg="mod">
          <ac:chgData name="Sindija Kirsteine (LV)" userId="5f25501a-2215-4bb3-9d9c-8d1484ffa7c1" providerId="ADAL" clId="{AD634740-2A4A-4DBA-91EE-B286EB63FCB7}" dt="2024-06-05T08:27:51.829" v="605"/>
          <ac:spMkLst>
            <pc:docMk/>
            <pc:sldMk cId="2829430444" sldId="2147481906"/>
            <ac:spMk id="13" creationId="{04A46851-83AA-438A-B9EC-DD1194BC5271}"/>
          </ac:spMkLst>
        </pc:spChg>
        <pc:spChg chg="mod">
          <ac:chgData name="Sindija Kirsteine (LV)" userId="5f25501a-2215-4bb3-9d9c-8d1484ffa7c1" providerId="ADAL" clId="{AD634740-2A4A-4DBA-91EE-B286EB63FCB7}" dt="2024-06-05T08:27:51.829" v="605"/>
          <ac:spMkLst>
            <pc:docMk/>
            <pc:sldMk cId="2829430444" sldId="2147481906"/>
            <ac:spMk id="14" creationId="{0CBE937F-3213-6795-4DF8-1626D9DA7EFC}"/>
          </ac:spMkLst>
        </pc:spChg>
        <pc:grpChg chg="add mod">
          <ac:chgData name="Sindija Kirsteine (LV)" userId="5f25501a-2215-4bb3-9d9c-8d1484ffa7c1" providerId="ADAL" clId="{AD634740-2A4A-4DBA-91EE-B286EB63FCB7}" dt="2024-06-05T08:27:51.829" v="605"/>
          <ac:grpSpMkLst>
            <pc:docMk/>
            <pc:sldMk cId="2829430444" sldId="2147481906"/>
            <ac:grpSpMk id="7" creationId="{BCD0AA48-9F08-F075-1407-FAA6F01E4B45}"/>
          </ac:grpSpMkLst>
        </pc:grpChg>
        <pc:grpChg chg="del">
          <ac:chgData name="Sindija Kirsteine (LV)" userId="5f25501a-2215-4bb3-9d9c-8d1484ffa7c1" providerId="ADAL" clId="{AD634740-2A4A-4DBA-91EE-B286EB63FCB7}" dt="2024-06-05T08:27:51.591" v="604" actId="478"/>
          <ac:grpSpMkLst>
            <pc:docMk/>
            <pc:sldMk cId="2829430444" sldId="2147481906"/>
            <ac:grpSpMk id="17" creationId="{320EC272-4CB1-116E-B0A7-9A31405D4604}"/>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2:55.828" v="438"/>
              <pc2:cmMkLst xmlns:pc2="http://schemas.microsoft.com/office/powerpoint/2019/9/main/command">
                <pc:docMk/>
                <pc:sldMk cId="2829430444" sldId="2147481906"/>
                <pc2:cmMk id="{1DB3209B-44DF-4971-85FB-B9884D31D252}"/>
              </pc2:cmMkLst>
            </pc226:cmChg>
          </p:ext>
        </pc:extLst>
      </pc:sldChg>
      <pc:sldChg chg="modSp mod ord">
        <pc:chgData name="Sindija Kirsteine (LV)" userId="5f25501a-2215-4bb3-9d9c-8d1484ffa7c1" providerId="ADAL" clId="{AD634740-2A4A-4DBA-91EE-B286EB63FCB7}" dt="2024-06-07T14:59:17.591" v="2338"/>
        <pc:sldMkLst>
          <pc:docMk/>
          <pc:sldMk cId="3128847407" sldId="2147481907"/>
        </pc:sldMkLst>
        <pc:spChg chg="mod">
          <ac:chgData name="Sindija Kirsteine (LV)" userId="5f25501a-2215-4bb3-9d9c-8d1484ffa7c1" providerId="ADAL" clId="{AD634740-2A4A-4DBA-91EE-B286EB63FCB7}" dt="2024-06-05T08:24:42.691" v="509"/>
          <ac:spMkLst>
            <pc:docMk/>
            <pc:sldMk cId="3128847407" sldId="2147481907"/>
            <ac:spMk id="3" creationId="{F1A5A26E-574D-2AC5-4F80-E48A4066AE2F}"/>
          </ac:spMkLst>
        </pc:spChg>
        <pc:spChg chg="mod">
          <ac:chgData name="Sindija Kirsteine (LV)" userId="5f25501a-2215-4bb3-9d9c-8d1484ffa7c1" providerId="ADAL" clId="{AD634740-2A4A-4DBA-91EE-B286EB63FCB7}" dt="2024-06-05T08:33:47.391" v="803" actId="20577"/>
          <ac:spMkLst>
            <pc:docMk/>
            <pc:sldMk cId="3128847407" sldId="2147481907"/>
            <ac:spMk id="6" creationId="{DAB81C20-D32E-24EE-E4FA-AA197902A155}"/>
          </ac:spMkLst>
        </pc:spChg>
        <pc:spChg chg="mod">
          <ac:chgData name="Sindija Kirsteine (LV)" userId="5f25501a-2215-4bb3-9d9c-8d1484ffa7c1" providerId="ADAL" clId="{AD634740-2A4A-4DBA-91EE-B286EB63FCB7}" dt="2024-06-05T08:33:49.312" v="805" actId="20577"/>
          <ac:spMkLst>
            <pc:docMk/>
            <pc:sldMk cId="3128847407" sldId="2147481907"/>
            <ac:spMk id="7" creationId="{E0A4259A-F997-04E0-0705-AE2AF7451869}"/>
          </ac:spMkLst>
        </pc:spChg>
        <pc:spChg chg="mod">
          <ac:chgData name="Sindija Kirsteine (LV)" userId="5f25501a-2215-4bb3-9d9c-8d1484ffa7c1" providerId="ADAL" clId="{AD634740-2A4A-4DBA-91EE-B286EB63FCB7}" dt="2024-06-05T08:33:51.229" v="807" actId="20577"/>
          <ac:spMkLst>
            <pc:docMk/>
            <pc:sldMk cId="3128847407" sldId="2147481907"/>
            <ac:spMk id="8" creationId="{AB86B0D4-FDB5-F93D-A67F-E0653FE221F5}"/>
          </ac:spMkLst>
        </pc:spChg>
        <pc:spChg chg="mod">
          <ac:chgData name="Sindija Kirsteine (LV)" userId="5f25501a-2215-4bb3-9d9c-8d1484ffa7c1" providerId="ADAL" clId="{AD634740-2A4A-4DBA-91EE-B286EB63FCB7}" dt="2024-06-05T08:33:30.827" v="780" actId="14100"/>
          <ac:spMkLst>
            <pc:docMk/>
            <pc:sldMk cId="3128847407" sldId="2147481907"/>
            <ac:spMk id="9" creationId="{30EBF770-DC27-18E6-B867-2A343C0790C9}"/>
          </ac:spMkLst>
        </pc:spChg>
        <pc:spChg chg="mod">
          <ac:chgData name="Sindija Kirsteine (LV)" userId="5f25501a-2215-4bb3-9d9c-8d1484ffa7c1" providerId="ADAL" clId="{AD634740-2A4A-4DBA-91EE-B286EB63FCB7}" dt="2024-06-05T08:33:53.243" v="809" actId="20577"/>
          <ac:spMkLst>
            <pc:docMk/>
            <pc:sldMk cId="3128847407" sldId="2147481907"/>
            <ac:spMk id="10" creationId="{F899C34E-16F7-5514-9C32-B28880061B27}"/>
          </ac:spMkLst>
        </pc:spChg>
        <pc:spChg chg="mod">
          <ac:chgData name="Sindija Kirsteine (LV)" userId="5f25501a-2215-4bb3-9d9c-8d1484ffa7c1" providerId="ADAL" clId="{AD634740-2A4A-4DBA-91EE-B286EB63FCB7}" dt="2024-06-05T08:33:56.499" v="811" actId="20577"/>
          <ac:spMkLst>
            <pc:docMk/>
            <pc:sldMk cId="3128847407" sldId="2147481907"/>
            <ac:spMk id="11" creationId="{70C3C215-AC80-0A48-33C4-B740E3FD62BA}"/>
          </ac:spMkLst>
        </pc:spChg>
        <pc:spChg chg="mod">
          <ac:chgData name="Sindija Kirsteine (LV)" userId="5f25501a-2215-4bb3-9d9c-8d1484ffa7c1" providerId="ADAL" clId="{AD634740-2A4A-4DBA-91EE-B286EB63FCB7}" dt="2024-06-05T08:33:58.603" v="813" actId="20577"/>
          <ac:spMkLst>
            <pc:docMk/>
            <pc:sldMk cId="3128847407" sldId="2147481907"/>
            <ac:spMk id="12" creationId="{E42CD32F-A2CD-EE3A-F712-005B97754DA8}"/>
          </ac:spMkLst>
        </pc:spChg>
        <pc:grpChg chg="mod">
          <ac:chgData name="Sindija Kirsteine (LV)" userId="5f25501a-2215-4bb3-9d9c-8d1484ffa7c1" providerId="ADAL" clId="{AD634740-2A4A-4DBA-91EE-B286EB63FCB7}" dt="2024-06-05T08:34:31.206" v="828" actId="1076"/>
          <ac:grpSpMkLst>
            <pc:docMk/>
            <pc:sldMk cId="3128847407" sldId="2147481907"/>
            <ac:grpSpMk id="5" creationId="{AE591392-AD16-8406-4F83-751B2E4413AF}"/>
          </ac:grpSpMkLst>
        </pc:grpChg>
      </pc:sldChg>
      <pc:sldChg chg="addSp delSp modSp mod">
        <pc:chgData name="Sindija Kirsteine (LV)" userId="5f25501a-2215-4bb3-9d9c-8d1484ffa7c1" providerId="ADAL" clId="{AD634740-2A4A-4DBA-91EE-B286EB63FCB7}" dt="2024-06-05T08:36:11.552" v="881"/>
        <pc:sldMkLst>
          <pc:docMk/>
          <pc:sldMk cId="372668532" sldId="2147481911"/>
        </pc:sldMkLst>
        <pc:spChg chg="mod">
          <ac:chgData name="Sindija Kirsteine (LV)" userId="5f25501a-2215-4bb3-9d9c-8d1484ffa7c1" providerId="ADAL" clId="{AD634740-2A4A-4DBA-91EE-B286EB63FCB7}" dt="2024-06-05T08:25:45.572" v="541"/>
          <ac:spMkLst>
            <pc:docMk/>
            <pc:sldMk cId="372668532" sldId="2147481911"/>
            <ac:spMk id="2" creationId="{53B30FED-9B53-D0C4-3815-3E91A10C1E57}"/>
          </ac:spMkLst>
        </pc:spChg>
        <pc:spChg chg="mod">
          <ac:chgData name="Sindija Kirsteine (LV)" userId="5f25501a-2215-4bb3-9d9c-8d1484ffa7c1" providerId="ADAL" clId="{AD634740-2A4A-4DBA-91EE-B286EB63FCB7}" dt="2024-06-05T08:36:11.552" v="881"/>
          <ac:spMkLst>
            <pc:docMk/>
            <pc:sldMk cId="372668532" sldId="2147481911"/>
            <ac:spMk id="20" creationId="{0FB1938E-68EF-4A94-187E-3602A1A716E6}"/>
          </ac:spMkLst>
        </pc:spChg>
        <pc:spChg chg="mod">
          <ac:chgData name="Sindija Kirsteine (LV)" userId="5f25501a-2215-4bb3-9d9c-8d1484ffa7c1" providerId="ADAL" clId="{AD634740-2A4A-4DBA-91EE-B286EB63FCB7}" dt="2024-06-05T08:36:11.552" v="881"/>
          <ac:spMkLst>
            <pc:docMk/>
            <pc:sldMk cId="372668532" sldId="2147481911"/>
            <ac:spMk id="21" creationId="{F486D58A-47AF-0DB2-B8F8-5553DEA13D36}"/>
          </ac:spMkLst>
        </pc:spChg>
        <pc:spChg chg="mod">
          <ac:chgData name="Sindija Kirsteine (LV)" userId="5f25501a-2215-4bb3-9d9c-8d1484ffa7c1" providerId="ADAL" clId="{AD634740-2A4A-4DBA-91EE-B286EB63FCB7}" dt="2024-06-05T08:36:11.552" v="881"/>
          <ac:spMkLst>
            <pc:docMk/>
            <pc:sldMk cId="372668532" sldId="2147481911"/>
            <ac:spMk id="24" creationId="{BA0022F6-CFD8-F4EA-1FCF-6ACD960761B1}"/>
          </ac:spMkLst>
        </pc:spChg>
        <pc:spChg chg="mod">
          <ac:chgData name="Sindija Kirsteine (LV)" userId="5f25501a-2215-4bb3-9d9c-8d1484ffa7c1" providerId="ADAL" clId="{AD634740-2A4A-4DBA-91EE-B286EB63FCB7}" dt="2024-06-05T08:36:11.552" v="881"/>
          <ac:spMkLst>
            <pc:docMk/>
            <pc:sldMk cId="372668532" sldId="2147481911"/>
            <ac:spMk id="29" creationId="{34635AC7-76A8-C347-A90C-4544F7E040F4}"/>
          </ac:spMkLst>
        </pc:spChg>
        <pc:spChg chg="mod">
          <ac:chgData name="Sindija Kirsteine (LV)" userId="5f25501a-2215-4bb3-9d9c-8d1484ffa7c1" providerId="ADAL" clId="{AD634740-2A4A-4DBA-91EE-B286EB63FCB7}" dt="2024-06-05T08:36:11.552" v="881"/>
          <ac:spMkLst>
            <pc:docMk/>
            <pc:sldMk cId="372668532" sldId="2147481911"/>
            <ac:spMk id="30" creationId="{57303D6F-62FD-2145-A87C-411BA9CB709B}"/>
          </ac:spMkLst>
        </pc:spChg>
        <pc:spChg chg="mod">
          <ac:chgData name="Sindija Kirsteine (LV)" userId="5f25501a-2215-4bb3-9d9c-8d1484ffa7c1" providerId="ADAL" clId="{AD634740-2A4A-4DBA-91EE-B286EB63FCB7}" dt="2024-06-05T08:36:11.552" v="881"/>
          <ac:spMkLst>
            <pc:docMk/>
            <pc:sldMk cId="372668532" sldId="2147481911"/>
            <ac:spMk id="32" creationId="{838C6ED8-DD8E-7ED6-7B96-325EEEB9CF15}"/>
          </ac:spMkLst>
        </pc:spChg>
        <pc:spChg chg="mod">
          <ac:chgData name="Sindija Kirsteine (LV)" userId="5f25501a-2215-4bb3-9d9c-8d1484ffa7c1" providerId="ADAL" clId="{AD634740-2A4A-4DBA-91EE-B286EB63FCB7}" dt="2024-06-05T08:36:11.552" v="881"/>
          <ac:spMkLst>
            <pc:docMk/>
            <pc:sldMk cId="372668532" sldId="2147481911"/>
            <ac:spMk id="33" creationId="{8C5C4C89-9F7A-964D-FE46-7CAE879772DB}"/>
          </ac:spMkLst>
        </pc:spChg>
        <pc:grpChg chg="del">
          <ac:chgData name="Sindija Kirsteine (LV)" userId="5f25501a-2215-4bb3-9d9c-8d1484ffa7c1" providerId="ADAL" clId="{AD634740-2A4A-4DBA-91EE-B286EB63FCB7}" dt="2024-06-05T08:36:11.347" v="880" actId="478"/>
          <ac:grpSpMkLst>
            <pc:docMk/>
            <pc:sldMk cId="372668532" sldId="2147481911"/>
            <ac:grpSpMk id="9" creationId="{F4AB2EF3-E637-36CE-8629-537CA9883D59}"/>
          </ac:grpSpMkLst>
        </pc:grpChg>
        <pc:grpChg chg="add mod">
          <ac:chgData name="Sindija Kirsteine (LV)" userId="5f25501a-2215-4bb3-9d9c-8d1484ffa7c1" providerId="ADAL" clId="{AD634740-2A4A-4DBA-91EE-B286EB63FCB7}" dt="2024-06-05T08:36:11.552" v="881"/>
          <ac:grpSpMkLst>
            <pc:docMk/>
            <pc:sldMk cId="372668532" sldId="2147481911"/>
            <ac:grpSpMk id="19" creationId="{6ED6C4B5-7981-36D1-47E9-3BB8F308AD39}"/>
          </ac:grpSpMkLst>
        </pc:grpChg>
      </pc:sldChg>
      <pc:sldChg chg="addSp delSp modSp mod">
        <pc:chgData name="Sindija Kirsteine (LV)" userId="5f25501a-2215-4bb3-9d9c-8d1484ffa7c1" providerId="ADAL" clId="{AD634740-2A4A-4DBA-91EE-B286EB63FCB7}" dt="2024-06-05T08:28:22.804" v="625"/>
        <pc:sldMkLst>
          <pc:docMk/>
          <pc:sldMk cId="902380533" sldId="2147481912"/>
        </pc:sldMkLst>
        <pc:spChg chg="mod">
          <ac:chgData name="Sindija Kirsteine (LV)" userId="5f25501a-2215-4bb3-9d9c-8d1484ffa7c1" providerId="ADAL" clId="{AD634740-2A4A-4DBA-91EE-B286EB63FCB7}" dt="2024-06-05T08:23:13.345" v="452"/>
          <ac:spMkLst>
            <pc:docMk/>
            <pc:sldMk cId="902380533" sldId="2147481912"/>
            <ac:spMk id="2" creationId="{54AE6F26-EA3E-592F-41FC-B23FB4F07D34}"/>
          </ac:spMkLst>
        </pc:spChg>
        <pc:spChg chg="mod">
          <ac:chgData name="Sindija Kirsteine (LV)" userId="5f25501a-2215-4bb3-9d9c-8d1484ffa7c1" providerId="ADAL" clId="{AD634740-2A4A-4DBA-91EE-B286EB63FCB7}" dt="2024-06-05T08:28:22.804" v="625"/>
          <ac:spMkLst>
            <pc:docMk/>
            <pc:sldMk cId="902380533" sldId="2147481912"/>
            <ac:spMk id="6" creationId="{91E9FB8C-3EC3-1E57-2BD4-92F28B67C87E}"/>
          </ac:spMkLst>
        </pc:spChg>
        <pc:spChg chg="mod">
          <ac:chgData name="Sindija Kirsteine (LV)" userId="5f25501a-2215-4bb3-9d9c-8d1484ffa7c1" providerId="ADAL" clId="{AD634740-2A4A-4DBA-91EE-B286EB63FCB7}" dt="2024-06-05T08:28:22.804" v="625"/>
          <ac:spMkLst>
            <pc:docMk/>
            <pc:sldMk cId="902380533" sldId="2147481912"/>
            <ac:spMk id="7" creationId="{1740CACC-7AE3-12C7-C7AC-9DA693325286}"/>
          </ac:spMkLst>
        </pc:spChg>
        <pc:spChg chg="mod">
          <ac:chgData name="Sindija Kirsteine (LV)" userId="5f25501a-2215-4bb3-9d9c-8d1484ffa7c1" providerId="ADAL" clId="{AD634740-2A4A-4DBA-91EE-B286EB63FCB7}" dt="2024-06-05T08:28:22.804" v="625"/>
          <ac:spMkLst>
            <pc:docMk/>
            <pc:sldMk cId="902380533" sldId="2147481912"/>
            <ac:spMk id="9" creationId="{EBB7652D-EDC7-D630-4E56-569E327A097D}"/>
          </ac:spMkLst>
        </pc:spChg>
        <pc:spChg chg="mod">
          <ac:chgData name="Sindija Kirsteine (LV)" userId="5f25501a-2215-4bb3-9d9c-8d1484ffa7c1" providerId="ADAL" clId="{AD634740-2A4A-4DBA-91EE-B286EB63FCB7}" dt="2024-06-05T08:28:22.804" v="625"/>
          <ac:spMkLst>
            <pc:docMk/>
            <pc:sldMk cId="902380533" sldId="2147481912"/>
            <ac:spMk id="10" creationId="{4D2EA8DC-5CD7-C478-A788-32EA4B653FCD}"/>
          </ac:spMkLst>
        </pc:spChg>
        <pc:spChg chg="mod">
          <ac:chgData name="Sindija Kirsteine (LV)" userId="5f25501a-2215-4bb3-9d9c-8d1484ffa7c1" providerId="ADAL" clId="{AD634740-2A4A-4DBA-91EE-B286EB63FCB7}" dt="2024-06-05T08:28:22.804" v="625"/>
          <ac:spMkLst>
            <pc:docMk/>
            <pc:sldMk cId="902380533" sldId="2147481912"/>
            <ac:spMk id="16" creationId="{800DD161-BC20-385F-8050-FFEEAFAE9591}"/>
          </ac:spMkLst>
        </pc:spChg>
        <pc:spChg chg="mod">
          <ac:chgData name="Sindija Kirsteine (LV)" userId="5f25501a-2215-4bb3-9d9c-8d1484ffa7c1" providerId="ADAL" clId="{AD634740-2A4A-4DBA-91EE-B286EB63FCB7}" dt="2024-06-05T08:28:22.804" v="625"/>
          <ac:spMkLst>
            <pc:docMk/>
            <pc:sldMk cId="902380533" sldId="2147481912"/>
            <ac:spMk id="29" creationId="{76D467BB-43B7-1547-A204-C84DA9AEDF0B}"/>
          </ac:spMkLst>
        </pc:spChg>
        <pc:spChg chg="mod">
          <ac:chgData name="Sindija Kirsteine (LV)" userId="5f25501a-2215-4bb3-9d9c-8d1484ffa7c1" providerId="ADAL" clId="{AD634740-2A4A-4DBA-91EE-B286EB63FCB7}" dt="2024-06-05T08:28:22.804" v="625"/>
          <ac:spMkLst>
            <pc:docMk/>
            <pc:sldMk cId="902380533" sldId="2147481912"/>
            <ac:spMk id="30" creationId="{8E17D939-2A30-CF92-9BD9-32DFF88D0CAE}"/>
          </ac:spMkLst>
        </pc:spChg>
        <pc:grpChg chg="add mod">
          <ac:chgData name="Sindija Kirsteine (LV)" userId="5f25501a-2215-4bb3-9d9c-8d1484ffa7c1" providerId="ADAL" clId="{AD634740-2A4A-4DBA-91EE-B286EB63FCB7}" dt="2024-06-05T08:28:22.804" v="625"/>
          <ac:grpSpMkLst>
            <pc:docMk/>
            <pc:sldMk cId="902380533" sldId="2147481912"/>
            <ac:grpSpMk id="3" creationId="{5145ACA6-1185-1877-4478-138A78D01351}"/>
          </ac:grpSpMkLst>
        </pc:grpChg>
        <pc:grpChg chg="del">
          <ac:chgData name="Sindija Kirsteine (LV)" userId="5f25501a-2215-4bb3-9d9c-8d1484ffa7c1" providerId="ADAL" clId="{AD634740-2A4A-4DBA-91EE-B286EB63FCB7}" dt="2024-06-05T08:28:22.393" v="624" actId="478"/>
          <ac:grpSpMkLst>
            <pc:docMk/>
            <pc:sldMk cId="902380533" sldId="2147481912"/>
            <ac:grpSpMk id="45" creationId="{8E1DD621-CFE3-F8B8-12D3-D162BA7D3F94}"/>
          </ac:grpSpMkLst>
        </pc:grpChg>
      </pc:sldChg>
      <pc:sldChg chg="addSp delSp modSp mod">
        <pc:chgData name="Sindija Kirsteine (LV)" userId="5f25501a-2215-4bb3-9d9c-8d1484ffa7c1" providerId="ADAL" clId="{AD634740-2A4A-4DBA-91EE-B286EB63FCB7}" dt="2024-06-05T08:36:14.528" v="884"/>
        <pc:sldMkLst>
          <pc:docMk/>
          <pc:sldMk cId="2494049098" sldId="2147481919"/>
        </pc:sldMkLst>
        <pc:spChg chg="mod">
          <ac:chgData name="Sindija Kirsteine (LV)" userId="5f25501a-2215-4bb3-9d9c-8d1484ffa7c1" providerId="ADAL" clId="{AD634740-2A4A-4DBA-91EE-B286EB63FCB7}" dt="2024-06-05T08:25:47.744" v="543"/>
          <ac:spMkLst>
            <pc:docMk/>
            <pc:sldMk cId="2494049098" sldId="2147481919"/>
            <ac:spMk id="2" creationId="{BEC6511E-C33A-6752-120D-B54808D54898}"/>
          </ac:spMkLst>
        </pc:spChg>
        <pc:spChg chg="mod">
          <ac:chgData name="Sindija Kirsteine (LV)" userId="5f25501a-2215-4bb3-9d9c-8d1484ffa7c1" providerId="ADAL" clId="{AD634740-2A4A-4DBA-91EE-B286EB63FCB7}" dt="2024-06-05T08:36:14.528" v="884"/>
          <ac:spMkLst>
            <pc:docMk/>
            <pc:sldMk cId="2494049098" sldId="2147481919"/>
            <ac:spMk id="4" creationId="{99903E4D-348F-A4A4-52F8-EE16DBEB2F44}"/>
          </ac:spMkLst>
        </pc:spChg>
        <pc:spChg chg="mod">
          <ac:chgData name="Sindija Kirsteine (LV)" userId="5f25501a-2215-4bb3-9d9c-8d1484ffa7c1" providerId="ADAL" clId="{AD634740-2A4A-4DBA-91EE-B286EB63FCB7}" dt="2024-06-05T08:36:14.528" v="884"/>
          <ac:spMkLst>
            <pc:docMk/>
            <pc:sldMk cId="2494049098" sldId="2147481919"/>
            <ac:spMk id="6" creationId="{28E2F74F-C27A-D2FF-7ADE-6092304315BD}"/>
          </ac:spMkLst>
        </pc:spChg>
        <pc:spChg chg="mod">
          <ac:chgData name="Sindija Kirsteine (LV)" userId="5f25501a-2215-4bb3-9d9c-8d1484ffa7c1" providerId="ADAL" clId="{AD634740-2A4A-4DBA-91EE-B286EB63FCB7}" dt="2024-06-05T08:36:14.528" v="884"/>
          <ac:spMkLst>
            <pc:docMk/>
            <pc:sldMk cId="2494049098" sldId="2147481919"/>
            <ac:spMk id="7" creationId="{9704876E-0D0F-6127-9368-1F575AAF0C08}"/>
          </ac:spMkLst>
        </pc:spChg>
        <pc:spChg chg="mod">
          <ac:chgData name="Sindija Kirsteine (LV)" userId="5f25501a-2215-4bb3-9d9c-8d1484ffa7c1" providerId="ADAL" clId="{AD634740-2A4A-4DBA-91EE-B286EB63FCB7}" dt="2024-06-05T08:36:14.528" v="884"/>
          <ac:spMkLst>
            <pc:docMk/>
            <pc:sldMk cId="2494049098" sldId="2147481919"/>
            <ac:spMk id="9" creationId="{19CA98CC-88EC-AE6A-4843-9FFF0FE21594}"/>
          </ac:spMkLst>
        </pc:spChg>
        <pc:spChg chg="mod">
          <ac:chgData name="Sindija Kirsteine (LV)" userId="5f25501a-2215-4bb3-9d9c-8d1484ffa7c1" providerId="ADAL" clId="{AD634740-2A4A-4DBA-91EE-B286EB63FCB7}" dt="2024-06-05T08:36:14.528" v="884"/>
          <ac:spMkLst>
            <pc:docMk/>
            <pc:sldMk cId="2494049098" sldId="2147481919"/>
            <ac:spMk id="10" creationId="{0F2B7547-F4CC-F6BD-F7F4-F28F259A4140}"/>
          </ac:spMkLst>
        </pc:spChg>
        <pc:spChg chg="mod">
          <ac:chgData name="Sindija Kirsteine (LV)" userId="5f25501a-2215-4bb3-9d9c-8d1484ffa7c1" providerId="ADAL" clId="{AD634740-2A4A-4DBA-91EE-B286EB63FCB7}" dt="2024-06-05T08:36:14.528" v="884"/>
          <ac:spMkLst>
            <pc:docMk/>
            <pc:sldMk cId="2494049098" sldId="2147481919"/>
            <ac:spMk id="11" creationId="{D5746F6C-E604-97D5-EDDA-96085A4A160F}"/>
          </ac:spMkLst>
        </pc:spChg>
        <pc:spChg chg="mod">
          <ac:chgData name="Sindija Kirsteine (LV)" userId="5f25501a-2215-4bb3-9d9c-8d1484ffa7c1" providerId="ADAL" clId="{AD634740-2A4A-4DBA-91EE-B286EB63FCB7}" dt="2024-06-05T08:36:14.528" v="884"/>
          <ac:spMkLst>
            <pc:docMk/>
            <pc:sldMk cId="2494049098" sldId="2147481919"/>
            <ac:spMk id="12" creationId="{64C59CB7-C0DA-62A7-6C49-8572B40B1C48}"/>
          </ac:spMkLst>
        </pc:spChg>
        <pc:grpChg chg="add mod">
          <ac:chgData name="Sindija Kirsteine (LV)" userId="5f25501a-2215-4bb3-9d9c-8d1484ffa7c1" providerId="ADAL" clId="{AD634740-2A4A-4DBA-91EE-B286EB63FCB7}" dt="2024-06-05T08:36:14.528" v="884"/>
          <ac:grpSpMkLst>
            <pc:docMk/>
            <pc:sldMk cId="2494049098" sldId="2147481919"/>
            <ac:grpSpMk id="3" creationId="{64004B52-3ECE-0BE9-5057-1B107BA185BE}"/>
          </ac:grpSpMkLst>
        </pc:grpChg>
        <pc:grpChg chg="del">
          <ac:chgData name="Sindija Kirsteine (LV)" userId="5f25501a-2215-4bb3-9d9c-8d1484ffa7c1" providerId="ADAL" clId="{AD634740-2A4A-4DBA-91EE-B286EB63FCB7}" dt="2024-06-05T08:36:14.307" v="883" actId="478"/>
          <ac:grpSpMkLst>
            <pc:docMk/>
            <pc:sldMk cId="2494049098" sldId="2147481919"/>
            <ac:grpSpMk id="8" creationId="{CB57E586-8A3B-28BC-F73A-7B44658502D6}"/>
          </ac:grpSpMkLst>
        </pc:grpChg>
      </pc:sldChg>
      <pc:sldChg chg="addSp delSp modSp mod">
        <pc:chgData name="Sindija Kirsteine (LV)" userId="5f25501a-2215-4bb3-9d9c-8d1484ffa7c1" providerId="ADAL" clId="{AD634740-2A4A-4DBA-91EE-B286EB63FCB7}" dt="2024-06-05T08:36:20.700" v="889"/>
        <pc:sldMkLst>
          <pc:docMk/>
          <pc:sldMk cId="1622579242" sldId="2147481920"/>
        </pc:sldMkLst>
        <pc:spChg chg="mod">
          <ac:chgData name="Sindija Kirsteine (LV)" userId="5f25501a-2215-4bb3-9d9c-8d1484ffa7c1" providerId="ADAL" clId="{AD634740-2A4A-4DBA-91EE-B286EB63FCB7}" dt="2024-06-05T08:25:52.372" v="545"/>
          <ac:spMkLst>
            <pc:docMk/>
            <pc:sldMk cId="1622579242" sldId="2147481920"/>
            <ac:spMk id="3" creationId="{A810622E-1DC6-3A6A-4471-12536EFD6CD5}"/>
          </ac:spMkLst>
        </pc:spChg>
        <pc:spChg chg="mod">
          <ac:chgData name="Sindija Kirsteine (LV)" userId="5f25501a-2215-4bb3-9d9c-8d1484ffa7c1" providerId="ADAL" clId="{AD634740-2A4A-4DBA-91EE-B286EB63FCB7}" dt="2024-06-05T08:36:20.700" v="889"/>
          <ac:spMkLst>
            <pc:docMk/>
            <pc:sldMk cId="1622579242" sldId="2147481920"/>
            <ac:spMk id="6" creationId="{F5A45D36-00B2-EF90-1CD2-900D184A23CB}"/>
          </ac:spMkLst>
        </pc:spChg>
        <pc:spChg chg="mod">
          <ac:chgData name="Sindija Kirsteine (LV)" userId="5f25501a-2215-4bb3-9d9c-8d1484ffa7c1" providerId="ADAL" clId="{AD634740-2A4A-4DBA-91EE-B286EB63FCB7}" dt="2024-06-05T08:36:20.700" v="889"/>
          <ac:spMkLst>
            <pc:docMk/>
            <pc:sldMk cId="1622579242" sldId="2147481920"/>
            <ac:spMk id="7" creationId="{6DA02C84-FFC7-60DD-8351-DE4B2E753467}"/>
          </ac:spMkLst>
        </pc:spChg>
        <pc:spChg chg="mod">
          <ac:chgData name="Sindija Kirsteine (LV)" userId="5f25501a-2215-4bb3-9d9c-8d1484ffa7c1" providerId="ADAL" clId="{AD634740-2A4A-4DBA-91EE-B286EB63FCB7}" dt="2024-06-05T08:36:20.700" v="889"/>
          <ac:spMkLst>
            <pc:docMk/>
            <pc:sldMk cId="1622579242" sldId="2147481920"/>
            <ac:spMk id="8" creationId="{77A40EED-D209-9B67-65E8-55579C86F95B}"/>
          </ac:spMkLst>
        </pc:spChg>
        <pc:spChg chg="mod">
          <ac:chgData name="Sindija Kirsteine (LV)" userId="5f25501a-2215-4bb3-9d9c-8d1484ffa7c1" providerId="ADAL" clId="{AD634740-2A4A-4DBA-91EE-B286EB63FCB7}" dt="2024-06-05T08:36:20.700" v="889"/>
          <ac:spMkLst>
            <pc:docMk/>
            <pc:sldMk cId="1622579242" sldId="2147481920"/>
            <ac:spMk id="9" creationId="{0A51F0B7-7E62-3E32-DEE1-4DF14F0CCD70}"/>
          </ac:spMkLst>
        </pc:spChg>
        <pc:spChg chg="mod">
          <ac:chgData name="Sindija Kirsteine (LV)" userId="5f25501a-2215-4bb3-9d9c-8d1484ffa7c1" providerId="ADAL" clId="{AD634740-2A4A-4DBA-91EE-B286EB63FCB7}" dt="2024-06-05T08:36:20.700" v="889"/>
          <ac:spMkLst>
            <pc:docMk/>
            <pc:sldMk cId="1622579242" sldId="2147481920"/>
            <ac:spMk id="10" creationId="{4BC8B027-F22F-20CA-3F8A-9961600CBBF3}"/>
          </ac:spMkLst>
        </pc:spChg>
        <pc:spChg chg="mod">
          <ac:chgData name="Sindija Kirsteine (LV)" userId="5f25501a-2215-4bb3-9d9c-8d1484ffa7c1" providerId="ADAL" clId="{AD634740-2A4A-4DBA-91EE-B286EB63FCB7}" dt="2024-06-05T08:36:20.700" v="889"/>
          <ac:spMkLst>
            <pc:docMk/>
            <pc:sldMk cId="1622579242" sldId="2147481920"/>
            <ac:spMk id="11" creationId="{D66AFCD5-43EB-E581-290D-FEF4CC864457}"/>
          </ac:spMkLst>
        </pc:spChg>
        <pc:spChg chg="mod">
          <ac:chgData name="Sindija Kirsteine (LV)" userId="5f25501a-2215-4bb3-9d9c-8d1484ffa7c1" providerId="ADAL" clId="{AD634740-2A4A-4DBA-91EE-B286EB63FCB7}" dt="2024-06-05T08:36:20.700" v="889"/>
          <ac:spMkLst>
            <pc:docMk/>
            <pc:sldMk cId="1622579242" sldId="2147481920"/>
            <ac:spMk id="12" creationId="{24F1E417-6953-2F32-9535-40009650269D}"/>
          </ac:spMkLst>
        </pc:spChg>
        <pc:grpChg chg="add mod">
          <ac:chgData name="Sindija Kirsteine (LV)" userId="5f25501a-2215-4bb3-9d9c-8d1484ffa7c1" providerId="ADAL" clId="{AD634740-2A4A-4DBA-91EE-B286EB63FCB7}" dt="2024-06-05T08:36:20.700" v="889"/>
          <ac:grpSpMkLst>
            <pc:docMk/>
            <pc:sldMk cId="1622579242" sldId="2147481920"/>
            <ac:grpSpMk id="4" creationId="{A4AA8D42-70E2-E705-1230-A339B5C3F2E3}"/>
          </ac:grpSpMkLst>
        </pc:grpChg>
        <pc:grpChg chg="del">
          <ac:chgData name="Sindija Kirsteine (LV)" userId="5f25501a-2215-4bb3-9d9c-8d1484ffa7c1" providerId="ADAL" clId="{AD634740-2A4A-4DBA-91EE-B286EB63FCB7}" dt="2024-06-05T08:36:20.510" v="888" actId="478"/>
          <ac:grpSpMkLst>
            <pc:docMk/>
            <pc:sldMk cId="1622579242" sldId="2147481920"/>
            <ac:grpSpMk id="13" creationId="{1093E47C-4603-145F-9F1C-749EBA9A5823}"/>
          </ac:grpSpMkLst>
        </pc:grpChg>
      </pc:sldChg>
      <pc:sldChg chg="addSp delSp modSp mod modShow">
        <pc:chgData name="Sindija Kirsteine (LV)" userId="5f25501a-2215-4bb3-9d9c-8d1484ffa7c1" providerId="ADAL" clId="{AD634740-2A4A-4DBA-91EE-B286EB63FCB7}" dt="2024-06-05T08:27:54.928" v="608"/>
        <pc:sldMkLst>
          <pc:docMk/>
          <pc:sldMk cId="2443351344" sldId="2147481921"/>
        </pc:sldMkLst>
        <pc:spChg chg="mod">
          <ac:chgData name="Sindija Kirsteine (LV)" userId="5f25501a-2215-4bb3-9d9c-8d1484ffa7c1" providerId="ADAL" clId="{AD634740-2A4A-4DBA-91EE-B286EB63FCB7}" dt="2024-06-05T08:23:07.311" v="448"/>
          <ac:spMkLst>
            <pc:docMk/>
            <pc:sldMk cId="2443351344" sldId="2147481921"/>
            <ac:spMk id="2" creationId="{A6410706-71F2-E9A5-9548-3A401CAC4651}"/>
          </ac:spMkLst>
        </pc:spChg>
        <pc:spChg chg="mod">
          <ac:chgData name="Sindija Kirsteine (LV)" userId="5f25501a-2215-4bb3-9d9c-8d1484ffa7c1" providerId="ADAL" clId="{AD634740-2A4A-4DBA-91EE-B286EB63FCB7}" dt="2024-06-05T08:27:54.928" v="608"/>
          <ac:spMkLst>
            <pc:docMk/>
            <pc:sldMk cId="2443351344" sldId="2147481921"/>
            <ac:spMk id="5" creationId="{F2114FD5-6B97-86BE-BD84-6B41975C9D9F}"/>
          </ac:spMkLst>
        </pc:spChg>
        <pc:spChg chg="mod">
          <ac:chgData name="Sindija Kirsteine (LV)" userId="5f25501a-2215-4bb3-9d9c-8d1484ffa7c1" providerId="ADAL" clId="{AD634740-2A4A-4DBA-91EE-B286EB63FCB7}" dt="2024-06-05T08:27:54.928" v="608"/>
          <ac:spMkLst>
            <pc:docMk/>
            <pc:sldMk cId="2443351344" sldId="2147481921"/>
            <ac:spMk id="7" creationId="{EFB32E16-DAC8-570D-57B9-B73E32C1E1D3}"/>
          </ac:spMkLst>
        </pc:spChg>
        <pc:spChg chg="mod">
          <ac:chgData name="Sindija Kirsteine (LV)" userId="5f25501a-2215-4bb3-9d9c-8d1484ffa7c1" providerId="ADAL" clId="{AD634740-2A4A-4DBA-91EE-B286EB63FCB7}" dt="2024-06-05T08:27:54.928" v="608"/>
          <ac:spMkLst>
            <pc:docMk/>
            <pc:sldMk cId="2443351344" sldId="2147481921"/>
            <ac:spMk id="8" creationId="{52FCFC53-D85A-0C7B-EAB1-267903DD19FA}"/>
          </ac:spMkLst>
        </pc:spChg>
        <pc:spChg chg="mod">
          <ac:chgData name="Sindija Kirsteine (LV)" userId="5f25501a-2215-4bb3-9d9c-8d1484ffa7c1" providerId="ADAL" clId="{AD634740-2A4A-4DBA-91EE-B286EB63FCB7}" dt="2024-06-05T08:27:54.928" v="608"/>
          <ac:spMkLst>
            <pc:docMk/>
            <pc:sldMk cId="2443351344" sldId="2147481921"/>
            <ac:spMk id="10" creationId="{C5FD49A8-3FAC-84D2-3F96-40B32E10582B}"/>
          </ac:spMkLst>
        </pc:spChg>
        <pc:spChg chg="mod">
          <ac:chgData name="Sindija Kirsteine (LV)" userId="5f25501a-2215-4bb3-9d9c-8d1484ffa7c1" providerId="ADAL" clId="{AD634740-2A4A-4DBA-91EE-B286EB63FCB7}" dt="2024-06-05T08:27:54.928" v="608"/>
          <ac:spMkLst>
            <pc:docMk/>
            <pc:sldMk cId="2443351344" sldId="2147481921"/>
            <ac:spMk id="11" creationId="{BC8518BB-71D1-581B-F137-7B13B8F9267F}"/>
          </ac:spMkLst>
        </pc:spChg>
        <pc:spChg chg="mod">
          <ac:chgData name="Sindija Kirsteine (LV)" userId="5f25501a-2215-4bb3-9d9c-8d1484ffa7c1" providerId="ADAL" clId="{AD634740-2A4A-4DBA-91EE-B286EB63FCB7}" dt="2024-06-05T08:27:54.928" v="608"/>
          <ac:spMkLst>
            <pc:docMk/>
            <pc:sldMk cId="2443351344" sldId="2147481921"/>
            <ac:spMk id="17" creationId="{ED2B18C3-594A-3B22-6F1D-9BF4C534D60A}"/>
          </ac:spMkLst>
        </pc:spChg>
        <pc:spChg chg="mod">
          <ac:chgData name="Sindija Kirsteine (LV)" userId="5f25501a-2215-4bb3-9d9c-8d1484ffa7c1" providerId="ADAL" clId="{AD634740-2A4A-4DBA-91EE-B286EB63FCB7}" dt="2024-06-05T08:27:54.928" v="608"/>
          <ac:spMkLst>
            <pc:docMk/>
            <pc:sldMk cId="2443351344" sldId="2147481921"/>
            <ac:spMk id="18" creationId="{6054B0AE-ECB8-16F6-E05B-0BFD4367DB02}"/>
          </ac:spMkLst>
        </pc:spChg>
        <pc:grpChg chg="add mod">
          <ac:chgData name="Sindija Kirsteine (LV)" userId="5f25501a-2215-4bb3-9d9c-8d1484ffa7c1" providerId="ADAL" clId="{AD634740-2A4A-4DBA-91EE-B286EB63FCB7}" dt="2024-06-05T08:27:54.928" v="608"/>
          <ac:grpSpMkLst>
            <pc:docMk/>
            <pc:sldMk cId="2443351344" sldId="2147481921"/>
            <ac:grpSpMk id="3" creationId="{ABDF73DE-EF5E-66E2-65BB-03EED01C0610}"/>
          </ac:grpSpMkLst>
        </pc:grpChg>
        <pc:grpChg chg="del">
          <ac:chgData name="Sindija Kirsteine (LV)" userId="5f25501a-2215-4bb3-9d9c-8d1484ffa7c1" providerId="ADAL" clId="{AD634740-2A4A-4DBA-91EE-B286EB63FCB7}" dt="2024-06-05T08:27:54.707" v="607" actId="478"/>
          <ac:grpSpMkLst>
            <pc:docMk/>
            <pc:sldMk cId="2443351344" sldId="2147481921"/>
            <ac:grpSpMk id="23" creationId="{97153DA9-3F02-EA97-2C75-F8565A2A7094}"/>
          </ac:grpSpMkLst>
        </pc:grpChg>
      </pc:sldChg>
      <pc:sldChg chg="modSp mod">
        <pc:chgData name="Sindija Kirsteine (LV)" userId="5f25501a-2215-4bb3-9d9c-8d1484ffa7c1" providerId="ADAL" clId="{AD634740-2A4A-4DBA-91EE-B286EB63FCB7}" dt="2024-06-10T09:34:46.421" v="3099" actId="20577"/>
        <pc:sldMkLst>
          <pc:docMk/>
          <pc:sldMk cId="796361483" sldId="2147481942"/>
        </pc:sldMkLst>
        <pc:spChg chg="mod">
          <ac:chgData name="Sindija Kirsteine (LV)" userId="5f25501a-2215-4bb3-9d9c-8d1484ffa7c1" providerId="ADAL" clId="{AD634740-2A4A-4DBA-91EE-B286EB63FCB7}" dt="2024-06-05T08:26:21.644" v="563"/>
          <ac:spMkLst>
            <pc:docMk/>
            <pc:sldMk cId="796361483" sldId="2147481942"/>
            <ac:spMk id="3" creationId="{7D84EAD6-3EE4-C052-2B5F-2FFA6C0D7A59}"/>
          </ac:spMkLst>
        </pc:spChg>
        <pc:spChg chg="mod">
          <ac:chgData name="Sindija Kirsteine (LV)" userId="5f25501a-2215-4bb3-9d9c-8d1484ffa7c1" providerId="ADAL" clId="{AD634740-2A4A-4DBA-91EE-B286EB63FCB7}" dt="2024-06-10T09:31:57.825" v="3025" actId="20577"/>
          <ac:spMkLst>
            <pc:docMk/>
            <pc:sldMk cId="796361483" sldId="2147481942"/>
            <ac:spMk id="7" creationId="{A168F800-7305-A09D-AF78-9EB408346FA0}"/>
          </ac:spMkLst>
        </pc:spChg>
        <pc:spChg chg="mod">
          <ac:chgData name="Sindija Kirsteine (LV)" userId="5f25501a-2215-4bb3-9d9c-8d1484ffa7c1" providerId="ADAL" clId="{AD634740-2A4A-4DBA-91EE-B286EB63FCB7}" dt="2024-06-10T09:34:46.421" v="3099" actId="20577"/>
          <ac:spMkLst>
            <pc:docMk/>
            <pc:sldMk cId="796361483" sldId="2147481942"/>
            <ac:spMk id="24" creationId="{20F6161A-E3E2-A765-A44D-92728895AC83}"/>
          </ac:spMkLst>
        </pc:spChg>
      </pc:sldChg>
      <pc:sldChg chg="modSp del mod modShow">
        <pc:chgData name="Sindija Kirsteine (LV)" userId="5f25501a-2215-4bb3-9d9c-8d1484ffa7c1" providerId="ADAL" clId="{AD634740-2A4A-4DBA-91EE-B286EB63FCB7}" dt="2024-06-10T09:35:33.308" v="3117" actId="47"/>
        <pc:sldMkLst>
          <pc:docMk/>
          <pc:sldMk cId="2437332194" sldId="2147481943"/>
        </pc:sldMkLst>
        <pc:spChg chg="mod">
          <ac:chgData name="Sindija Kirsteine (LV)" userId="5f25501a-2215-4bb3-9d9c-8d1484ffa7c1" providerId="ADAL" clId="{AD634740-2A4A-4DBA-91EE-B286EB63FCB7}" dt="2024-06-05T08:26:24.533" v="565"/>
          <ac:spMkLst>
            <pc:docMk/>
            <pc:sldMk cId="2437332194" sldId="2147481943"/>
            <ac:spMk id="3" creationId="{B3CF66A5-A271-6BFB-A814-DFE53833DD90}"/>
          </ac:spMkLst>
        </pc:spChg>
        <pc:spChg chg="mod">
          <ac:chgData name="Sindija Kirsteine (LV)" userId="5f25501a-2215-4bb3-9d9c-8d1484ffa7c1" providerId="ADAL" clId="{AD634740-2A4A-4DBA-91EE-B286EB63FCB7}" dt="2024-06-10T09:16:43.809" v="2794" actId="20577"/>
          <ac:spMkLst>
            <pc:docMk/>
            <pc:sldMk cId="2437332194" sldId="2147481943"/>
            <ac:spMk id="24" creationId="{20F6161A-E3E2-A765-A44D-92728895AC83}"/>
          </ac:spMkLst>
        </pc:spChg>
      </pc:sldChg>
      <pc:sldChg chg="modSp mod">
        <pc:chgData name="Sindija Kirsteine (LV)" userId="5f25501a-2215-4bb3-9d9c-8d1484ffa7c1" providerId="ADAL" clId="{AD634740-2A4A-4DBA-91EE-B286EB63FCB7}" dt="2024-06-05T08:30:15.753" v="684" actId="1076"/>
        <pc:sldMkLst>
          <pc:docMk/>
          <pc:sldMk cId="1254450771" sldId="2147481948"/>
        </pc:sldMkLst>
        <pc:spChg chg="mod">
          <ac:chgData name="Sindija Kirsteine (LV)" userId="5f25501a-2215-4bb3-9d9c-8d1484ffa7c1" providerId="ADAL" clId="{AD634740-2A4A-4DBA-91EE-B286EB63FCB7}" dt="2024-06-05T08:29:58.902" v="673" actId="20577"/>
          <ac:spMkLst>
            <pc:docMk/>
            <pc:sldMk cId="1254450771" sldId="2147481948"/>
            <ac:spMk id="3" creationId="{0CF63C79-C746-23CA-CA4B-A6828C00B764}"/>
          </ac:spMkLst>
        </pc:spChg>
        <pc:spChg chg="mod">
          <ac:chgData name="Sindija Kirsteine (LV)" userId="5f25501a-2215-4bb3-9d9c-8d1484ffa7c1" providerId="ADAL" clId="{AD634740-2A4A-4DBA-91EE-B286EB63FCB7}" dt="2024-06-05T08:23:31.578" v="463"/>
          <ac:spMkLst>
            <pc:docMk/>
            <pc:sldMk cId="1254450771" sldId="2147481948"/>
            <ac:spMk id="4" creationId="{BE4BEB43-22CF-6C36-91EB-ABA93BD4B451}"/>
          </ac:spMkLst>
        </pc:spChg>
        <pc:spChg chg="mod">
          <ac:chgData name="Sindija Kirsteine (LV)" userId="5f25501a-2215-4bb3-9d9c-8d1484ffa7c1" providerId="ADAL" clId="{AD634740-2A4A-4DBA-91EE-B286EB63FCB7}" dt="2024-06-05T08:30:00.898" v="675" actId="20577"/>
          <ac:spMkLst>
            <pc:docMk/>
            <pc:sldMk cId="1254450771" sldId="2147481948"/>
            <ac:spMk id="5" creationId="{5C94FC2B-DE22-3317-FD02-0E6B56428CE8}"/>
          </ac:spMkLst>
        </pc:spChg>
        <pc:spChg chg="mod">
          <ac:chgData name="Sindija Kirsteine (LV)" userId="5f25501a-2215-4bb3-9d9c-8d1484ffa7c1" providerId="ADAL" clId="{AD634740-2A4A-4DBA-91EE-B286EB63FCB7}" dt="2024-06-05T08:30:03.948" v="677" actId="20577"/>
          <ac:spMkLst>
            <pc:docMk/>
            <pc:sldMk cId="1254450771" sldId="2147481948"/>
            <ac:spMk id="6" creationId="{41ABC529-A700-D3A0-36E5-E00EE945AA29}"/>
          </ac:spMkLst>
        </pc:spChg>
        <pc:spChg chg="mod">
          <ac:chgData name="Sindija Kirsteine (LV)" userId="5f25501a-2215-4bb3-9d9c-8d1484ffa7c1" providerId="ADAL" clId="{AD634740-2A4A-4DBA-91EE-B286EB63FCB7}" dt="2024-06-05T08:29:35.474" v="666" actId="14100"/>
          <ac:spMkLst>
            <pc:docMk/>
            <pc:sldMk cId="1254450771" sldId="2147481948"/>
            <ac:spMk id="7" creationId="{BDE4A586-0796-0CBC-9475-960045C2CF32}"/>
          </ac:spMkLst>
        </pc:spChg>
        <pc:spChg chg="mod">
          <ac:chgData name="Sindija Kirsteine (LV)" userId="5f25501a-2215-4bb3-9d9c-8d1484ffa7c1" providerId="ADAL" clId="{AD634740-2A4A-4DBA-91EE-B286EB63FCB7}" dt="2024-06-05T08:30:05.904" v="679" actId="20577"/>
          <ac:spMkLst>
            <pc:docMk/>
            <pc:sldMk cId="1254450771" sldId="2147481948"/>
            <ac:spMk id="11" creationId="{D118A603-0C91-3F8C-109F-CDCCEE58730E}"/>
          </ac:spMkLst>
        </pc:spChg>
        <pc:spChg chg="mod">
          <ac:chgData name="Sindija Kirsteine (LV)" userId="5f25501a-2215-4bb3-9d9c-8d1484ffa7c1" providerId="ADAL" clId="{AD634740-2A4A-4DBA-91EE-B286EB63FCB7}" dt="2024-06-05T08:30:07.919" v="681" actId="20577"/>
          <ac:spMkLst>
            <pc:docMk/>
            <pc:sldMk cId="1254450771" sldId="2147481948"/>
            <ac:spMk id="12" creationId="{0969524F-0B7B-EC94-F190-10280E15C3E6}"/>
          </ac:spMkLst>
        </pc:spChg>
        <pc:spChg chg="mod">
          <ac:chgData name="Sindija Kirsteine (LV)" userId="5f25501a-2215-4bb3-9d9c-8d1484ffa7c1" providerId="ADAL" clId="{AD634740-2A4A-4DBA-91EE-B286EB63FCB7}" dt="2024-06-05T08:30:09.660" v="683" actId="20577"/>
          <ac:spMkLst>
            <pc:docMk/>
            <pc:sldMk cId="1254450771" sldId="2147481948"/>
            <ac:spMk id="17" creationId="{641ED9FC-4DB2-00C0-2F80-01E0278CA057}"/>
          </ac:spMkLst>
        </pc:spChg>
        <pc:grpChg chg="mod">
          <ac:chgData name="Sindija Kirsteine (LV)" userId="5f25501a-2215-4bb3-9d9c-8d1484ffa7c1" providerId="ADAL" clId="{AD634740-2A4A-4DBA-91EE-B286EB63FCB7}" dt="2024-06-05T08:30:15.753" v="684" actId="1076"/>
          <ac:grpSpMkLst>
            <pc:docMk/>
            <pc:sldMk cId="1254450771" sldId="2147481948"/>
            <ac:grpSpMk id="2" creationId="{F7AEBBD5-8C5E-1C6F-148A-C205C6150D3D}"/>
          </ac:grpSpMkLst>
        </pc:grpChg>
      </pc:sldChg>
      <pc:sldChg chg="addSp delSp modSp mod">
        <pc:chgData name="Sindija Kirsteine (LV)" userId="5f25501a-2215-4bb3-9d9c-8d1484ffa7c1" providerId="ADAL" clId="{AD634740-2A4A-4DBA-91EE-B286EB63FCB7}" dt="2024-06-05T08:30:28.354" v="689"/>
        <pc:sldMkLst>
          <pc:docMk/>
          <pc:sldMk cId="4049782693" sldId="2147481949"/>
        </pc:sldMkLst>
        <pc:spChg chg="add mod">
          <ac:chgData name="Sindija Kirsteine (LV)" userId="5f25501a-2215-4bb3-9d9c-8d1484ffa7c1" providerId="ADAL" clId="{AD634740-2A4A-4DBA-91EE-B286EB63FCB7}" dt="2024-06-05T08:23:40.258" v="468"/>
          <ac:spMkLst>
            <pc:docMk/>
            <pc:sldMk cId="4049782693" sldId="2147481949"/>
            <ac:spMk id="5" creationId="{086D1611-A8EB-5349-ECAA-820ED5B230C5}"/>
          </ac:spMkLst>
        </pc:spChg>
        <pc:spChg chg="add del mod">
          <ac:chgData name="Sindija Kirsteine (LV)" userId="5f25501a-2215-4bb3-9d9c-8d1484ffa7c1" providerId="ADAL" clId="{AD634740-2A4A-4DBA-91EE-B286EB63FCB7}" dt="2024-06-05T08:23:50.299" v="477" actId="478"/>
          <ac:spMkLst>
            <pc:docMk/>
            <pc:sldMk cId="4049782693" sldId="2147481949"/>
            <ac:spMk id="16" creationId="{9C90B435-2F60-CDED-3194-A30AA0E1330A}"/>
          </ac:spMkLst>
        </pc:spChg>
        <pc:spChg chg="mod">
          <ac:chgData name="Sindija Kirsteine (LV)" userId="5f25501a-2215-4bb3-9d9c-8d1484ffa7c1" providerId="ADAL" clId="{AD634740-2A4A-4DBA-91EE-B286EB63FCB7}" dt="2024-06-05T08:30:28.354" v="689"/>
          <ac:spMkLst>
            <pc:docMk/>
            <pc:sldMk cId="4049782693" sldId="2147481949"/>
            <ac:spMk id="25" creationId="{674F2D05-B6A3-CC6B-2409-C5C1D3E4F8CD}"/>
          </ac:spMkLst>
        </pc:spChg>
        <pc:spChg chg="mod">
          <ac:chgData name="Sindija Kirsteine (LV)" userId="5f25501a-2215-4bb3-9d9c-8d1484ffa7c1" providerId="ADAL" clId="{AD634740-2A4A-4DBA-91EE-B286EB63FCB7}" dt="2024-06-05T08:30:28.354" v="689"/>
          <ac:spMkLst>
            <pc:docMk/>
            <pc:sldMk cId="4049782693" sldId="2147481949"/>
            <ac:spMk id="26" creationId="{290EA11C-049D-F9FE-4F1F-145883813511}"/>
          </ac:spMkLst>
        </pc:spChg>
        <pc:spChg chg="mod">
          <ac:chgData name="Sindija Kirsteine (LV)" userId="5f25501a-2215-4bb3-9d9c-8d1484ffa7c1" providerId="ADAL" clId="{AD634740-2A4A-4DBA-91EE-B286EB63FCB7}" dt="2024-06-05T08:30:28.354" v="689"/>
          <ac:spMkLst>
            <pc:docMk/>
            <pc:sldMk cId="4049782693" sldId="2147481949"/>
            <ac:spMk id="27" creationId="{D9B3C0F6-1B30-61DE-9FE3-E455D48BA779}"/>
          </ac:spMkLst>
        </pc:spChg>
        <pc:spChg chg="del">
          <ac:chgData name="Sindija Kirsteine (LV)" userId="5f25501a-2215-4bb3-9d9c-8d1484ffa7c1" providerId="ADAL" clId="{AD634740-2A4A-4DBA-91EE-B286EB63FCB7}" dt="2024-06-05T08:23:35.829" v="465" actId="478"/>
          <ac:spMkLst>
            <pc:docMk/>
            <pc:sldMk cId="4049782693" sldId="2147481949"/>
            <ac:spMk id="30" creationId="{94F02BAD-C011-14FA-CB63-CD79B45B8FA1}"/>
          </ac:spMkLst>
        </pc:spChg>
        <pc:spChg chg="mod">
          <ac:chgData name="Sindija Kirsteine (LV)" userId="5f25501a-2215-4bb3-9d9c-8d1484ffa7c1" providerId="ADAL" clId="{AD634740-2A4A-4DBA-91EE-B286EB63FCB7}" dt="2024-06-05T08:30:28.354" v="689"/>
          <ac:spMkLst>
            <pc:docMk/>
            <pc:sldMk cId="4049782693" sldId="2147481949"/>
            <ac:spMk id="31" creationId="{1F923310-D545-8319-5288-1680450C02DE}"/>
          </ac:spMkLst>
        </pc:spChg>
        <pc:spChg chg="mod">
          <ac:chgData name="Sindija Kirsteine (LV)" userId="5f25501a-2215-4bb3-9d9c-8d1484ffa7c1" providerId="ADAL" clId="{AD634740-2A4A-4DBA-91EE-B286EB63FCB7}" dt="2024-06-05T08:30:28.354" v="689"/>
          <ac:spMkLst>
            <pc:docMk/>
            <pc:sldMk cId="4049782693" sldId="2147481949"/>
            <ac:spMk id="33" creationId="{B9FCA090-869A-47F5-59D5-AA20264B0C19}"/>
          </ac:spMkLst>
        </pc:spChg>
        <pc:spChg chg="mod">
          <ac:chgData name="Sindija Kirsteine (LV)" userId="5f25501a-2215-4bb3-9d9c-8d1484ffa7c1" providerId="ADAL" clId="{AD634740-2A4A-4DBA-91EE-B286EB63FCB7}" dt="2024-06-05T08:30:28.354" v="689"/>
          <ac:spMkLst>
            <pc:docMk/>
            <pc:sldMk cId="4049782693" sldId="2147481949"/>
            <ac:spMk id="35" creationId="{5B529734-B5BA-6E26-A804-12A9AC166493}"/>
          </ac:spMkLst>
        </pc:spChg>
        <pc:spChg chg="mod">
          <ac:chgData name="Sindija Kirsteine (LV)" userId="5f25501a-2215-4bb3-9d9c-8d1484ffa7c1" providerId="ADAL" clId="{AD634740-2A4A-4DBA-91EE-B286EB63FCB7}" dt="2024-06-05T08:30:28.354" v="689"/>
          <ac:spMkLst>
            <pc:docMk/>
            <pc:sldMk cId="4049782693" sldId="2147481949"/>
            <ac:spMk id="36" creationId="{46287023-D696-139E-C219-8B96FCC85674}"/>
          </ac:spMkLst>
        </pc:spChg>
        <pc:grpChg chg="del">
          <ac:chgData name="Sindija Kirsteine (LV)" userId="5f25501a-2215-4bb3-9d9c-8d1484ffa7c1" providerId="ADAL" clId="{AD634740-2A4A-4DBA-91EE-B286EB63FCB7}" dt="2024-06-05T08:30:28.020" v="688" actId="478"/>
          <ac:grpSpMkLst>
            <pc:docMk/>
            <pc:sldMk cId="4049782693" sldId="2147481949"/>
            <ac:grpSpMk id="3" creationId="{3CA58EFA-0951-16FA-5E95-F38DD5ECB8C7}"/>
          </ac:grpSpMkLst>
        </pc:grpChg>
        <pc:grpChg chg="add mod">
          <ac:chgData name="Sindija Kirsteine (LV)" userId="5f25501a-2215-4bb3-9d9c-8d1484ffa7c1" providerId="ADAL" clId="{AD634740-2A4A-4DBA-91EE-B286EB63FCB7}" dt="2024-06-05T08:30:28.354" v="689"/>
          <ac:grpSpMkLst>
            <pc:docMk/>
            <pc:sldMk cId="4049782693" sldId="2147481949"/>
            <ac:grpSpMk id="21" creationId="{E89CF5C6-105E-175F-BDEF-9177B2CAFA55}"/>
          </ac:grpSpMkLst>
        </pc:grpChg>
      </pc:sldChg>
      <pc:sldChg chg="addSp delSp modSp mod">
        <pc:chgData name="Sindija Kirsteine (LV)" userId="5f25501a-2215-4bb3-9d9c-8d1484ffa7c1" providerId="ADAL" clId="{AD634740-2A4A-4DBA-91EE-B286EB63FCB7}" dt="2024-06-05T08:30:37.264" v="695"/>
        <pc:sldMkLst>
          <pc:docMk/>
          <pc:sldMk cId="3702537864" sldId="2147481950"/>
        </pc:sldMkLst>
        <pc:spChg chg="mod">
          <ac:chgData name="Sindija Kirsteine (LV)" userId="5f25501a-2215-4bb3-9d9c-8d1484ffa7c1" providerId="ADAL" clId="{AD634740-2A4A-4DBA-91EE-B286EB63FCB7}" dt="2024-06-05T08:23:56.641" v="481"/>
          <ac:spMkLst>
            <pc:docMk/>
            <pc:sldMk cId="3702537864" sldId="2147481950"/>
            <ac:spMk id="2" creationId="{189AAD48-35FC-8847-29DA-E65F60AECE6B}"/>
          </ac:spMkLst>
        </pc:spChg>
        <pc:spChg chg="mod">
          <ac:chgData name="Sindija Kirsteine (LV)" userId="5f25501a-2215-4bb3-9d9c-8d1484ffa7c1" providerId="ADAL" clId="{AD634740-2A4A-4DBA-91EE-B286EB63FCB7}" dt="2024-06-05T08:30:37.264" v="695"/>
          <ac:spMkLst>
            <pc:docMk/>
            <pc:sldMk cId="3702537864" sldId="2147481950"/>
            <ac:spMk id="14" creationId="{04DCAB81-18CC-A0FC-C584-9A593A7C5C44}"/>
          </ac:spMkLst>
        </pc:spChg>
        <pc:spChg chg="mod">
          <ac:chgData name="Sindija Kirsteine (LV)" userId="5f25501a-2215-4bb3-9d9c-8d1484ffa7c1" providerId="ADAL" clId="{AD634740-2A4A-4DBA-91EE-B286EB63FCB7}" dt="2024-06-05T08:30:37.264" v="695"/>
          <ac:spMkLst>
            <pc:docMk/>
            <pc:sldMk cId="3702537864" sldId="2147481950"/>
            <ac:spMk id="38" creationId="{CC445A7E-5C8E-536F-41D1-17FA04C641BC}"/>
          </ac:spMkLst>
        </pc:spChg>
        <pc:spChg chg="mod">
          <ac:chgData name="Sindija Kirsteine (LV)" userId="5f25501a-2215-4bb3-9d9c-8d1484ffa7c1" providerId="ADAL" clId="{AD634740-2A4A-4DBA-91EE-B286EB63FCB7}" dt="2024-06-05T08:30:37.264" v="695"/>
          <ac:spMkLst>
            <pc:docMk/>
            <pc:sldMk cId="3702537864" sldId="2147481950"/>
            <ac:spMk id="39" creationId="{BC677AA1-4592-C783-C1C6-2D67D419CCF1}"/>
          </ac:spMkLst>
        </pc:spChg>
        <pc:spChg chg="mod">
          <ac:chgData name="Sindija Kirsteine (LV)" userId="5f25501a-2215-4bb3-9d9c-8d1484ffa7c1" providerId="ADAL" clId="{AD634740-2A4A-4DBA-91EE-B286EB63FCB7}" dt="2024-06-05T08:30:37.264" v="695"/>
          <ac:spMkLst>
            <pc:docMk/>
            <pc:sldMk cId="3702537864" sldId="2147481950"/>
            <ac:spMk id="40" creationId="{4A3CE580-A674-089C-C8E9-045EF61BD2E0}"/>
          </ac:spMkLst>
        </pc:spChg>
        <pc:spChg chg="mod">
          <ac:chgData name="Sindija Kirsteine (LV)" userId="5f25501a-2215-4bb3-9d9c-8d1484ffa7c1" providerId="ADAL" clId="{AD634740-2A4A-4DBA-91EE-B286EB63FCB7}" dt="2024-06-05T08:30:37.264" v="695"/>
          <ac:spMkLst>
            <pc:docMk/>
            <pc:sldMk cId="3702537864" sldId="2147481950"/>
            <ac:spMk id="41" creationId="{5EBC568A-B347-F613-8C17-FF8DB959786C}"/>
          </ac:spMkLst>
        </pc:spChg>
        <pc:spChg chg="mod">
          <ac:chgData name="Sindija Kirsteine (LV)" userId="5f25501a-2215-4bb3-9d9c-8d1484ffa7c1" providerId="ADAL" clId="{AD634740-2A4A-4DBA-91EE-B286EB63FCB7}" dt="2024-06-05T08:30:37.264" v="695"/>
          <ac:spMkLst>
            <pc:docMk/>
            <pc:sldMk cId="3702537864" sldId="2147481950"/>
            <ac:spMk id="42" creationId="{F8D1E487-CDFF-BFEB-C1C0-47DB2DCD0DA8}"/>
          </ac:spMkLst>
        </pc:spChg>
        <pc:spChg chg="mod">
          <ac:chgData name="Sindija Kirsteine (LV)" userId="5f25501a-2215-4bb3-9d9c-8d1484ffa7c1" providerId="ADAL" clId="{AD634740-2A4A-4DBA-91EE-B286EB63FCB7}" dt="2024-06-05T08:30:37.264" v="695"/>
          <ac:spMkLst>
            <pc:docMk/>
            <pc:sldMk cId="3702537864" sldId="2147481950"/>
            <ac:spMk id="43" creationId="{F1616DD2-695C-A6F5-54FF-4957C5B03215}"/>
          </ac:spMkLst>
        </pc:spChg>
        <pc:grpChg chg="del">
          <ac:chgData name="Sindija Kirsteine (LV)" userId="5f25501a-2215-4bb3-9d9c-8d1484ffa7c1" providerId="ADAL" clId="{AD634740-2A4A-4DBA-91EE-B286EB63FCB7}" dt="2024-06-05T08:30:36.785" v="694" actId="478"/>
          <ac:grpSpMkLst>
            <pc:docMk/>
            <pc:sldMk cId="3702537864" sldId="2147481950"/>
            <ac:grpSpMk id="3" creationId="{FF4FF9D5-1230-AE1A-3D50-D89ADD47BD04}"/>
          </ac:grpSpMkLst>
        </pc:grpChg>
        <pc:grpChg chg="add mod">
          <ac:chgData name="Sindija Kirsteine (LV)" userId="5f25501a-2215-4bb3-9d9c-8d1484ffa7c1" providerId="ADAL" clId="{AD634740-2A4A-4DBA-91EE-B286EB63FCB7}" dt="2024-06-05T08:30:37.264" v="695"/>
          <ac:grpSpMkLst>
            <pc:docMk/>
            <pc:sldMk cId="3702537864" sldId="2147481950"/>
            <ac:grpSpMk id="13" creationId="{DD6B9F2D-C80C-4589-88C5-CEB86E67838B}"/>
          </ac:grpSpMkLst>
        </pc:grpChg>
      </pc:sldChg>
      <pc:sldChg chg="addSp delSp modSp mod">
        <pc:chgData name="Sindija Kirsteine (LV)" userId="5f25501a-2215-4bb3-9d9c-8d1484ffa7c1" providerId="ADAL" clId="{AD634740-2A4A-4DBA-91EE-B286EB63FCB7}" dt="2024-06-07T08:43:48.812" v="1523" actId="207"/>
        <pc:sldMkLst>
          <pc:docMk/>
          <pc:sldMk cId="3939567711" sldId="2147481951"/>
        </pc:sldMkLst>
        <pc:spChg chg="mod">
          <ac:chgData name="Sindija Kirsteine (LV)" userId="5f25501a-2215-4bb3-9d9c-8d1484ffa7c1" providerId="ADAL" clId="{AD634740-2A4A-4DBA-91EE-B286EB63FCB7}" dt="2024-06-05T08:23:58.896" v="483"/>
          <ac:spMkLst>
            <pc:docMk/>
            <pc:sldMk cId="3939567711" sldId="2147481951"/>
            <ac:spMk id="3" creationId="{983E351E-2C66-EA47-8CE4-9A865EEAF3D4}"/>
          </ac:spMkLst>
        </pc:spChg>
        <pc:spChg chg="add mod">
          <ac:chgData name="Sindija Kirsteine (LV)" userId="5f25501a-2215-4bb3-9d9c-8d1484ffa7c1" providerId="ADAL" clId="{AD634740-2A4A-4DBA-91EE-B286EB63FCB7}" dt="2024-06-07T08:43:48.812" v="1523" actId="207"/>
          <ac:spMkLst>
            <pc:docMk/>
            <pc:sldMk cId="3939567711" sldId="2147481951"/>
            <ac:spMk id="5" creationId="{8F5E4F9B-4FD0-1DD2-57B2-599862CD76E9}"/>
          </ac:spMkLst>
        </pc:spChg>
        <pc:spChg chg="mod">
          <ac:chgData name="Sindija Kirsteine (LV)" userId="5f25501a-2215-4bb3-9d9c-8d1484ffa7c1" providerId="ADAL" clId="{AD634740-2A4A-4DBA-91EE-B286EB63FCB7}" dt="2024-06-05T08:30:40.549" v="698"/>
          <ac:spMkLst>
            <pc:docMk/>
            <pc:sldMk cId="3939567711" sldId="2147481951"/>
            <ac:spMk id="14" creationId="{C1DC01DA-6C14-5DDB-CD74-2CA751569FDD}"/>
          </ac:spMkLst>
        </pc:spChg>
        <pc:spChg chg="mod">
          <ac:chgData name="Sindija Kirsteine (LV)" userId="5f25501a-2215-4bb3-9d9c-8d1484ffa7c1" providerId="ADAL" clId="{AD634740-2A4A-4DBA-91EE-B286EB63FCB7}" dt="2024-06-05T08:30:40.549" v="698"/>
          <ac:spMkLst>
            <pc:docMk/>
            <pc:sldMk cId="3939567711" sldId="2147481951"/>
            <ac:spMk id="17" creationId="{7F9A24B5-A8AC-0701-316C-894094447731}"/>
          </ac:spMkLst>
        </pc:spChg>
        <pc:spChg chg="mod">
          <ac:chgData name="Sindija Kirsteine (LV)" userId="5f25501a-2215-4bb3-9d9c-8d1484ffa7c1" providerId="ADAL" clId="{AD634740-2A4A-4DBA-91EE-B286EB63FCB7}" dt="2024-06-05T08:30:40.549" v="698"/>
          <ac:spMkLst>
            <pc:docMk/>
            <pc:sldMk cId="3939567711" sldId="2147481951"/>
            <ac:spMk id="18" creationId="{C5C0E238-80CA-D6F9-EA4A-3B2DF82EA893}"/>
          </ac:spMkLst>
        </pc:spChg>
        <pc:spChg chg="mod">
          <ac:chgData name="Sindija Kirsteine (LV)" userId="5f25501a-2215-4bb3-9d9c-8d1484ffa7c1" providerId="ADAL" clId="{AD634740-2A4A-4DBA-91EE-B286EB63FCB7}" dt="2024-06-05T08:30:40.549" v="698"/>
          <ac:spMkLst>
            <pc:docMk/>
            <pc:sldMk cId="3939567711" sldId="2147481951"/>
            <ac:spMk id="19" creationId="{AFACE55E-A49F-978B-84A6-AC034F0126A0}"/>
          </ac:spMkLst>
        </pc:spChg>
        <pc:spChg chg="mod">
          <ac:chgData name="Sindija Kirsteine (LV)" userId="5f25501a-2215-4bb3-9d9c-8d1484ffa7c1" providerId="ADAL" clId="{AD634740-2A4A-4DBA-91EE-B286EB63FCB7}" dt="2024-06-05T08:30:40.549" v="698"/>
          <ac:spMkLst>
            <pc:docMk/>
            <pc:sldMk cId="3939567711" sldId="2147481951"/>
            <ac:spMk id="20" creationId="{E53225E4-7BF7-FBA2-F5DA-8131FCE70848}"/>
          </ac:spMkLst>
        </pc:spChg>
        <pc:spChg chg="mod">
          <ac:chgData name="Sindija Kirsteine (LV)" userId="5f25501a-2215-4bb3-9d9c-8d1484ffa7c1" providerId="ADAL" clId="{AD634740-2A4A-4DBA-91EE-B286EB63FCB7}" dt="2024-06-05T08:30:40.549" v="698"/>
          <ac:spMkLst>
            <pc:docMk/>
            <pc:sldMk cId="3939567711" sldId="2147481951"/>
            <ac:spMk id="21" creationId="{686F80B0-611C-E2ED-4CEE-A382939B0A11}"/>
          </ac:spMkLst>
        </pc:spChg>
        <pc:spChg chg="mod">
          <ac:chgData name="Sindija Kirsteine (LV)" userId="5f25501a-2215-4bb3-9d9c-8d1484ffa7c1" providerId="ADAL" clId="{AD634740-2A4A-4DBA-91EE-B286EB63FCB7}" dt="2024-06-05T08:30:40.549" v="698"/>
          <ac:spMkLst>
            <pc:docMk/>
            <pc:sldMk cId="3939567711" sldId="2147481951"/>
            <ac:spMk id="22" creationId="{45BC77F0-F155-13E9-EF1E-BA25B7FBE7BE}"/>
          </ac:spMkLst>
        </pc:spChg>
        <pc:spChg chg="mod">
          <ac:chgData name="Sindija Kirsteine (LV)" userId="5f25501a-2215-4bb3-9d9c-8d1484ffa7c1" providerId="ADAL" clId="{AD634740-2A4A-4DBA-91EE-B286EB63FCB7}" dt="2024-06-07T08:43:31.675" v="1502" actId="20577"/>
          <ac:spMkLst>
            <pc:docMk/>
            <pc:sldMk cId="3939567711" sldId="2147481951"/>
            <ac:spMk id="51" creationId="{2F6DC4B8-9940-E974-DFE7-A68FEC09CF64}"/>
          </ac:spMkLst>
        </pc:spChg>
        <pc:spChg chg="mod">
          <ac:chgData name="Sindija Kirsteine (LV)" userId="5f25501a-2215-4bb3-9d9c-8d1484ffa7c1" providerId="ADAL" clId="{AD634740-2A4A-4DBA-91EE-B286EB63FCB7}" dt="2024-06-07T08:42:36.068" v="1434" actId="20577"/>
          <ac:spMkLst>
            <pc:docMk/>
            <pc:sldMk cId="3939567711" sldId="2147481951"/>
            <ac:spMk id="52" creationId="{754EAF21-8364-40B5-103F-C971798338FA}"/>
          </ac:spMkLst>
        </pc:spChg>
        <pc:spChg chg="mod">
          <ac:chgData name="Sindija Kirsteine (LV)" userId="5f25501a-2215-4bb3-9d9c-8d1484ffa7c1" providerId="ADAL" clId="{AD634740-2A4A-4DBA-91EE-B286EB63FCB7}" dt="2024-06-07T08:41:57.254" v="1327" actId="20577"/>
          <ac:spMkLst>
            <pc:docMk/>
            <pc:sldMk cId="3939567711" sldId="2147481951"/>
            <ac:spMk id="53" creationId="{6E6AD103-92DC-77F5-2DD7-C9640CA704CA}"/>
          </ac:spMkLst>
        </pc:spChg>
        <pc:spChg chg="mod">
          <ac:chgData name="Sindija Kirsteine (LV)" userId="5f25501a-2215-4bb3-9d9c-8d1484ffa7c1" providerId="ADAL" clId="{AD634740-2A4A-4DBA-91EE-B286EB63FCB7}" dt="2024-06-07T08:41:31.916" v="1292" actId="20577"/>
          <ac:spMkLst>
            <pc:docMk/>
            <pc:sldMk cId="3939567711" sldId="2147481951"/>
            <ac:spMk id="54" creationId="{4CD0B799-859D-8D06-4ACC-37DFFC5D70E2}"/>
          </ac:spMkLst>
        </pc:spChg>
        <pc:spChg chg="mod">
          <ac:chgData name="Sindija Kirsteine (LV)" userId="5f25501a-2215-4bb3-9d9c-8d1484ffa7c1" providerId="ADAL" clId="{AD634740-2A4A-4DBA-91EE-B286EB63FCB7}" dt="2024-06-07T08:42:16.450" v="1389" actId="1035"/>
          <ac:spMkLst>
            <pc:docMk/>
            <pc:sldMk cId="3939567711" sldId="2147481951"/>
            <ac:spMk id="62" creationId="{5FAADB15-4E21-3C09-8DC6-C494DF454908}"/>
          </ac:spMkLst>
        </pc:spChg>
        <pc:grpChg chg="del">
          <ac:chgData name="Sindija Kirsteine (LV)" userId="5f25501a-2215-4bb3-9d9c-8d1484ffa7c1" providerId="ADAL" clId="{AD634740-2A4A-4DBA-91EE-B286EB63FCB7}" dt="2024-06-05T08:30:40.326" v="697" actId="478"/>
          <ac:grpSpMkLst>
            <pc:docMk/>
            <pc:sldMk cId="3939567711" sldId="2147481951"/>
            <ac:grpSpMk id="5" creationId="{7541A2C4-9A92-D2F4-E0F1-AF589F8D685F}"/>
          </ac:grpSpMkLst>
        </pc:grpChg>
        <pc:grpChg chg="add mod">
          <ac:chgData name="Sindija Kirsteine (LV)" userId="5f25501a-2215-4bb3-9d9c-8d1484ffa7c1" providerId="ADAL" clId="{AD634740-2A4A-4DBA-91EE-B286EB63FCB7}" dt="2024-06-05T08:30:40.549" v="698"/>
          <ac:grpSpMkLst>
            <pc:docMk/>
            <pc:sldMk cId="3939567711" sldId="2147481951"/>
            <ac:grpSpMk id="13" creationId="{0F421062-B37E-BE00-D345-8B9853B48463}"/>
          </ac:grpSpMkLst>
        </pc:grpChg>
      </pc:sldChg>
      <pc:sldChg chg="addSp delSp modSp mod delCm">
        <pc:chgData name="Sindija Kirsteine (LV)" userId="5f25501a-2215-4bb3-9d9c-8d1484ffa7c1" providerId="ADAL" clId="{AD634740-2A4A-4DBA-91EE-B286EB63FCB7}" dt="2024-06-07T15:05:34.884" v="2579" actId="14100"/>
        <pc:sldMkLst>
          <pc:docMk/>
          <pc:sldMk cId="8764514" sldId="2147481952"/>
        </pc:sldMkLst>
        <pc:spChg chg="del mod">
          <ac:chgData name="Sindija Kirsteine (LV)" userId="5f25501a-2215-4bb3-9d9c-8d1484ffa7c1" providerId="ADAL" clId="{AD634740-2A4A-4DBA-91EE-B286EB63FCB7}" dt="2024-06-07T08:46:13.850" v="1825" actId="478"/>
          <ac:spMkLst>
            <pc:docMk/>
            <pc:sldMk cId="8764514" sldId="2147481952"/>
            <ac:spMk id="4" creationId="{3468B703-BD03-9754-497D-AD6AB7B72F60}"/>
          </ac:spMkLst>
        </pc:spChg>
        <pc:spChg chg="add del mod">
          <ac:chgData name="Sindija Kirsteine (LV)" userId="5f25501a-2215-4bb3-9d9c-8d1484ffa7c1" providerId="ADAL" clId="{AD634740-2A4A-4DBA-91EE-B286EB63FCB7}" dt="2024-06-05T07:31:04.078" v="153" actId="21"/>
          <ac:spMkLst>
            <pc:docMk/>
            <pc:sldMk cId="8764514" sldId="2147481952"/>
            <ac:spMk id="4" creationId="{8DEF8C05-648B-CC66-75B0-FEF49018A8CD}"/>
          </ac:spMkLst>
        </pc:spChg>
        <pc:spChg chg="add mod">
          <ac:chgData name="Sindija Kirsteine (LV)" userId="5f25501a-2215-4bb3-9d9c-8d1484ffa7c1" providerId="ADAL" clId="{AD634740-2A4A-4DBA-91EE-B286EB63FCB7}" dt="2024-06-05T08:24:13.800" v="489"/>
          <ac:spMkLst>
            <pc:docMk/>
            <pc:sldMk cId="8764514" sldId="2147481952"/>
            <ac:spMk id="5" creationId="{1B10FEC7-6A45-474C-48BE-8DDF8ECED47A}"/>
          </ac:spMkLst>
        </pc:spChg>
        <pc:spChg chg="add mod">
          <ac:chgData name="Sindija Kirsteine (LV)" userId="5f25501a-2215-4bb3-9d9c-8d1484ffa7c1" providerId="ADAL" clId="{AD634740-2A4A-4DBA-91EE-B286EB63FCB7}" dt="2024-06-07T15:05:34.884" v="2579" actId="14100"/>
          <ac:spMkLst>
            <pc:docMk/>
            <pc:sldMk cId="8764514" sldId="2147481952"/>
            <ac:spMk id="6" creationId="{9E46D0B5-F361-0943-4454-3E5586C21CCA}"/>
          </ac:spMkLst>
        </pc:spChg>
        <pc:spChg chg="mod">
          <ac:chgData name="Sindija Kirsteine (LV)" userId="5f25501a-2215-4bb3-9d9c-8d1484ffa7c1" providerId="ADAL" clId="{AD634740-2A4A-4DBA-91EE-B286EB63FCB7}" dt="2024-06-05T08:24:21.221" v="496"/>
          <ac:spMkLst>
            <pc:docMk/>
            <pc:sldMk cId="8764514" sldId="2147481952"/>
            <ac:spMk id="7" creationId="{C7A7CF2B-5920-69CF-8519-50C064F1D247}"/>
          </ac:spMkLst>
        </pc:spChg>
        <pc:spChg chg="mod">
          <ac:chgData name="Sindija Kirsteine (LV)" userId="5f25501a-2215-4bb3-9d9c-8d1484ffa7c1" providerId="ADAL" clId="{AD634740-2A4A-4DBA-91EE-B286EB63FCB7}" dt="2024-06-05T08:24:21.221" v="496"/>
          <ac:spMkLst>
            <pc:docMk/>
            <pc:sldMk cId="8764514" sldId="2147481952"/>
            <ac:spMk id="8" creationId="{EAB1707F-35AD-D2BB-A92D-E1A381695F6D}"/>
          </ac:spMkLst>
        </pc:spChg>
        <pc:spChg chg="mod">
          <ac:chgData name="Sindija Kirsteine (LV)" userId="5f25501a-2215-4bb3-9d9c-8d1484ffa7c1" providerId="ADAL" clId="{AD634740-2A4A-4DBA-91EE-B286EB63FCB7}" dt="2024-06-07T08:44:27.569" v="1584" actId="20577"/>
          <ac:spMkLst>
            <pc:docMk/>
            <pc:sldMk cId="8764514" sldId="2147481952"/>
            <ac:spMk id="9" creationId="{E60771D5-36B1-5846-E0FD-EE10BA67E143}"/>
          </ac:spMkLst>
        </pc:spChg>
        <pc:spChg chg="mod">
          <ac:chgData name="Sindija Kirsteine (LV)" userId="5f25501a-2215-4bb3-9d9c-8d1484ffa7c1" providerId="ADAL" clId="{AD634740-2A4A-4DBA-91EE-B286EB63FCB7}" dt="2024-06-07T08:44:20.627" v="1555" actId="20577"/>
          <ac:spMkLst>
            <pc:docMk/>
            <pc:sldMk cId="8764514" sldId="2147481952"/>
            <ac:spMk id="10" creationId="{0E3AF958-70C4-357F-D986-53A75E5CF63B}"/>
          </ac:spMkLst>
        </pc:spChg>
        <pc:spChg chg="mod">
          <ac:chgData name="Sindija Kirsteine (LV)" userId="5f25501a-2215-4bb3-9d9c-8d1484ffa7c1" providerId="ADAL" clId="{AD634740-2A4A-4DBA-91EE-B286EB63FCB7}" dt="2024-06-05T08:24:21.221" v="496"/>
          <ac:spMkLst>
            <pc:docMk/>
            <pc:sldMk cId="8764514" sldId="2147481952"/>
            <ac:spMk id="13" creationId="{678F311D-28D0-4D4A-E504-270DE6C4602F}"/>
          </ac:spMkLst>
        </pc:spChg>
        <pc:spChg chg="mod">
          <ac:chgData name="Sindija Kirsteine (LV)" userId="5f25501a-2215-4bb3-9d9c-8d1484ffa7c1" providerId="ADAL" clId="{AD634740-2A4A-4DBA-91EE-B286EB63FCB7}" dt="2024-06-04T10:09:23.963" v="19" actId="20577"/>
          <ac:spMkLst>
            <pc:docMk/>
            <pc:sldMk cId="8764514" sldId="2147481952"/>
            <ac:spMk id="19" creationId="{3A07BD72-5576-53C1-BD24-E93959AEEC0C}"/>
          </ac:spMkLst>
        </pc:spChg>
        <pc:spChg chg="mod">
          <ac:chgData name="Sindija Kirsteine (LV)" userId="5f25501a-2215-4bb3-9d9c-8d1484ffa7c1" providerId="ADAL" clId="{AD634740-2A4A-4DBA-91EE-B286EB63FCB7}" dt="2024-06-05T08:24:21.221" v="496"/>
          <ac:spMkLst>
            <pc:docMk/>
            <pc:sldMk cId="8764514" sldId="2147481952"/>
            <ac:spMk id="21" creationId="{E63703D2-322B-E798-268D-C2C4614E529C}"/>
          </ac:spMkLst>
        </pc:spChg>
        <pc:spChg chg="mod">
          <ac:chgData name="Sindija Kirsteine (LV)" userId="5f25501a-2215-4bb3-9d9c-8d1484ffa7c1" providerId="ADAL" clId="{AD634740-2A4A-4DBA-91EE-B286EB63FCB7}" dt="2024-06-05T08:24:21.221" v="496"/>
          <ac:spMkLst>
            <pc:docMk/>
            <pc:sldMk cId="8764514" sldId="2147481952"/>
            <ac:spMk id="22" creationId="{F976C6C2-63F8-4508-16CA-EF411821EAB6}"/>
          </ac:spMkLst>
        </pc:spChg>
        <pc:spChg chg="mod">
          <ac:chgData name="Sindija Kirsteine (LV)" userId="5f25501a-2215-4bb3-9d9c-8d1484ffa7c1" providerId="ADAL" clId="{AD634740-2A4A-4DBA-91EE-B286EB63FCB7}" dt="2024-06-05T08:24:21.221" v="496"/>
          <ac:spMkLst>
            <pc:docMk/>
            <pc:sldMk cId="8764514" sldId="2147481952"/>
            <ac:spMk id="23" creationId="{218ADE53-3BDE-D2F3-07CB-515CADF54C28}"/>
          </ac:spMkLst>
        </pc:spChg>
        <pc:spChg chg="mod">
          <ac:chgData name="Sindija Kirsteine (LV)" userId="5f25501a-2215-4bb3-9d9c-8d1484ffa7c1" providerId="ADAL" clId="{AD634740-2A4A-4DBA-91EE-B286EB63FCB7}" dt="2024-06-05T08:24:21.221" v="496"/>
          <ac:spMkLst>
            <pc:docMk/>
            <pc:sldMk cId="8764514" sldId="2147481952"/>
            <ac:spMk id="24" creationId="{A3BDFCF8-898F-078D-E4F5-5E0F6526920F}"/>
          </ac:spMkLst>
        </pc:spChg>
        <pc:spChg chg="mod">
          <ac:chgData name="Sindija Kirsteine (LV)" userId="5f25501a-2215-4bb3-9d9c-8d1484ffa7c1" providerId="ADAL" clId="{AD634740-2A4A-4DBA-91EE-B286EB63FCB7}" dt="2024-06-05T08:30:45.144" v="701"/>
          <ac:spMkLst>
            <pc:docMk/>
            <pc:sldMk cId="8764514" sldId="2147481952"/>
            <ac:spMk id="26" creationId="{9B08BADD-0CDC-A3B3-F935-3392B2BCC31F}"/>
          </ac:spMkLst>
        </pc:spChg>
        <pc:spChg chg="mod">
          <ac:chgData name="Sindija Kirsteine (LV)" userId="5f25501a-2215-4bb3-9d9c-8d1484ffa7c1" providerId="ADAL" clId="{AD634740-2A4A-4DBA-91EE-B286EB63FCB7}" dt="2024-06-05T08:30:45.144" v="701"/>
          <ac:spMkLst>
            <pc:docMk/>
            <pc:sldMk cId="8764514" sldId="2147481952"/>
            <ac:spMk id="27" creationId="{3BC59A5C-0DE4-3472-B1E9-57B4B131969D}"/>
          </ac:spMkLst>
        </pc:spChg>
        <pc:spChg chg="mod">
          <ac:chgData name="Sindija Kirsteine (LV)" userId="5f25501a-2215-4bb3-9d9c-8d1484ffa7c1" providerId="ADAL" clId="{AD634740-2A4A-4DBA-91EE-B286EB63FCB7}" dt="2024-06-05T08:30:45.144" v="701"/>
          <ac:spMkLst>
            <pc:docMk/>
            <pc:sldMk cId="8764514" sldId="2147481952"/>
            <ac:spMk id="28" creationId="{A04BBDB3-FCDC-E647-C26E-F85F581F80A9}"/>
          </ac:spMkLst>
        </pc:spChg>
        <pc:spChg chg="mod">
          <ac:chgData name="Sindija Kirsteine (LV)" userId="5f25501a-2215-4bb3-9d9c-8d1484ffa7c1" providerId="ADAL" clId="{AD634740-2A4A-4DBA-91EE-B286EB63FCB7}" dt="2024-06-05T08:30:45.144" v="701"/>
          <ac:spMkLst>
            <pc:docMk/>
            <pc:sldMk cId="8764514" sldId="2147481952"/>
            <ac:spMk id="29" creationId="{22F6816D-B5F0-B283-71AC-59AA508FB67A}"/>
          </ac:spMkLst>
        </pc:spChg>
        <pc:spChg chg="mod">
          <ac:chgData name="Sindija Kirsteine (LV)" userId="5f25501a-2215-4bb3-9d9c-8d1484ffa7c1" providerId="ADAL" clId="{AD634740-2A4A-4DBA-91EE-B286EB63FCB7}" dt="2024-06-05T08:30:45.144" v="701"/>
          <ac:spMkLst>
            <pc:docMk/>
            <pc:sldMk cId="8764514" sldId="2147481952"/>
            <ac:spMk id="30" creationId="{CAA45E14-8401-2322-B58A-46286C85453B}"/>
          </ac:spMkLst>
        </pc:spChg>
        <pc:spChg chg="mod">
          <ac:chgData name="Sindija Kirsteine (LV)" userId="5f25501a-2215-4bb3-9d9c-8d1484ffa7c1" providerId="ADAL" clId="{AD634740-2A4A-4DBA-91EE-B286EB63FCB7}" dt="2024-06-05T08:30:45.144" v="701"/>
          <ac:spMkLst>
            <pc:docMk/>
            <pc:sldMk cId="8764514" sldId="2147481952"/>
            <ac:spMk id="31" creationId="{0C44ADA3-4B67-3104-9828-9190E57D9804}"/>
          </ac:spMkLst>
        </pc:spChg>
        <pc:spChg chg="mod">
          <ac:chgData name="Sindija Kirsteine (LV)" userId="5f25501a-2215-4bb3-9d9c-8d1484ffa7c1" providerId="ADAL" clId="{AD634740-2A4A-4DBA-91EE-B286EB63FCB7}" dt="2024-06-05T08:30:45.144" v="701"/>
          <ac:spMkLst>
            <pc:docMk/>
            <pc:sldMk cId="8764514" sldId="2147481952"/>
            <ac:spMk id="32" creationId="{9CBF9E74-966B-0AA4-5B3F-076F29765367}"/>
          </ac:spMkLst>
        </pc:spChg>
        <pc:grpChg chg="add del mod">
          <ac:chgData name="Sindija Kirsteine (LV)" userId="5f25501a-2215-4bb3-9d9c-8d1484ffa7c1" providerId="ADAL" clId="{AD634740-2A4A-4DBA-91EE-B286EB63FCB7}" dt="2024-06-05T08:30:44.860" v="700" actId="478"/>
          <ac:grpSpMkLst>
            <pc:docMk/>
            <pc:sldMk cId="8764514" sldId="2147481952"/>
            <ac:grpSpMk id="6" creationId="{E8B429C4-61F5-FE0C-D2BB-93E295150265}"/>
          </ac:grpSpMkLst>
        </pc:grpChg>
        <pc:grpChg chg="add mod">
          <ac:chgData name="Sindija Kirsteine (LV)" userId="5f25501a-2215-4bb3-9d9c-8d1484ffa7c1" providerId="ADAL" clId="{AD634740-2A4A-4DBA-91EE-B286EB63FCB7}" dt="2024-06-05T08:30:45.144" v="701"/>
          <ac:grpSpMkLst>
            <pc:docMk/>
            <pc:sldMk cId="8764514" sldId="2147481952"/>
            <ac:grpSpMk id="25" creationId="{48FFE816-4D00-428F-9877-278C6CE65D6B}"/>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49:37.885" v="1965"/>
              <pc2:cmMkLst xmlns:pc2="http://schemas.microsoft.com/office/powerpoint/2019/9/main/command">
                <pc:docMk/>
                <pc:sldMk cId="8764514" sldId="2147481952"/>
                <pc2:cmMk id="{A88F5E5A-8F7E-4686-800B-7EAC25B21044}"/>
              </pc2:cmMkLst>
            </pc226:cmChg>
            <pc226:cmChg xmlns:pc226="http://schemas.microsoft.com/office/powerpoint/2022/06/main/command" chg="del">
              <pc226:chgData name="Sindija Kirsteine (LV)" userId="5f25501a-2215-4bb3-9d9c-8d1484ffa7c1" providerId="ADAL" clId="{AD634740-2A4A-4DBA-91EE-B286EB63FCB7}" dt="2024-06-07T08:49:11.226" v="1964"/>
              <pc2:cmMkLst xmlns:pc2="http://schemas.microsoft.com/office/powerpoint/2019/9/main/command">
                <pc:docMk/>
                <pc:sldMk cId="8764514" sldId="2147481952"/>
                <pc2:cmMk id="{AD78A99D-FB63-453D-ABAC-80F29DC4DDB1}"/>
              </pc2:cmMkLst>
            </pc226:cmChg>
          </p:ext>
        </pc:extLst>
      </pc:sldChg>
      <pc:sldChg chg="addSp delSp modSp mod ord delCm modNotesTx">
        <pc:chgData name="Sindija Kirsteine (LV)" userId="5f25501a-2215-4bb3-9d9c-8d1484ffa7c1" providerId="ADAL" clId="{AD634740-2A4A-4DBA-91EE-B286EB63FCB7}" dt="2024-06-10T09:26:46.845" v="2845" actId="20577"/>
        <pc:sldMkLst>
          <pc:docMk/>
          <pc:sldMk cId="1261692589" sldId="2147481953"/>
        </pc:sldMkLst>
        <pc:spChg chg="mod">
          <ac:chgData name="Sindija Kirsteine (LV)" userId="5f25501a-2215-4bb3-9d9c-8d1484ffa7c1" providerId="ADAL" clId="{AD634740-2A4A-4DBA-91EE-B286EB63FCB7}" dt="2024-06-07T08:50:16.485" v="1992" actId="207"/>
          <ac:spMkLst>
            <pc:docMk/>
            <pc:sldMk cId="1261692589" sldId="2147481953"/>
            <ac:spMk id="2" creationId="{1A6103D8-B23D-68A9-5B86-59618E4C749F}"/>
          </ac:spMkLst>
        </pc:spChg>
        <pc:spChg chg="add mod">
          <ac:chgData name="Sindija Kirsteine (LV)" userId="5f25501a-2215-4bb3-9d9c-8d1484ffa7c1" providerId="ADAL" clId="{AD634740-2A4A-4DBA-91EE-B286EB63FCB7}" dt="2024-06-05T08:25:58.508" v="549"/>
          <ac:spMkLst>
            <pc:docMk/>
            <pc:sldMk cId="1261692589" sldId="2147481953"/>
            <ac:spMk id="6" creationId="{7F962AFD-D2AE-9235-F8E2-0CABE6A9A67C}"/>
          </ac:spMkLst>
        </pc:spChg>
        <pc:spChg chg="mod">
          <ac:chgData name="Sindija Kirsteine (LV)" userId="5f25501a-2215-4bb3-9d9c-8d1484ffa7c1" providerId="ADAL" clId="{AD634740-2A4A-4DBA-91EE-B286EB63FCB7}" dt="2024-06-05T08:26:02.972" v="552"/>
          <ac:spMkLst>
            <pc:docMk/>
            <pc:sldMk cId="1261692589" sldId="2147481953"/>
            <ac:spMk id="9" creationId="{AC7263C5-2DE7-499B-7ED4-97EC3DF9C19E}"/>
          </ac:spMkLst>
        </pc:spChg>
        <pc:spChg chg="mod">
          <ac:chgData name="Sindija Kirsteine (LV)" userId="5f25501a-2215-4bb3-9d9c-8d1484ffa7c1" providerId="ADAL" clId="{AD634740-2A4A-4DBA-91EE-B286EB63FCB7}" dt="2024-06-05T08:26:02.972" v="552"/>
          <ac:spMkLst>
            <pc:docMk/>
            <pc:sldMk cId="1261692589" sldId="2147481953"/>
            <ac:spMk id="10" creationId="{2E03E2B3-56FC-DEB2-4538-91D496C2A0C3}"/>
          </ac:spMkLst>
        </pc:spChg>
        <pc:spChg chg="mod">
          <ac:chgData name="Sindija Kirsteine (LV)" userId="5f25501a-2215-4bb3-9d9c-8d1484ffa7c1" providerId="ADAL" clId="{AD634740-2A4A-4DBA-91EE-B286EB63FCB7}" dt="2024-06-05T08:26:02.972" v="552"/>
          <ac:spMkLst>
            <pc:docMk/>
            <pc:sldMk cId="1261692589" sldId="2147481953"/>
            <ac:spMk id="12" creationId="{DEF33CE3-AD49-A3F6-CCF3-F9C42843D971}"/>
          </ac:spMkLst>
        </pc:spChg>
        <pc:spChg chg="mod">
          <ac:chgData name="Sindija Kirsteine (LV)" userId="5f25501a-2215-4bb3-9d9c-8d1484ffa7c1" providerId="ADAL" clId="{AD634740-2A4A-4DBA-91EE-B286EB63FCB7}" dt="2024-06-05T08:26:02.972" v="552"/>
          <ac:spMkLst>
            <pc:docMk/>
            <pc:sldMk cId="1261692589" sldId="2147481953"/>
            <ac:spMk id="13" creationId="{87CD06E5-E3B2-C90C-93A7-5D318AF5F546}"/>
          </ac:spMkLst>
        </pc:spChg>
        <pc:spChg chg="mod">
          <ac:chgData name="Sindija Kirsteine (LV)" userId="5f25501a-2215-4bb3-9d9c-8d1484ffa7c1" providerId="ADAL" clId="{AD634740-2A4A-4DBA-91EE-B286EB63FCB7}" dt="2024-06-05T08:26:02.972" v="552"/>
          <ac:spMkLst>
            <pc:docMk/>
            <pc:sldMk cId="1261692589" sldId="2147481953"/>
            <ac:spMk id="14" creationId="{79E4DDC3-611A-F086-5CF6-7A59ACA09B93}"/>
          </ac:spMkLst>
        </pc:spChg>
        <pc:spChg chg="mod">
          <ac:chgData name="Sindija Kirsteine (LV)" userId="5f25501a-2215-4bb3-9d9c-8d1484ffa7c1" providerId="ADAL" clId="{AD634740-2A4A-4DBA-91EE-B286EB63FCB7}" dt="2024-06-05T08:26:02.972" v="552"/>
          <ac:spMkLst>
            <pc:docMk/>
            <pc:sldMk cId="1261692589" sldId="2147481953"/>
            <ac:spMk id="15" creationId="{C0D1388F-F89F-D64D-259F-53A1BD6E487B}"/>
          </ac:spMkLst>
        </pc:spChg>
        <pc:spChg chg="mod">
          <ac:chgData name="Sindija Kirsteine (LV)" userId="5f25501a-2215-4bb3-9d9c-8d1484ffa7c1" providerId="ADAL" clId="{AD634740-2A4A-4DBA-91EE-B286EB63FCB7}" dt="2024-06-05T08:26:02.972" v="552"/>
          <ac:spMkLst>
            <pc:docMk/>
            <pc:sldMk cId="1261692589" sldId="2147481953"/>
            <ac:spMk id="19" creationId="{6A4A1F6E-8369-C8E2-7971-8BB5D564AA4F}"/>
          </ac:spMkLst>
        </pc:spChg>
        <pc:spChg chg="mod">
          <ac:chgData name="Sindija Kirsteine (LV)" userId="5f25501a-2215-4bb3-9d9c-8d1484ffa7c1" providerId="ADAL" clId="{AD634740-2A4A-4DBA-91EE-B286EB63FCB7}" dt="2024-06-05T08:36:24.344" v="892"/>
          <ac:spMkLst>
            <pc:docMk/>
            <pc:sldMk cId="1261692589" sldId="2147481953"/>
            <ac:spMk id="23" creationId="{1E2C0766-59D0-B5CA-00D4-72892E4722BA}"/>
          </ac:spMkLst>
        </pc:spChg>
        <pc:spChg chg="mod">
          <ac:chgData name="Sindija Kirsteine (LV)" userId="5f25501a-2215-4bb3-9d9c-8d1484ffa7c1" providerId="ADAL" clId="{AD634740-2A4A-4DBA-91EE-B286EB63FCB7}" dt="2024-06-05T08:36:24.344" v="892"/>
          <ac:spMkLst>
            <pc:docMk/>
            <pc:sldMk cId="1261692589" sldId="2147481953"/>
            <ac:spMk id="24" creationId="{FD1E0699-7B6C-5BF9-24B5-0286D87F7F0C}"/>
          </ac:spMkLst>
        </pc:spChg>
        <pc:spChg chg="mod">
          <ac:chgData name="Sindija Kirsteine (LV)" userId="5f25501a-2215-4bb3-9d9c-8d1484ffa7c1" providerId="ADAL" clId="{AD634740-2A4A-4DBA-91EE-B286EB63FCB7}" dt="2024-06-05T08:36:24.344" v="892"/>
          <ac:spMkLst>
            <pc:docMk/>
            <pc:sldMk cId="1261692589" sldId="2147481953"/>
            <ac:spMk id="25" creationId="{BE8D66F0-5178-413F-1F6D-BB1CC7B54BEA}"/>
          </ac:spMkLst>
        </pc:spChg>
        <pc:spChg chg="mod">
          <ac:chgData name="Sindija Kirsteine (LV)" userId="5f25501a-2215-4bb3-9d9c-8d1484ffa7c1" providerId="ADAL" clId="{AD634740-2A4A-4DBA-91EE-B286EB63FCB7}" dt="2024-06-05T08:36:24.344" v="892"/>
          <ac:spMkLst>
            <pc:docMk/>
            <pc:sldMk cId="1261692589" sldId="2147481953"/>
            <ac:spMk id="33" creationId="{5AADCA6B-6E39-D9BB-DF78-CAC623313160}"/>
          </ac:spMkLst>
        </pc:spChg>
        <pc:spChg chg="mod">
          <ac:chgData name="Sindija Kirsteine (LV)" userId="5f25501a-2215-4bb3-9d9c-8d1484ffa7c1" providerId="ADAL" clId="{AD634740-2A4A-4DBA-91EE-B286EB63FCB7}" dt="2024-06-05T08:36:24.344" v="892"/>
          <ac:spMkLst>
            <pc:docMk/>
            <pc:sldMk cId="1261692589" sldId="2147481953"/>
            <ac:spMk id="34" creationId="{C0F47930-853F-D9EF-48A7-1D6BACC41D29}"/>
          </ac:spMkLst>
        </pc:spChg>
        <pc:spChg chg="mod">
          <ac:chgData name="Sindija Kirsteine (LV)" userId="5f25501a-2215-4bb3-9d9c-8d1484ffa7c1" providerId="ADAL" clId="{AD634740-2A4A-4DBA-91EE-B286EB63FCB7}" dt="2024-06-05T08:36:24.344" v="892"/>
          <ac:spMkLst>
            <pc:docMk/>
            <pc:sldMk cId="1261692589" sldId="2147481953"/>
            <ac:spMk id="35" creationId="{EA2DB132-FBE2-839B-BDEB-B3AE49FC28A0}"/>
          </ac:spMkLst>
        </pc:spChg>
        <pc:spChg chg="mod">
          <ac:chgData name="Sindija Kirsteine (LV)" userId="5f25501a-2215-4bb3-9d9c-8d1484ffa7c1" providerId="ADAL" clId="{AD634740-2A4A-4DBA-91EE-B286EB63FCB7}" dt="2024-06-05T08:36:24.344" v="892"/>
          <ac:spMkLst>
            <pc:docMk/>
            <pc:sldMk cId="1261692589" sldId="2147481953"/>
            <ac:spMk id="36" creationId="{65BCD2B3-51BE-1F41-CA24-B886B1E789B7}"/>
          </ac:spMkLst>
        </pc:spChg>
        <pc:grpChg chg="add del mod">
          <ac:chgData name="Sindija Kirsteine (LV)" userId="5f25501a-2215-4bb3-9d9c-8d1484ffa7c1" providerId="ADAL" clId="{AD634740-2A4A-4DBA-91EE-B286EB63FCB7}" dt="2024-06-05T08:36:24.138" v="891" actId="478"/>
          <ac:grpSpMkLst>
            <pc:docMk/>
            <pc:sldMk cId="1261692589" sldId="2147481953"/>
            <ac:grpSpMk id="8" creationId="{6D392429-4539-82EB-2915-3AD67BE828CE}"/>
          </ac:grpSpMkLst>
        </pc:grpChg>
        <pc:grpChg chg="add mod">
          <ac:chgData name="Sindija Kirsteine (LV)" userId="5f25501a-2215-4bb3-9d9c-8d1484ffa7c1" providerId="ADAL" clId="{AD634740-2A4A-4DBA-91EE-B286EB63FCB7}" dt="2024-06-05T08:36:24.344" v="892"/>
          <ac:grpSpMkLst>
            <pc:docMk/>
            <pc:sldMk cId="1261692589" sldId="2147481953"/>
            <ac:grpSpMk id="22" creationId="{B9783007-E82C-FDC9-26A2-79C23C22898C}"/>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12:56:37.209" v="2298"/>
              <pc2:cmMkLst xmlns:pc2="http://schemas.microsoft.com/office/powerpoint/2019/9/main/command">
                <pc:docMk/>
                <pc:sldMk cId="1261692589" sldId="2147481953"/>
                <pc2:cmMk id="{A2BFB9A9-1955-4CE0-BF5C-BDDC69F82ED1}"/>
              </pc2:cmMkLst>
            </pc226:cmChg>
          </p:ext>
        </pc:extLst>
      </pc:sldChg>
      <pc:sldChg chg="addSp delSp modSp mod ord delCm">
        <pc:chgData name="Sindija Kirsteine (LV)" userId="5f25501a-2215-4bb3-9d9c-8d1484ffa7c1" providerId="ADAL" clId="{AD634740-2A4A-4DBA-91EE-B286EB63FCB7}" dt="2024-06-07T08:49:41.793" v="1967"/>
        <pc:sldMkLst>
          <pc:docMk/>
          <pc:sldMk cId="2037616446" sldId="2147481956"/>
        </pc:sldMkLst>
        <pc:spChg chg="add del mod">
          <ac:chgData name="Sindija Kirsteine (LV)" userId="5f25501a-2215-4bb3-9d9c-8d1484ffa7c1" providerId="ADAL" clId="{AD634740-2A4A-4DBA-91EE-B286EB63FCB7}" dt="2024-06-05T07:31:08.329" v="157" actId="478"/>
          <ac:spMkLst>
            <pc:docMk/>
            <pc:sldMk cId="2037616446" sldId="2147481956"/>
            <ac:spMk id="4" creationId="{D84C0E94-F72D-B5D3-6B7B-C7AF701D77EA}"/>
          </ac:spMkLst>
        </pc:spChg>
        <pc:spChg chg="mod">
          <ac:chgData name="Sindija Kirsteine (LV)" userId="5f25501a-2215-4bb3-9d9c-8d1484ffa7c1" providerId="ADAL" clId="{AD634740-2A4A-4DBA-91EE-B286EB63FCB7}" dt="2024-06-07T08:45:06.220" v="1700" actId="20577"/>
          <ac:spMkLst>
            <pc:docMk/>
            <pc:sldMk cId="2037616446" sldId="2147481956"/>
            <ac:spMk id="9" creationId="{E60771D5-36B1-5846-E0FD-EE10BA67E143}"/>
          </ac:spMkLst>
        </pc:spChg>
        <pc:spChg chg="mod">
          <ac:chgData name="Sindija Kirsteine (LV)" userId="5f25501a-2215-4bb3-9d9c-8d1484ffa7c1" providerId="ADAL" clId="{AD634740-2A4A-4DBA-91EE-B286EB63FCB7}" dt="2024-06-07T08:44:59.098" v="1669" actId="20577"/>
          <ac:spMkLst>
            <pc:docMk/>
            <pc:sldMk cId="2037616446" sldId="2147481956"/>
            <ac:spMk id="10" creationId="{0E3AF958-70C4-357F-D986-53A75E5CF63B}"/>
          </ac:spMkLst>
        </pc:spChg>
        <pc:spChg chg="add mod">
          <ac:chgData name="Sindija Kirsteine (LV)" userId="5f25501a-2215-4bb3-9d9c-8d1484ffa7c1" providerId="ADAL" clId="{AD634740-2A4A-4DBA-91EE-B286EB63FCB7}" dt="2024-06-07T08:46:04.852" v="1821" actId="1076"/>
          <ac:spMkLst>
            <pc:docMk/>
            <pc:sldMk cId="2037616446" sldId="2147481956"/>
            <ac:spMk id="14" creationId="{5B5D085A-3398-3BD7-B8AA-EE3669531778}"/>
          </ac:spMkLst>
        </pc:spChg>
        <pc:spChg chg="add mod">
          <ac:chgData name="Sindija Kirsteine (LV)" userId="5f25501a-2215-4bb3-9d9c-8d1484ffa7c1" providerId="ADAL" clId="{AD634740-2A4A-4DBA-91EE-B286EB63FCB7}" dt="2024-06-05T08:24:15.180" v="491"/>
          <ac:spMkLst>
            <pc:docMk/>
            <pc:sldMk cId="2037616446" sldId="2147481956"/>
            <ac:spMk id="15" creationId="{5B79C17C-666F-CB52-D0B3-705685972900}"/>
          </ac:spMkLst>
        </pc:spChg>
        <pc:spChg chg="mod">
          <ac:chgData name="Sindija Kirsteine (LV)" userId="5f25501a-2215-4bb3-9d9c-8d1484ffa7c1" providerId="ADAL" clId="{AD634740-2A4A-4DBA-91EE-B286EB63FCB7}" dt="2024-06-05T08:24:22.653" v="498"/>
          <ac:spMkLst>
            <pc:docMk/>
            <pc:sldMk cId="2037616446" sldId="2147481956"/>
            <ac:spMk id="17" creationId="{F21292C9-50B1-2659-E4DA-58D0891F7CAC}"/>
          </ac:spMkLst>
        </pc:spChg>
        <pc:spChg chg="mod">
          <ac:chgData name="Sindija Kirsteine (LV)" userId="5f25501a-2215-4bb3-9d9c-8d1484ffa7c1" providerId="ADAL" clId="{AD634740-2A4A-4DBA-91EE-B286EB63FCB7}" dt="2024-06-05T08:24:22.653" v="498"/>
          <ac:spMkLst>
            <pc:docMk/>
            <pc:sldMk cId="2037616446" sldId="2147481956"/>
            <ac:spMk id="19" creationId="{068D8CE8-1B33-825C-6373-251B4E9C5F24}"/>
          </ac:spMkLst>
        </pc:spChg>
        <pc:spChg chg="mod">
          <ac:chgData name="Sindija Kirsteine (LV)" userId="5f25501a-2215-4bb3-9d9c-8d1484ffa7c1" providerId="ADAL" clId="{AD634740-2A4A-4DBA-91EE-B286EB63FCB7}" dt="2024-06-05T08:24:22.653" v="498"/>
          <ac:spMkLst>
            <pc:docMk/>
            <pc:sldMk cId="2037616446" sldId="2147481956"/>
            <ac:spMk id="22" creationId="{4AA69B36-43BF-AEBF-6A60-1F04B8576580}"/>
          </ac:spMkLst>
        </pc:spChg>
        <pc:spChg chg="mod">
          <ac:chgData name="Sindija Kirsteine (LV)" userId="5f25501a-2215-4bb3-9d9c-8d1484ffa7c1" providerId="ADAL" clId="{AD634740-2A4A-4DBA-91EE-B286EB63FCB7}" dt="2024-06-05T08:24:22.653" v="498"/>
          <ac:spMkLst>
            <pc:docMk/>
            <pc:sldMk cId="2037616446" sldId="2147481956"/>
            <ac:spMk id="23" creationId="{9BEDE370-C80A-91CE-6675-98C5FAE1B515}"/>
          </ac:spMkLst>
        </pc:spChg>
        <pc:spChg chg="mod">
          <ac:chgData name="Sindija Kirsteine (LV)" userId="5f25501a-2215-4bb3-9d9c-8d1484ffa7c1" providerId="ADAL" clId="{AD634740-2A4A-4DBA-91EE-B286EB63FCB7}" dt="2024-06-05T08:24:22.653" v="498"/>
          <ac:spMkLst>
            <pc:docMk/>
            <pc:sldMk cId="2037616446" sldId="2147481956"/>
            <ac:spMk id="24" creationId="{8C24C907-3F64-8847-B076-1DD145B2E0A2}"/>
          </ac:spMkLst>
        </pc:spChg>
        <pc:spChg chg="mod">
          <ac:chgData name="Sindija Kirsteine (LV)" userId="5f25501a-2215-4bb3-9d9c-8d1484ffa7c1" providerId="ADAL" clId="{AD634740-2A4A-4DBA-91EE-B286EB63FCB7}" dt="2024-06-05T08:24:22.653" v="498"/>
          <ac:spMkLst>
            <pc:docMk/>
            <pc:sldMk cId="2037616446" sldId="2147481956"/>
            <ac:spMk id="25" creationId="{7F373C27-B81C-5C41-6919-462B6133B90C}"/>
          </ac:spMkLst>
        </pc:spChg>
        <pc:spChg chg="mod">
          <ac:chgData name="Sindija Kirsteine (LV)" userId="5f25501a-2215-4bb3-9d9c-8d1484ffa7c1" providerId="ADAL" clId="{AD634740-2A4A-4DBA-91EE-B286EB63FCB7}" dt="2024-06-05T08:24:22.653" v="498"/>
          <ac:spMkLst>
            <pc:docMk/>
            <pc:sldMk cId="2037616446" sldId="2147481956"/>
            <ac:spMk id="26" creationId="{0D27B615-0DF8-8D73-990B-13B856831196}"/>
          </ac:spMkLst>
        </pc:spChg>
        <pc:spChg chg="mod">
          <ac:chgData name="Sindija Kirsteine (LV)" userId="5f25501a-2215-4bb3-9d9c-8d1484ffa7c1" providerId="ADAL" clId="{AD634740-2A4A-4DBA-91EE-B286EB63FCB7}" dt="2024-06-05T08:30:48.606" v="704"/>
          <ac:spMkLst>
            <pc:docMk/>
            <pc:sldMk cId="2037616446" sldId="2147481956"/>
            <ac:spMk id="28" creationId="{385C00E3-84BA-445E-6201-C2A2A0D9A20F}"/>
          </ac:spMkLst>
        </pc:spChg>
        <pc:spChg chg="mod">
          <ac:chgData name="Sindija Kirsteine (LV)" userId="5f25501a-2215-4bb3-9d9c-8d1484ffa7c1" providerId="ADAL" clId="{AD634740-2A4A-4DBA-91EE-B286EB63FCB7}" dt="2024-06-05T08:30:48.606" v="704"/>
          <ac:spMkLst>
            <pc:docMk/>
            <pc:sldMk cId="2037616446" sldId="2147481956"/>
            <ac:spMk id="29" creationId="{6CB9AF57-5922-2FA6-5F7A-B7A36AA9CBF3}"/>
          </ac:spMkLst>
        </pc:spChg>
        <pc:spChg chg="mod">
          <ac:chgData name="Sindija Kirsteine (LV)" userId="5f25501a-2215-4bb3-9d9c-8d1484ffa7c1" providerId="ADAL" clId="{AD634740-2A4A-4DBA-91EE-B286EB63FCB7}" dt="2024-06-05T08:30:48.606" v="704"/>
          <ac:spMkLst>
            <pc:docMk/>
            <pc:sldMk cId="2037616446" sldId="2147481956"/>
            <ac:spMk id="30" creationId="{A0166CA8-8B98-B99C-039B-D379B07F343D}"/>
          </ac:spMkLst>
        </pc:spChg>
        <pc:spChg chg="mod">
          <ac:chgData name="Sindija Kirsteine (LV)" userId="5f25501a-2215-4bb3-9d9c-8d1484ffa7c1" providerId="ADAL" clId="{AD634740-2A4A-4DBA-91EE-B286EB63FCB7}" dt="2024-06-05T08:30:48.606" v="704"/>
          <ac:spMkLst>
            <pc:docMk/>
            <pc:sldMk cId="2037616446" sldId="2147481956"/>
            <ac:spMk id="31" creationId="{9B91A27B-5434-26BB-1B8F-AA876C5B60BE}"/>
          </ac:spMkLst>
        </pc:spChg>
        <pc:spChg chg="mod">
          <ac:chgData name="Sindija Kirsteine (LV)" userId="5f25501a-2215-4bb3-9d9c-8d1484ffa7c1" providerId="ADAL" clId="{AD634740-2A4A-4DBA-91EE-B286EB63FCB7}" dt="2024-06-05T08:30:48.606" v="704"/>
          <ac:spMkLst>
            <pc:docMk/>
            <pc:sldMk cId="2037616446" sldId="2147481956"/>
            <ac:spMk id="32" creationId="{9D44D33C-3E14-932D-01B2-2B0CE26BE0A5}"/>
          </ac:spMkLst>
        </pc:spChg>
        <pc:spChg chg="mod">
          <ac:chgData name="Sindija Kirsteine (LV)" userId="5f25501a-2215-4bb3-9d9c-8d1484ffa7c1" providerId="ADAL" clId="{AD634740-2A4A-4DBA-91EE-B286EB63FCB7}" dt="2024-06-05T08:30:48.606" v="704"/>
          <ac:spMkLst>
            <pc:docMk/>
            <pc:sldMk cId="2037616446" sldId="2147481956"/>
            <ac:spMk id="33" creationId="{BB2E6E78-D9B1-5AEF-8B19-CDCF30D983D5}"/>
          </ac:spMkLst>
        </pc:spChg>
        <pc:spChg chg="mod">
          <ac:chgData name="Sindija Kirsteine (LV)" userId="5f25501a-2215-4bb3-9d9c-8d1484ffa7c1" providerId="ADAL" clId="{AD634740-2A4A-4DBA-91EE-B286EB63FCB7}" dt="2024-06-05T08:30:48.606" v="704"/>
          <ac:spMkLst>
            <pc:docMk/>
            <pc:sldMk cId="2037616446" sldId="2147481956"/>
            <ac:spMk id="34" creationId="{221AEE56-AF9D-7CBF-91A3-A06F08693154}"/>
          </ac:spMkLst>
        </pc:spChg>
        <pc:grpChg chg="add del mod">
          <ac:chgData name="Sindija Kirsteine (LV)" userId="5f25501a-2215-4bb3-9d9c-8d1484ffa7c1" providerId="ADAL" clId="{AD634740-2A4A-4DBA-91EE-B286EB63FCB7}" dt="2024-06-05T08:30:48.368" v="703" actId="478"/>
          <ac:grpSpMkLst>
            <pc:docMk/>
            <pc:sldMk cId="2037616446" sldId="2147481956"/>
            <ac:grpSpMk id="16" creationId="{7CB2AE28-34C6-B7D0-AA51-FE62A1DA3801}"/>
          </ac:grpSpMkLst>
        </pc:grpChg>
        <pc:grpChg chg="add mod">
          <ac:chgData name="Sindija Kirsteine (LV)" userId="5f25501a-2215-4bb3-9d9c-8d1484ffa7c1" providerId="ADAL" clId="{AD634740-2A4A-4DBA-91EE-B286EB63FCB7}" dt="2024-06-05T08:30:48.606" v="704"/>
          <ac:grpSpMkLst>
            <pc:docMk/>
            <pc:sldMk cId="2037616446" sldId="2147481956"/>
            <ac:grpSpMk id="27" creationId="{8FE3F3F9-D30A-08C8-46E9-268874574523}"/>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49:41.793" v="1967"/>
              <pc2:cmMkLst xmlns:pc2="http://schemas.microsoft.com/office/powerpoint/2019/9/main/command">
                <pc:docMk/>
                <pc:sldMk cId="2037616446" sldId="2147481956"/>
                <pc2:cmMk id="{9461FECB-8129-4AD7-BAB7-257DC7B854B4}"/>
              </pc2:cmMkLst>
            </pc226:cmChg>
          </p:ext>
        </pc:extLst>
      </pc:sldChg>
      <pc:sldChg chg="delSp modSp add del mod modShow">
        <pc:chgData name="Sindija Kirsteine (LV)" userId="5f25501a-2215-4bb3-9d9c-8d1484ffa7c1" providerId="ADAL" clId="{AD634740-2A4A-4DBA-91EE-B286EB63FCB7}" dt="2024-06-07T15:01:05.378" v="2416" actId="2696"/>
        <pc:sldMkLst>
          <pc:docMk/>
          <pc:sldMk cId="4024134130" sldId="2147481957"/>
        </pc:sldMkLst>
        <pc:spChg chg="mod">
          <ac:chgData name="Sindija Kirsteine (LV)" userId="5f25501a-2215-4bb3-9d9c-8d1484ffa7c1" providerId="ADAL" clId="{AD634740-2A4A-4DBA-91EE-B286EB63FCB7}" dt="2024-06-07T15:00:55.967" v="2413" actId="14100"/>
          <ac:spMkLst>
            <pc:docMk/>
            <pc:sldMk cId="4024134130" sldId="2147481957"/>
            <ac:spMk id="3" creationId="{6A355E03-E3D4-57E7-8E5C-EA6D87D67D07}"/>
          </ac:spMkLst>
        </pc:spChg>
        <pc:spChg chg="del">
          <ac:chgData name="Sindija Kirsteine (LV)" userId="5f25501a-2215-4bb3-9d9c-8d1484ffa7c1" providerId="ADAL" clId="{AD634740-2A4A-4DBA-91EE-B286EB63FCB7}" dt="2024-06-07T15:00:53.116" v="2412" actId="478"/>
          <ac:spMkLst>
            <pc:docMk/>
            <pc:sldMk cId="4024134130" sldId="2147481957"/>
            <ac:spMk id="4" creationId="{5D11349D-67E6-D358-56A1-2A641284DFB5}"/>
          </ac:spMkLst>
        </pc:spChg>
        <pc:spChg chg="del">
          <ac:chgData name="Sindija Kirsteine (LV)" userId="5f25501a-2215-4bb3-9d9c-8d1484ffa7c1" providerId="ADAL" clId="{AD634740-2A4A-4DBA-91EE-B286EB63FCB7}" dt="2024-06-07T15:00:53.116" v="2412" actId="478"/>
          <ac:spMkLst>
            <pc:docMk/>
            <pc:sldMk cId="4024134130" sldId="2147481957"/>
            <ac:spMk id="5" creationId="{308ECC67-B761-96DF-30AC-C0262F606CFA}"/>
          </ac:spMkLst>
        </pc:spChg>
        <pc:spChg chg="del">
          <ac:chgData name="Sindija Kirsteine (LV)" userId="5f25501a-2215-4bb3-9d9c-8d1484ffa7c1" providerId="ADAL" clId="{AD634740-2A4A-4DBA-91EE-B286EB63FCB7}" dt="2024-06-07T15:00:53.116" v="2412" actId="478"/>
          <ac:spMkLst>
            <pc:docMk/>
            <pc:sldMk cId="4024134130" sldId="2147481957"/>
            <ac:spMk id="8" creationId="{AD0EC130-F5B9-24BB-A5F8-C9198B2644E6}"/>
          </ac:spMkLst>
        </pc:spChg>
        <pc:spChg chg="del">
          <ac:chgData name="Sindija Kirsteine (LV)" userId="5f25501a-2215-4bb3-9d9c-8d1484ffa7c1" providerId="ADAL" clId="{AD634740-2A4A-4DBA-91EE-B286EB63FCB7}" dt="2024-06-07T15:00:53.116" v="2412" actId="478"/>
          <ac:spMkLst>
            <pc:docMk/>
            <pc:sldMk cId="4024134130" sldId="2147481957"/>
            <ac:spMk id="10" creationId="{C56FC8EF-C04E-C075-E2F4-4BCB83948E28}"/>
          </ac:spMkLst>
        </pc:spChg>
      </pc:sldChg>
      <pc:sldChg chg="modSp add mod ord">
        <pc:chgData name="Sindija Kirsteine (LV)" userId="5f25501a-2215-4bb3-9d9c-8d1484ffa7c1" providerId="ADAL" clId="{AD634740-2A4A-4DBA-91EE-B286EB63FCB7}" dt="2024-06-07T12:56:23.643" v="2296" actId="196"/>
        <pc:sldMkLst>
          <pc:docMk/>
          <pc:sldMk cId="2248175541" sldId="2147481958"/>
        </pc:sldMkLst>
        <pc:spChg chg="mod">
          <ac:chgData name="Sindija Kirsteine (LV)" userId="5f25501a-2215-4bb3-9d9c-8d1484ffa7c1" providerId="ADAL" clId="{AD634740-2A4A-4DBA-91EE-B286EB63FCB7}" dt="2024-06-07T12:55:49.073" v="2294" actId="20577"/>
          <ac:spMkLst>
            <pc:docMk/>
            <pc:sldMk cId="2248175541" sldId="2147481958"/>
            <ac:spMk id="4" creationId="{B1CBE399-95B1-4855-23E2-3019CA5A03DE}"/>
          </ac:spMkLst>
        </pc:spChg>
        <pc:picChg chg="mod">
          <ac:chgData name="Sindija Kirsteine (LV)" userId="5f25501a-2215-4bb3-9d9c-8d1484ffa7c1" providerId="ADAL" clId="{AD634740-2A4A-4DBA-91EE-B286EB63FCB7}" dt="2024-06-07T12:56:23.643" v="2296" actId="196"/>
          <ac:picMkLst>
            <pc:docMk/>
            <pc:sldMk cId="2248175541" sldId="2147481958"/>
            <ac:picMk id="18" creationId="{26D02910-881C-50EE-F448-D03745506520}"/>
          </ac:picMkLst>
        </pc:picChg>
      </pc:sldChg>
      <pc:sldChg chg="modSp mod">
        <pc:chgData name="Sindija Kirsteine (LV)" userId="5f25501a-2215-4bb3-9d9c-8d1484ffa7c1" providerId="ADAL" clId="{AD634740-2A4A-4DBA-91EE-B286EB63FCB7}" dt="2024-06-10T07:47:06.106" v="2611"/>
        <pc:sldMkLst>
          <pc:docMk/>
          <pc:sldMk cId="329214126" sldId="2147481959"/>
        </pc:sldMkLst>
        <pc:spChg chg="mod">
          <ac:chgData name="Sindija Kirsteine (LV)" userId="5f25501a-2215-4bb3-9d9c-8d1484ffa7c1" providerId="ADAL" clId="{AD634740-2A4A-4DBA-91EE-B286EB63FCB7}" dt="2024-06-10T07:47:06.106" v="2611"/>
          <ac:spMkLst>
            <pc:docMk/>
            <pc:sldMk cId="329214126" sldId="2147481959"/>
            <ac:spMk id="10" creationId="{E7620417-CA25-4C85-685A-F9654D084E1A}"/>
          </ac:spMkLst>
        </pc:spChg>
      </pc:sldChg>
      <pc:sldChg chg="modSp add del mod modShow">
        <pc:chgData name="Sindija Kirsteine (LV)" userId="5f25501a-2215-4bb3-9d9c-8d1484ffa7c1" providerId="ADAL" clId="{AD634740-2A4A-4DBA-91EE-B286EB63FCB7}" dt="2024-06-10T09:35:32.510" v="3115" actId="47"/>
        <pc:sldMkLst>
          <pc:docMk/>
          <pc:sldMk cId="3543237675" sldId="2147481960"/>
        </pc:sldMkLst>
        <pc:spChg chg="mod">
          <ac:chgData name="Sindija Kirsteine (LV)" userId="5f25501a-2215-4bb3-9d9c-8d1484ffa7c1" providerId="ADAL" clId="{AD634740-2A4A-4DBA-91EE-B286EB63FCB7}" dt="2024-06-10T09:15:20.384" v="2785" actId="21"/>
          <ac:spMkLst>
            <pc:docMk/>
            <pc:sldMk cId="3543237675" sldId="2147481960"/>
            <ac:spMk id="24" creationId="{20F6161A-E3E2-A765-A44D-92728895AC83}"/>
          </ac:spMkLst>
        </pc:spChg>
      </pc:sldChg>
      <pc:sldChg chg="modSp add mod">
        <pc:chgData name="Sindija Kirsteine (LV)" userId="5f25501a-2215-4bb3-9d9c-8d1484ffa7c1" providerId="ADAL" clId="{AD634740-2A4A-4DBA-91EE-B286EB63FCB7}" dt="2024-06-10T09:35:21.526" v="3110" actId="3626"/>
        <pc:sldMkLst>
          <pc:docMk/>
          <pc:sldMk cId="1527880861" sldId="2147481962"/>
        </pc:sldMkLst>
        <pc:spChg chg="mod">
          <ac:chgData name="Sindija Kirsteine (LV)" userId="5f25501a-2215-4bb3-9d9c-8d1484ffa7c1" providerId="ADAL" clId="{AD634740-2A4A-4DBA-91EE-B286EB63FCB7}" dt="2024-06-10T09:32:00.891" v="3028" actId="20577"/>
          <ac:spMkLst>
            <pc:docMk/>
            <pc:sldMk cId="1527880861" sldId="2147481962"/>
            <ac:spMk id="7" creationId="{A168F800-7305-A09D-AF78-9EB408346FA0}"/>
          </ac:spMkLst>
        </pc:spChg>
        <pc:spChg chg="mod">
          <ac:chgData name="Sindija Kirsteine (LV)" userId="5f25501a-2215-4bb3-9d9c-8d1484ffa7c1" providerId="ADAL" clId="{AD634740-2A4A-4DBA-91EE-B286EB63FCB7}" dt="2024-06-10T09:35:21.526" v="3110" actId="3626"/>
          <ac:spMkLst>
            <pc:docMk/>
            <pc:sldMk cId="1527880861" sldId="2147481962"/>
            <ac:spMk id="24" creationId="{20F6161A-E3E2-A765-A44D-92728895AC83}"/>
          </ac:spMkLst>
        </pc:spChg>
      </pc:sldChg>
      <pc:sldChg chg="modSp add mod">
        <pc:chgData name="Sindija Kirsteine (LV)" userId="5f25501a-2215-4bb3-9d9c-8d1484ffa7c1" providerId="ADAL" clId="{AD634740-2A4A-4DBA-91EE-B286EB63FCB7}" dt="2024-06-10T09:35:13.941" v="3104" actId="21"/>
        <pc:sldMkLst>
          <pc:docMk/>
          <pc:sldMk cId="3140329955" sldId="2147481963"/>
        </pc:sldMkLst>
        <pc:spChg chg="mod">
          <ac:chgData name="Sindija Kirsteine (LV)" userId="5f25501a-2215-4bb3-9d9c-8d1484ffa7c1" providerId="ADAL" clId="{AD634740-2A4A-4DBA-91EE-B286EB63FCB7}" dt="2024-06-10T09:32:04.858" v="3033" actId="20577"/>
          <ac:spMkLst>
            <pc:docMk/>
            <pc:sldMk cId="3140329955" sldId="2147481963"/>
            <ac:spMk id="7" creationId="{A168F800-7305-A09D-AF78-9EB408346FA0}"/>
          </ac:spMkLst>
        </pc:spChg>
        <pc:spChg chg="mod">
          <ac:chgData name="Sindija Kirsteine (LV)" userId="5f25501a-2215-4bb3-9d9c-8d1484ffa7c1" providerId="ADAL" clId="{AD634740-2A4A-4DBA-91EE-B286EB63FCB7}" dt="2024-06-10T09:35:13.941" v="3104" actId="21"/>
          <ac:spMkLst>
            <pc:docMk/>
            <pc:sldMk cId="3140329955" sldId="2147481963"/>
            <ac:spMk id="24" creationId="{20F6161A-E3E2-A765-A44D-92728895AC83}"/>
          </ac:spMkLst>
        </pc:spChg>
      </pc:sldChg>
    </pc:docChg>
  </pc:docChgLst>
  <pc:docChgLst>
    <pc:chgData name="Annemarija Apine (LV)" userId="S::annemarija.apine@pwc.com::546f5c59-3b8d-47fd-b739-a8fadc631053" providerId="AD" clId="Web-{23DB8358-D501-7045-810A-8A566D6BAFEA}"/>
    <pc:docChg chg="addSld modSld">
      <pc:chgData name="Annemarija Apine (LV)" userId="S::annemarija.apine@pwc.com::546f5c59-3b8d-47fd-b739-a8fadc631053" providerId="AD" clId="Web-{23DB8358-D501-7045-810A-8A566D6BAFEA}" dt="2024-07-08T15:32:50.140" v="21" actId="20577"/>
      <pc:docMkLst>
        <pc:docMk/>
      </pc:docMkLst>
      <pc:sldChg chg="modSp add">
        <pc:chgData name="Annemarija Apine (LV)" userId="S::annemarija.apine@pwc.com::546f5c59-3b8d-47fd-b739-a8fadc631053" providerId="AD" clId="Web-{23DB8358-D501-7045-810A-8A566D6BAFEA}" dt="2024-07-08T15:32:50.140" v="21" actId="20577"/>
        <pc:sldMkLst>
          <pc:docMk/>
          <pc:sldMk cId="796361483" sldId="2147481942"/>
        </pc:sldMkLst>
        <pc:spChg chg="mod">
          <ac:chgData name="Annemarija Apine (LV)" userId="S::annemarija.apine@pwc.com::546f5c59-3b8d-47fd-b739-a8fadc631053" providerId="AD" clId="Web-{23DB8358-D501-7045-810A-8A566D6BAFEA}" dt="2024-07-08T15:32:50.140" v="21" actId="20577"/>
          <ac:spMkLst>
            <pc:docMk/>
            <pc:sldMk cId="796361483" sldId="2147481942"/>
            <ac:spMk id="7" creationId="{A168F800-7305-A09D-AF78-9EB408346FA0}"/>
          </ac:spMkLst>
        </pc:spChg>
      </pc:sldChg>
      <pc:sldChg chg="add">
        <pc:chgData name="Annemarija Apine (LV)" userId="S::annemarija.apine@pwc.com::546f5c59-3b8d-47fd-b739-a8fadc631053" providerId="AD" clId="Web-{23DB8358-D501-7045-810A-8A566D6BAFEA}" dt="2024-07-08T15:32:38.452" v="1"/>
        <pc:sldMkLst>
          <pc:docMk/>
          <pc:sldMk cId="1527880861" sldId="2147481962"/>
        </pc:sldMkLst>
      </pc:sldChg>
      <pc:sldChg chg="add">
        <pc:chgData name="Annemarija Apine (LV)" userId="S::annemarija.apine@pwc.com::546f5c59-3b8d-47fd-b739-a8fadc631053" providerId="AD" clId="Web-{23DB8358-D501-7045-810A-8A566D6BAFEA}" dt="2024-07-08T15:32:38.452" v="2"/>
        <pc:sldMkLst>
          <pc:docMk/>
          <pc:sldMk cId="3140329955" sldId="2147481963"/>
        </pc:sldMkLst>
      </pc:sldChg>
    </pc:docChg>
  </pc:docChgLst>
  <pc:docChgLst>
    <pc:chgData name="Annemarija Apine (LV)" userId="S::annemarija.apine@pwc.com::546f5c59-3b8d-47fd-b739-a8fadc631053" providerId="AD" clId="Web-{1B96A9A1-E897-46B1-58B5-204E381E6E8D}"/>
    <pc:docChg chg="modSld">
      <pc:chgData name="Annemarija Apine (LV)" userId="S::annemarija.apine@pwc.com::546f5c59-3b8d-47fd-b739-a8fadc631053" providerId="AD" clId="Web-{1B96A9A1-E897-46B1-58B5-204E381E6E8D}" dt="2024-05-16T14:18:03.678" v="2" actId="20577"/>
      <pc:docMkLst>
        <pc:docMk/>
      </pc:docMkLst>
      <pc:sldChg chg="modSp">
        <pc:chgData name="Annemarija Apine (LV)" userId="S::annemarija.apine@pwc.com::546f5c59-3b8d-47fd-b739-a8fadc631053" providerId="AD" clId="Web-{1B96A9A1-E897-46B1-58B5-204E381E6E8D}" dt="2024-05-16T14:18:03.678" v="2" actId="20577"/>
        <pc:sldMkLst>
          <pc:docMk/>
          <pc:sldMk cId="310194463" sldId="2147481903"/>
        </pc:sldMkLst>
        <pc:spChg chg="mod">
          <ac:chgData name="Annemarija Apine (LV)" userId="S::annemarija.apine@pwc.com::546f5c59-3b8d-47fd-b739-a8fadc631053" providerId="AD" clId="Web-{1B96A9A1-E897-46B1-58B5-204E381E6E8D}" dt="2024-05-16T14:18:03.678" v="2" actId="20577"/>
          <ac:spMkLst>
            <pc:docMk/>
            <pc:sldMk cId="310194463" sldId="2147481903"/>
            <ac:spMk id="12" creationId="{03235C0C-4E25-DCDB-7AAF-D34D32C9063E}"/>
          </ac:spMkLst>
        </pc:spChg>
      </pc:sldChg>
    </pc:docChg>
  </pc:docChgLst>
  <pc:docChgLst>
    <pc:chgData name="Annemarija Apine (LV)" userId="546f5c59-3b8d-47fd-b739-a8fadc631053" providerId="ADAL" clId="{B76076CE-B521-447B-97B8-8379237862AA}"/>
    <pc:docChg chg="undo custSel mod addSld delSld modSld replTag">
      <pc:chgData name="Annemarija Apine (LV)" userId="546f5c59-3b8d-47fd-b739-a8fadc631053" providerId="ADAL" clId="{B76076CE-B521-447B-97B8-8379237862AA}" dt="2024-05-16T14:13:41.024" v="144"/>
      <pc:docMkLst>
        <pc:docMk/>
      </pc:docMkLst>
      <pc:sldChg chg="add">
        <pc:chgData name="Annemarija Apine (LV)" userId="546f5c59-3b8d-47fd-b739-a8fadc631053" providerId="ADAL" clId="{B76076CE-B521-447B-97B8-8379237862AA}" dt="2024-05-15T13:51:51.218" v="5"/>
        <pc:sldMkLst>
          <pc:docMk/>
          <pc:sldMk cId="0" sldId="258"/>
        </pc:sldMkLst>
      </pc:sldChg>
      <pc:sldChg chg="add">
        <pc:chgData name="Annemarija Apine (LV)" userId="546f5c59-3b8d-47fd-b739-a8fadc631053" providerId="ADAL" clId="{B76076CE-B521-447B-97B8-8379237862AA}" dt="2024-05-15T13:51:51.218" v="5"/>
        <pc:sldMkLst>
          <pc:docMk/>
          <pc:sldMk cId="2519050060" sldId="265"/>
        </pc:sldMkLst>
      </pc:sldChg>
      <pc:sldChg chg="add">
        <pc:chgData name="Annemarija Apine (LV)" userId="546f5c59-3b8d-47fd-b739-a8fadc631053" providerId="ADAL" clId="{B76076CE-B521-447B-97B8-8379237862AA}" dt="2024-05-15T13:51:51.218" v="5"/>
        <pc:sldMkLst>
          <pc:docMk/>
          <pc:sldMk cId="3995767015" sldId="387"/>
        </pc:sldMkLst>
      </pc:sldChg>
      <pc:sldChg chg="add">
        <pc:chgData name="Annemarija Apine (LV)" userId="546f5c59-3b8d-47fd-b739-a8fadc631053" providerId="ADAL" clId="{B76076CE-B521-447B-97B8-8379237862AA}" dt="2024-05-15T13:51:51.218" v="5"/>
        <pc:sldMkLst>
          <pc:docMk/>
          <pc:sldMk cId="176643549" sldId="392"/>
        </pc:sldMkLst>
      </pc:sldChg>
      <pc:sldChg chg="add">
        <pc:chgData name="Annemarija Apine (LV)" userId="546f5c59-3b8d-47fd-b739-a8fadc631053" providerId="ADAL" clId="{B76076CE-B521-447B-97B8-8379237862AA}" dt="2024-05-15T13:51:51.218" v="5"/>
        <pc:sldMkLst>
          <pc:docMk/>
          <pc:sldMk cId="4265792907" sldId="529"/>
        </pc:sldMkLst>
      </pc:sldChg>
      <pc:sldChg chg="add">
        <pc:chgData name="Annemarija Apine (LV)" userId="546f5c59-3b8d-47fd-b739-a8fadc631053" providerId="ADAL" clId="{B76076CE-B521-447B-97B8-8379237862AA}" dt="2024-05-15T13:51:51.218" v="5"/>
        <pc:sldMkLst>
          <pc:docMk/>
          <pc:sldMk cId="4271101327" sldId="711"/>
        </pc:sldMkLst>
      </pc:sldChg>
      <pc:sldChg chg="add">
        <pc:chgData name="Annemarija Apine (LV)" userId="546f5c59-3b8d-47fd-b739-a8fadc631053" providerId="ADAL" clId="{B76076CE-B521-447B-97B8-8379237862AA}" dt="2024-05-15T13:51:51.218" v="5"/>
        <pc:sldMkLst>
          <pc:docMk/>
          <pc:sldMk cId="1709250386" sldId="713"/>
        </pc:sldMkLst>
      </pc:sldChg>
      <pc:sldChg chg="add">
        <pc:chgData name="Annemarija Apine (LV)" userId="546f5c59-3b8d-47fd-b739-a8fadc631053" providerId="ADAL" clId="{B76076CE-B521-447B-97B8-8379237862AA}" dt="2024-05-15T13:51:51.218" v="5"/>
        <pc:sldMkLst>
          <pc:docMk/>
          <pc:sldMk cId="1203577095" sldId="715"/>
        </pc:sldMkLst>
      </pc:sldChg>
      <pc:sldChg chg="add">
        <pc:chgData name="Annemarija Apine (LV)" userId="546f5c59-3b8d-47fd-b739-a8fadc631053" providerId="ADAL" clId="{B76076CE-B521-447B-97B8-8379237862AA}" dt="2024-05-15T13:51:51.218" v="5"/>
        <pc:sldMkLst>
          <pc:docMk/>
          <pc:sldMk cId="3081899946" sldId="716"/>
        </pc:sldMkLst>
      </pc:sldChg>
      <pc:sldChg chg="add addCm">
        <pc:chgData name="Annemarija Apine (LV)" userId="546f5c59-3b8d-47fd-b739-a8fadc631053" providerId="ADAL" clId="{B76076CE-B521-447B-97B8-8379237862AA}" dt="2024-05-15T13:53:04.854" v="45"/>
        <pc:sldMkLst>
          <pc:docMk/>
          <pc:sldMk cId="2140825596" sldId="717"/>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3:04.854" v="45"/>
              <pc2:cmMkLst xmlns:pc2="http://schemas.microsoft.com/office/powerpoint/2019/9/main/command">
                <pc:docMk/>
                <pc:sldMk cId="2140825596" sldId="717"/>
                <pc2:cmMk id="{EBA3F4A5-4806-4BCD-96BB-F1439DC8ED62}"/>
              </pc2:cmMkLst>
            </pc226:cmChg>
          </p:ext>
        </pc:extLst>
      </pc:sldChg>
      <pc:sldChg chg="del">
        <pc:chgData name="Annemarija Apine (LV)" userId="546f5c59-3b8d-47fd-b739-a8fadc631053" providerId="ADAL" clId="{B76076CE-B521-447B-97B8-8379237862AA}" dt="2024-05-15T14:08:55.073" v="92" actId="47"/>
        <pc:sldMkLst>
          <pc:docMk/>
          <pc:sldMk cId="3266631226" sldId="722"/>
        </pc:sldMkLst>
      </pc:sldChg>
      <pc:sldChg chg="add">
        <pc:chgData name="Annemarija Apine (LV)" userId="546f5c59-3b8d-47fd-b739-a8fadc631053" providerId="ADAL" clId="{B76076CE-B521-447B-97B8-8379237862AA}" dt="2024-05-15T13:51:51.218" v="5"/>
        <pc:sldMkLst>
          <pc:docMk/>
          <pc:sldMk cId="0" sldId="724"/>
        </pc:sldMkLst>
      </pc:sldChg>
      <pc:sldChg chg="add">
        <pc:chgData name="Annemarija Apine (LV)" userId="546f5c59-3b8d-47fd-b739-a8fadc631053" providerId="ADAL" clId="{B76076CE-B521-447B-97B8-8379237862AA}" dt="2024-05-15T13:51:51.218" v="5"/>
        <pc:sldMkLst>
          <pc:docMk/>
          <pc:sldMk cId="3720380803" sldId="725"/>
        </pc:sldMkLst>
      </pc:sldChg>
      <pc:sldChg chg="add">
        <pc:chgData name="Annemarija Apine (LV)" userId="546f5c59-3b8d-47fd-b739-a8fadc631053" providerId="ADAL" clId="{B76076CE-B521-447B-97B8-8379237862AA}" dt="2024-05-15T13:51:51.218" v="5"/>
        <pc:sldMkLst>
          <pc:docMk/>
          <pc:sldMk cId="1762602753" sldId="726"/>
        </pc:sldMkLst>
      </pc:sldChg>
      <pc:sldChg chg="add">
        <pc:chgData name="Annemarija Apine (LV)" userId="546f5c59-3b8d-47fd-b739-a8fadc631053" providerId="ADAL" clId="{B76076CE-B521-447B-97B8-8379237862AA}" dt="2024-05-15T13:51:51.218" v="5"/>
        <pc:sldMkLst>
          <pc:docMk/>
          <pc:sldMk cId="1702508433" sldId="727"/>
        </pc:sldMkLst>
      </pc:sldChg>
      <pc:sldChg chg="add">
        <pc:chgData name="Annemarija Apine (LV)" userId="546f5c59-3b8d-47fd-b739-a8fadc631053" providerId="ADAL" clId="{B76076CE-B521-447B-97B8-8379237862AA}" dt="2024-05-15T13:51:51.218" v="5"/>
        <pc:sldMkLst>
          <pc:docMk/>
          <pc:sldMk cId="1990025065" sldId="759"/>
        </pc:sldMkLst>
      </pc:sldChg>
      <pc:sldChg chg="del">
        <pc:chgData name="Annemarija Apine (LV)" userId="546f5c59-3b8d-47fd-b739-a8fadc631053" providerId="ADAL" clId="{B76076CE-B521-447B-97B8-8379237862AA}" dt="2024-05-15T14:08:55.073" v="92" actId="47"/>
        <pc:sldMkLst>
          <pc:docMk/>
          <pc:sldMk cId="1359456799" sldId="760"/>
        </pc:sldMkLst>
      </pc:sldChg>
      <pc:sldChg chg="add">
        <pc:chgData name="Annemarija Apine (LV)" userId="546f5c59-3b8d-47fd-b739-a8fadc631053" providerId="ADAL" clId="{B76076CE-B521-447B-97B8-8379237862AA}" dt="2024-05-15T14:08:58.902" v="95"/>
        <pc:sldMkLst>
          <pc:docMk/>
          <pc:sldMk cId="12612729" sldId="761"/>
        </pc:sldMkLst>
      </pc:sldChg>
      <pc:sldChg chg="del">
        <pc:chgData name="Annemarija Apine (LV)" userId="546f5c59-3b8d-47fd-b739-a8fadc631053" providerId="ADAL" clId="{B76076CE-B521-447B-97B8-8379237862AA}" dt="2024-05-15T14:08:55.073" v="92" actId="47"/>
        <pc:sldMkLst>
          <pc:docMk/>
          <pc:sldMk cId="24918592" sldId="761"/>
        </pc:sldMkLst>
      </pc:sldChg>
      <pc:sldChg chg="mod modShow">
        <pc:chgData name="Annemarija Apine (LV)" userId="546f5c59-3b8d-47fd-b739-a8fadc631053" providerId="ADAL" clId="{B76076CE-B521-447B-97B8-8379237862AA}" dt="2024-05-16T14:13:05.057" v="139" actId="729"/>
        <pc:sldMkLst>
          <pc:docMk/>
          <pc:sldMk cId="2056487948" sldId="763"/>
        </pc:sldMkLst>
      </pc:sldChg>
      <pc:sldChg chg="del">
        <pc:chgData name="Annemarija Apine (LV)" userId="546f5c59-3b8d-47fd-b739-a8fadc631053" providerId="ADAL" clId="{B76076CE-B521-447B-97B8-8379237862AA}" dt="2024-05-15T14:08:55.073" v="92" actId="47"/>
        <pc:sldMkLst>
          <pc:docMk/>
          <pc:sldMk cId="38349204" sldId="764"/>
        </pc:sldMkLst>
      </pc:sldChg>
      <pc:sldChg chg="add">
        <pc:chgData name="Annemarija Apine (LV)" userId="546f5c59-3b8d-47fd-b739-a8fadc631053" providerId="ADAL" clId="{B76076CE-B521-447B-97B8-8379237862AA}" dt="2024-05-15T14:08:58.902" v="95"/>
        <pc:sldMkLst>
          <pc:docMk/>
          <pc:sldMk cId="2326445928" sldId="764"/>
        </pc:sldMkLst>
      </pc:sldChg>
      <pc:sldChg chg="del">
        <pc:chgData name="Annemarija Apine (LV)" userId="546f5c59-3b8d-47fd-b739-a8fadc631053" providerId="ADAL" clId="{B76076CE-B521-447B-97B8-8379237862AA}" dt="2024-05-15T14:08:55.073" v="92" actId="47"/>
        <pc:sldMkLst>
          <pc:docMk/>
          <pc:sldMk cId="652658970" sldId="765"/>
        </pc:sldMkLst>
      </pc:sldChg>
      <pc:sldChg chg="add">
        <pc:chgData name="Annemarija Apine (LV)" userId="546f5c59-3b8d-47fd-b739-a8fadc631053" providerId="ADAL" clId="{B76076CE-B521-447B-97B8-8379237862AA}" dt="2024-05-15T13:51:51.218" v="5"/>
        <pc:sldMkLst>
          <pc:docMk/>
          <pc:sldMk cId="160076585" sldId="766"/>
        </pc:sldMkLst>
      </pc:sldChg>
      <pc:sldChg chg="delSp modSp mod addCm delCm modCm">
        <pc:chgData name="Annemarija Apine (LV)" userId="546f5c59-3b8d-47fd-b739-a8fadc631053" providerId="ADAL" clId="{B76076CE-B521-447B-97B8-8379237862AA}" dt="2024-05-16T14:09:02.145" v="111"/>
        <pc:sldMkLst>
          <pc:docMk/>
          <pc:sldMk cId="192098022" sldId="2147481877"/>
        </pc:sldMkLst>
        <pc:spChg chg="mod">
          <ac:chgData name="Annemarija Apine (LV)" userId="546f5c59-3b8d-47fd-b739-a8fadc631053" providerId="ADAL" clId="{B76076CE-B521-447B-97B8-8379237862AA}" dt="2024-05-15T13:54:21.256" v="67" actId="14100"/>
          <ac:spMkLst>
            <pc:docMk/>
            <pc:sldMk cId="192098022" sldId="2147481877"/>
            <ac:spMk id="6" creationId="{2CB3F9F5-858C-1D21-4D13-EAEDABE2E74A}"/>
          </ac:spMkLst>
        </pc:spChg>
        <pc:picChg chg="del">
          <ac:chgData name="Annemarija Apine (LV)" userId="546f5c59-3b8d-47fd-b739-a8fadc631053" providerId="ADAL" clId="{B76076CE-B521-447B-97B8-8379237862AA}" dt="2024-05-15T13:54:16.373" v="66" actId="478"/>
          <ac:picMkLst>
            <pc:docMk/>
            <pc:sldMk cId="192098022" sldId="2147481877"/>
            <ac:picMk id="3" creationId="{063EEBD1-87EA-E0E0-BF01-408D78DD1340}"/>
          </ac:picMkLst>
        </pc:pic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B76076CE-B521-447B-97B8-8379237862AA}" dt="2024-05-16T14:09:02.145" v="111"/>
              <pc2:cmMkLst xmlns:pc2="http://schemas.microsoft.com/office/powerpoint/2019/9/main/command">
                <pc:docMk/>
                <pc:sldMk cId="192098022" sldId="2147481877"/>
                <pc2:cmMk id="{34AB9907-A448-473E-B05A-E96D68CA518A}"/>
              </pc2:cmMkLst>
            </pc226:cmChg>
            <pc226:cmChg xmlns:pc226="http://schemas.microsoft.com/office/powerpoint/2022/06/main/command" chg="add mod">
              <pc226:chgData name="Annemarija Apine (LV)" userId="546f5c59-3b8d-47fd-b739-a8fadc631053" providerId="ADAL" clId="{B76076CE-B521-447B-97B8-8379237862AA}" dt="2024-05-16T14:08:58.287" v="110"/>
              <pc2:cmMkLst xmlns:pc2="http://schemas.microsoft.com/office/powerpoint/2019/9/main/command">
                <pc:docMk/>
                <pc:sldMk cId="192098022" sldId="2147481877"/>
                <pc2:cmMk id="{63417D5C-4FE2-488C-B107-C45FAA1739A4}"/>
              </pc2:cmMkLst>
              <pc226:cmRplyChg chg="add mod">
                <pc226:chgData name="Annemarija Apine (LV)" userId="546f5c59-3b8d-47fd-b739-a8fadc631053" providerId="ADAL" clId="{B76076CE-B521-447B-97B8-8379237862AA}" dt="2024-05-16T14:08:58.287" v="110"/>
                <pc2:cmRplyMkLst xmlns:pc2="http://schemas.microsoft.com/office/powerpoint/2019/9/main/command">
                  <pc:docMk/>
                  <pc:sldMk cId="192098022" sldId="2147481877"/>
                  <pc2:cmMk id="{63417D5C-4FE2-488C-B107-C45FAA1739A4}"/>
                  <pc2:cmRplyMk id="{B02C2641-D094-4CED-AD84-6C9D7A6E3FF9}"/>
                </pc2:cmRplyMkLst>
              </pc226:cmRplyChg>
            </pc226:cmChg>
            <pc226:cmChg xmlns:pc226="http://schemas.microsoft.com/office/powerpoint/2022/06/main/command" chg="del">
              <pc226:chgData name="Annemarija Apine (LV)" userId="546f5c59-3b8d-47fd-b739-a8fadc631053" providerId="ADAL" clId="{B76076CE-B521-447B-97B8-8379237862AA}" dt="2024-05-15T13:50:52.089" v="1"/>
              <pc2:cmMkLst xmlns:pc2="http://schemas.microsoft.com/office/powerpoint/2019/9/main/command">
                <pc:docMk/>
                <pc:sldMk cId="192098022" sldId="2147481877"/>
                <pc2:cmMk id="{09AB7DDF-B7BA-4883-89D1-5D08384A2C27}"/>
              </pc2:cmMkLst>
            </pc226:cmChg>
          </p:ext>
        </pc:extLst>
      </pc:sldChg>
      <pc:sldChg chg="addCm">
        <pc:chgData name="Annemarija Apine (LV)" userId="546f5c59-3b8d-47fd-b739-a8fadc631053" providerId="ADAL" clId="{B76076CE-B521-447B-97B8-8379237862AA}" dt="2024-05-15T13:52:05.577" v="10"/>
        <pc:sldMkLst>
          <pc:docMk/>
          <pc:sldMk cId="1076096228" sldId="214748188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2:05.577" v="10"/>
              <pc2:cmMkLst xmlns:pc2="http://schemas.microsoft.com/office/powerpoint/2019/9/main/command">
                <pc:docMk/>
                <pc:sldMk cId="1076096228" sldId="2147481883"/>
                <pc2:cmMk id="{90D166C6-4DDA-4102-8794-4FDCD0687F57}"/>
              </pc2:cmMkLst>
            </pc226:cmChg>
          </p:ext>
        </pc:extLst>
      </pc:sldChg>
      <pc:sldChg chg="add del">
        <pc:chgData name="Annemarija Apine (LV)" userId="546f5c59-3b8d-47fd-b739-a8fadc631053" providerId="ADAL" clId="{B76076CE-B521-447B-97B8-8379237862AA}" dt="2024-05-15T14:08:58.902" v="95"/>
        <pc:sldMkLst>
          <pc:docMk/>
          <pc:sldMk cId="4260349440" sldId="2147481886"/>
        </pc:sldMkLst>
      </pc:sldChg>
      <pc:sldChg chg="add del">
        <pc:chgData name="Annemarija Apine (LV)" userId="546f5c59-3b8d-47fd-b739-a8fadc631053" providerId="ADAL" clId="{B76076CE-B521-447B-97B8-8379237862AA}" dt="2024-05-15T14:08:58.902" v="95"/>
        <pc:sldMkLst>
          <pc:docMk/>
          <pc:sldMk cId="2647739992" sldId="2147481887"/>
        </pc:sldMkLst>
      </pc:sldChg>
      <pc:sldChg chg="mod modShow addCm">
        <pc:chgData name="Annemarija Apine (LV)" userId="546f5c59-3b8d-47fd-b739-a8fadc631053" providerId="ADAL" clId="{B76076CE-B521-447B-97B8-8379237862AA}" dt="2024-05-16T14:13:09.232" v="141"/>
        <pc:sldMkLst>
          <pc:docMk/>
          <pc:sldMk cId="59703751" sldId="2147481888"/>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6T14:13:09.232" v="141"/>
              <pc2:cmMkLst xmlns:pc2="http://schemas.microsoft.com/office/powerpoint/2019/9/main/command">
                <pc:docMk/>
                <pc:sldMk cId="59703751" sldId="2147481888"/>
                <pc2:cmMk id="{4B62BA8B-4351-4CD1-8070-6A6DD6FEFD97}"/>
              </pc2:cmMkLst>
            </pc226:cmChg>
          </p:ext>
        </pc:extLst>
      </pc:sldChg>
      <pc:sldChg chg="addCm">
        <pc:chgData name="Annemarija Apine (LV)" userId="546f5c59-3b8d-47fd-b739-a8fadc631053" providerId="ADAL" clId="{B76076CE-B521-447B-97B8-8379237862AA}" dt="2024-05-15T13:53:27.706" v="55"/>
        <pc:sldMkLst>
          <pc:docMk/>
          <pc:sldMk cId="3901568867" sldId="2147481894"/>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3:27.706" v="55"/>
              <pc2:cmMkLst xmlns:pc2="http://schemas.microsoft.com/office/powerpoint/2019/9/main/command">
                <pc:docMk/>
                <pc:sldMk cId="3901568867" sldId="2147481894"/>
                <pc2:cmMk id="{7D101C78-32AD-477F-A62D-0DD70598011E}"/>
              </pc2:cmMkLst>
            </pc226:cmChg>
          </p:ext>
        </pc:extLst>
      </pc:sldChg>
      <pc:sldChg chg="add">
        <pc:chgData name="Annemarija Apine (LV)" userId="546f5c59-3b8d-47fd-b739-a8fadc631053" providerId="ADAL" clId="{B76076CE-B521-447B-97B8-8379237862AA}" dt="2024-05-15T14:08:58.902" v="95"/>
        <pc:sldMkLst>
          <pc:docMk/>
          <pc:sldMk cId="2731229360" sldId="2147481895"/>
        </pc:sldMkLst>
      </pc:sldChg>
      <pc:sldChg chg="del">
        <pc:chgData name="Annemarija Apine (LV)" userId="546f5c59-3b8d-47fd-b739-a8fadc631053" providerId="ADAL" clId="{B76076CE-B521-447B-97B8-8379237862AA}" dt="2024-05-15T14:08:55.073" v="92" actId="47"/>
        <pc:sldMkLst>
          <pc:docMk/>
          <pc:sldMk cId="3740993330" sldId="2147481895"/>
        </pc:sldMkLst>
      </pc:sldChg>
      <pc:sldChg chg="del">
        <pc:chgData name="Annemarija Apine (LV)" userId="546f5c59-3b8d-47fd-b739-a8fadc631053" providerId="ADAL" clId="{B76076CE-B521-447B-97B8-8379237862AA}" dt="2024-05-15T14:08:55.073" v="92" actId="47"/>
        <pc:sldMkLst>
          <pc:docMk/>
          <pc:sldMk cId="1527957037" sldId="2147481898"/>
        </pc:sldMkLst>
      </pc:sldChg>
      <pc:sldChg chg="add">
        <pc:chgData name="Annemarija Apine (LV)" userId="546f5c59-3b8d-47fd-b739-a8fadc631053" providerId="ADAL" clId="{B76076CE-B521-447B-97B8-8379237862AA}" dt="2024-05-15T14:08:58.902" v="95"/>
        <pc:sldMkLst>
          <pc:docMk/>
          <pc:sldMk cId="3817097256" sldId="2147481898"/>
        </pc:sldMkLst>
      </pc:sldChg>
      <pc:sldChg chg="addCm">
        <pc:chgData name="Annemarija Apine (LV)" userId="546f5c59-3b8d-47fd-b739-a8fadc631053" providerId="ADAL" clId="{B76076CE-B521-447B-97B8-8379237862AA}" dt="2024-05-15T21:24:52.700" v="107"/>
        <pc:sldMkLst>
          <pc:docMk/>
          <pc:sldMk cId="310194463" sldId="214748190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21:24:52.700" v="107"/>
              <pc2:cmMkLst xmlns:pc2="http://schemas.microsoft.com/office/powerpoint/2019/9/main/command">
                <pc:docMk/>
                <pc:sldMk cId="310194463" sldId="2147481903"/>
                <pc2:cmMk id="{51CCB069-B79D-4161-A90E-D2A6C3151363}"/>
              </pc2:cmMkLst>
            </pc226:cmChg>
          </p:ext>
        </pc:extLst>
      </pc:sldChg>
      <pc:sldChg chg="addCm">
        <pc:chgData name="Annemarija Apine (LV)" userId="546f5c59-3b8d-47fd-b739-a8fadc631053" providerId="ADAL" clId="{B76076CE-B521-447B-97B8-8379237862AA}" dt="2024-05-16T14:12:05.835" v="127"/>
        <pc:sldMkLst>
          <pc:docMk/>
          <pc:sldMk cId="2829430444" sldId="2147481906"/>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6T14:12:05.835" v="127"/>
              <pc2:cmMkLst xmlns:pc2="http://schemas.microsoft.com/office/powerpoint/2019/9/main/command">
                <pc:docMk/>
                <pc:sldMk cId="2829430444" sldId="2147481906"/>
                <pc2:cmMk id="{1DB3209B-44DF-4971-85FB-B9884D31D252}"/>
              </pc2:cmMkLst>
            </pc226:cmChg>
          </p:ext>
        </pc:extLst>
      </pc:sldChg>
      <pc:sldChg chg="add">
        <pc:chgData name="Annemarija Apine (LV)" userId="546f5c59-3b8d-47fd-b739-a8fadc631053" providerId="ADAL" clId="{B76076CE-B521-447B-97B8-8379237862AA}" dt="2024-05-15T14:08:58.902" v="95"/>
        <pc:sldMkLst>
          <pc:docMk/>
          <pc:sldMk cId="3128847407" sldId="2147481907"/>
        </pc:sldMkLst>
      </pc:sldChg>
      <pc:sldChg chg="del">
        <pc:chgData name="Annemarija Apine (LV)" userId="546f5c59-3b8d-47fd-b739-a8fadc631053" providerId="ADAL" clId="{B76076CE-B521-447B-97B8-8379237862AA}" dt="2024-05-15T14:08:55.073" v="92" actId="47"/>
        <pc:sldMkLst>
          <pc:docMk/>
          <pc:sldMk cId="3335811587" sldId="2147481907"/>
        </pc:sldMkLst>
      </pc:sldChg>
      <pc:sldChg chg="del">
        <pc:chgData name="Annemarija Apine (LV)" userId="546f5c59-3b8d-47fd-b739-a8fadc631053" providerId="ADAL" clId="{B76076CE-B521-447B-97B8-8379237862AA}" dt="2024-05-15T14:08:55.073" v="92" actId="47"/>
        <pc:sldMkLst>
          <pc:docMk/>
          <pc:sldMk cId="3725367256" sldId="2147481913"/>
        </pc:sldMkLst>
      </pc:sldChg>
      <pc:sldChg chg="add">
        <pc:chgData name="Annemarija Apine (LV)" userId="546f5c59-3b8d-47fd-b739-a8fadc631053" providerId="ADAL" clId="{B76076CE-B521-447B-97B8-8379237862AA}" dt="2024-05-15T13:51:51.218" v="5"/>
        <pc:sldMkLst>
          <pc:docMk/>
          <pc:sldMk cId="2160348050" sldId="2147481944"/>
        </pc:sldMkLst>
      </pc:sldChg>
      <pc:sldChg chg="add">
        <pc:chgData name="Annemarija Apine (LV)" userId="546f5c59-3b8d-47fd-b739-a8fadc631053" providerId="ADAL" clId="{B76076CE-B521-447B-97B8-8379237862AA}" dt="2024-05-15T13:51:51.218" v="5"/>
        <pc:sldMkLst>
          <pc:docMk/>
          <pc:sldMk cId="2967609754" sldId="2147481945"/>
        </pc:sldMkLst>
      </pc:sldChg>
      <pc:sldChg chg="add">
        <pc:chgData name="Annemarija Apine (LV)" userId="546f5c59-3b8d-47fd-b739-a8fadc631053" providerId="ADAL" clId="{B76076CE-B521-447B-97B8-8379237862AA}" dt="2024-05-15T13:51:51.218" v="5"/>
        <pc:sldMkLst>
          <pc:docMk/>
          <pc:sldMk cId="790851881" sldId="2147481946"/>
        </pc:sldMkLst>
      </pc:sldChg>
      <pc:sldChg chg="add">
        <pc:chgData name="Annemarija Apine (LV)" userId="546f5c59-3b8d-47fd-b739-a8fadc631053" providerId="ADAL" clId="{B76076CE-B521-447B-97B8-8379237862AA}" dt="2024-05-15T13:51:51.218" v="5"/>
        <pc:sldMkLst>
          <pc:docMk/>
          <pc:sldMk cId="972494666" sldId="2147481947"/>
        </pc:sldMkLst>
      </pc:sldChg>
      <pc:sldChg chg="add">
        <pc:chgData name="Annemarija Apine (LV)" userId="546f5c59-3b8d-47fd-b739-a8fadc631053" providerId="ADAL" clId="{B76076CE-B521-447B-97B8-8379237862AA}" dt="2024-05-15T14:08:58.902" v="95"/>
        <pc:sldMkLst>
          <pc:docMk/>
          <pc:sldMk cId="1254450771" sldId="2147481948"/>
        </pc:sldMkLst>
      </pc:sldChg>
      <pc:sldChg chg="add">
        <pc:chgData name="Annemarija Apine (LV)" userId="546f5c59-3b8d-47fd-b739-a8fadc631053" providerId="ADAL" clId="{B76076CE-B521-447B-97B8-8379237862AA}" dt="2024-05-15T14:08:58.902" v="95"/>
        <pc:sldMkLst>
          <pc:docMk/>
          <pc:sldMk cId="4049782693" sldId="2147481949"/>
        </pc:sldMkLst>
      </pc:sldChg>
      <pc:sldChg chg="add">
        <pc:chgData name="Annemarija Apine (LV)" userId="546f5c59-3b8d-47fd-b739-a8fadc631053" providerId="ADAL" clId="{B76076CE-B521-447B-97B8-8379237862AA}" dt="2024-05-15T14:08:58.902" v="95"/>
        <pc:sldMkLst>
          <pc:docMk/>
          <pc:sldMk cId="3702537864" sldId="2147481950"/>
        </pc:sldMkLst>
      </pc:sldChg>
      <pc:sldChg chg="add">
        <pc:chgData name="Annemarija Apine (LV)" userId="546f5c59-3b8d-47fd-b739-a8fadc631053" providerId="ADAL" clId="{B76076CE-B521-447B-97B8-8379237862AA}" dt="2024-05-15T14:08:58.902" v="95"/>
        <pc:sldMkLst>
          <pc:docMk/>
          <pc:sldMk cId="3939567711" sldId="2147481951"/>
        </pc:sldMkLst>
      </pc:sldChg>
      <pc:sldChg chg="add del">
        <pc:chgData name="Annemarija Apine (LV)" userId="546f5c59-3b8d-47fd-b739-a8fadc631053" providerId="ADAL" clId="{B76076CE-B521-447B-97B8-8379237862AA}" dt="2024-05-16T14:12:31.290" v="136" actId="47"/>
        <pc:sldMkLst>
          <pc:docMk/>
          <pc:sldMk cId="4245330847" sldId="2147482056"/>
        </pc:sldMkLst>
      </pc:sldChg>
      <pc:sldChg chg="add del">
        <pc:chgData name="Annemarija Apine (LV)" userId="546f5c59-3b8d-47fd-b739-a8fadc631053" providerId="ADAL" clId="{B76076CE-B521-447B-97B8-8379237862AA}" dt="2024-05-16T14:12:31.290" v="136" actId="47"/>
        <pc:sldMkLst>
          <pc:docMk/>
          <pc:sldMk cId="4241092910" sldId="2147482059"/>
        </pc:sldMkLst>
      </pc:sldChg>
      <pc:sldChg chg="add del">
        <pc:chgData name="Annemarija Apine (LV)" userId="546f5c59-3b8d-47fd-b739-a8fadc631053" providerId="ADAL" clId="{B76076CE-B521-447B-97B8-8379237862AA}" dt="2024-05-16T14:12:31.290" v="136" actId="47"/>
        <pc:sldMkLst>
          <pc:docMk/>
          <pc:sldMk cId="1153818150" sldId="2147482060"/>
        </pc:sldMkLst>
      </pc:sldChg>
      <pc:sldChg chg="add del">
        <pc:chgData name="Annemarija Apine (LV)" userId="546f5c59-3b8d-47fd-b739-a8fadc631053" providerId="ADAL" clId="{B76076CE-B521-447B-97B8-8379237862AA}" dt="2024-05-16T14:12:31.290" v="136" actId="47"/>
        <pc:sldMkLst>
          <pc:docMk/>
          <pc:sldMk cId="3181295916" sldId="2147482061"/>
        </pc:sldMkLst>
      </pc:sldChg>
      <pc:sldChg chg="add del">
        <pc:chgData name="Annemarija Apine (LV)" userId="546f5c59-3b8d-47fd-b739-a8fadc631053" providerId="ADAL" clId="{B76076CE-B521-447B-97B8-8379237862AA}" dt="2024-05-16T14:12:31.290" v="136" actId="47"/>
        <pc:sldMkLst>
          <pc:docMk/>
          <pc:sldMk cId="1561713822" sldId="2147482069"/>
        </pc:sldMkLst>
      </pc:sldChg>
      <pc:sldChg chg="add del">
        <pc:chgData name="Annemarija Apine (LV)" userId="546f5c59-3b8d-47fd-b739-a8fadc631053" providerId="ADAL" clId="{B76076CE-B521-447B-97B8-8379237862AA}" dt="2024-05-16T14:12:31.290" v="136" actId="47"/>
        <pc:sldMkLst>
          <pc:docMk/>
          <pc:sldMk cId="1124360578" sldId="2147482079"/>
        </pc:sldMkLst>
      </pc:sldChg>
      <pc:sldChg chg="add del">
        <pc:chgData name="Annemarija Apine (LV)" userId="546f5c59-3b8d-47fd-b739-a8fadc631053" providerId="ADAL" clId="{B76076CE-B521-447B-97B8-8379237862AA}" dt="2024-05-16T14:12:31.290" v="136" actId="47"/>
        <pc:sldMkLst>
          <pc:docMk/>
          <pc:sldMk cId="1327582453" sldId="2147482080"/>
        </pc:sldMkLst>
      </pc:sldChg>
    </pc:docChg>
  </pc:docChgLst>
  <pc:docChgLst>
    <pc:chgData name="Annemarija Apine (LV)" userId="546f5c59-3b8d-47fd-b739-a8fadc631053" providerId="ADAL" clId="{F5F3C352-44BA-49AA-B120-33561FCB4670}"/>
    <pc:docChg chg="undo custSel addSld delSld modSld sldOrd replTag">
      <pc:chgData name="Annemarija Apine (LV)" userId="546f5c59-3b8d-47fd-b739-a8fadc631053" providerId="ADAL" clId="{F5F3C352-44BA-49AA-B120-33561FCB4670}" dt="2024-06-10T15:26:45.745" v="868"/>
      <pc:docMkLst>
        <pc:docMk/>
      </pc:docMkLst>
      <pc:sldChg chg="del">
        <pc:chgData name="Annemarija Apine (LV)" userId="546f5c59-3b8d-47fd-b739-a8fadc631053" providerId="ADAL" clId="{F5F3C352-44BA-49AA-B120-33561FCB4670}" dt="2024-06-10T07:11:47.913" v="844" actId="47"/>
        <pc:sldMkLst>
          <pc:docMk/>
          <pc:sldMk cId="1395428684" sldId="269"/>
        </pc:sldMkLst>
      </pc:sldChg>
      <pc:sldChg chg="modSp mod">
        <pc:chgData name="Annemarija Apine (LV)" userId="546f5c59-3b8d-47fd-b739-a8fadc631053" providerId="ADAL" clId="{F5F3C352-44BA-49AA-B120-33561FCB4670}" dt="2024-06-09T22:03:22.514" v="251" actId="20577"/>
        <pc:sldMkLst>
          <pc:docMk/>
          <pc:sldMk cId="0" sldId="317"/>
        </pc:sldMkLst>
        <pc:spChg chg="mod">
          <ac:chgData name="Annemarija Apine (LV)" userId="546f5c59-3b8d-47fd-b739-a8fadc631053" providerId="ADAL" clId="{F5F3C352-44BA-49AA-B120-33561FCB4670}" dt="2024-06-09T22:03:22.514" v="251" actId="20577"/>
          <ac:spMkLst>
            <pc:docMk/>
            <pc:sldMk cId="0" sldId="317"/>
            <ac:spMk id="27" creationId="{2FDA45F6-3706-D3EA-97DA-1652D5185D03}"/>
          </ac:spMkLst>
        </pc:spChg>
      </pc:sldChg>
      <pc:sldChg chg="del">
        <pc:chgData name="Annemarija Apine (LV)" userId="546f5c59-3b8d-47fd-b739-a8fadc631053" providerId="ADAL" clId="{F5F3C352-44BA-49AA-B120-33561FCB4670}" dt="2024-06-10T07:11:39.608" v="840" actId="47"/>
        <pc:sldMkLst>
          <pc:docMk/>
          <pc:sldMk cId="3910420445" sldId="318"/>
        </pc:sldMkLst>
      </pc:sldChg>
      <pc:sldChg chg="del">
        <pc:chgData name="Annemarija Apine (LV)" userId="546f5c59-3b8d-47fd-b739-a8fadc631053" providerId="ADAL" clId="{F5F3C352-44BA-49AA-B120-33561FCB4670}" dt="2024-06-10T07:11:42.633" v="842" actId="47"/>
        <pc:sldMkLst>
          <pc:docMk/>
          <pc:sldMk cId="2834373602" sldId="757"/>
        </pc:sldMkLst>
      </pc:sldChg>
      <pc:sldChg chg="delSp mod">
        <pc:chgData name="Annemarija Apine (LV)" userId="546f5c59-3b8d-47fd-b739-a8fadc631053" providerId="ADAL" clId="{F5F3C352-44BA-49AA-B120-33561FCB4670}" dt="2024-06-05T21:55:52.051" v="208" actId="478"/>
        <pc:sldMkLst>
          <pc:docMk/>
          <pc:sldMk cId="301651023" sldId="6887"/>
        </pc:sldMkLst>
        <pc:grpChg chg="del">
          <ac:chgData name="Annemarija Apine (LV)" userId="546f5c59-3b8d-47fd-b739-a8fadc631053" providerId="ADAL" clId="{F5F3C352-44BA-49AA-B120-33561FCB4670}" dt="2024-06-05T21:55:52.051" v="208" actId="478"/>
          <ac:grpSpMkLst>
            <pc:docMk/>
            <pc:sldMk cId="301651023" sldId="6887"/>
            <ac:grpSpMk id="5" creationId="{9A662FD0-25E5-85FD-1BA6-E8A71D16AA76}"/>
          </ac:grpSpMkLst>
        </pc:grpChg>
      </pc:sldChg>
      <pc:sldChg chg="addCm delCm">
        <pc:chgData name="Annemarija Apine (LV)" userId="546f5c59-3b8d-47fd-b739-a8fadc631053" providerId="ADAL" clId="{F5F3C352-44BA-49AA-B120-33561FCB4670}" dt="2024-06-05T21:46:59.206" v="45"/>
        <pc:sldMkLst>
          <pc:docMk/>
          <pc:sldMk cId="192098022" sldId="2147481877"/>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6:59.206" v="45"/>
              <pc2:cmMkLst xmlns:pc2="http://schemas.microsoft.com/office/powerpoint/2019/9/main/command">
                <pc:docMk/>
                <pc:sldMk cId="192098022" sldId="2147481877"/>
                <pc2:cmMk id="{42340CB7-382F-4BFC-9464-B01F4E65E661}"/>
              </pc2:cmMkLst>
            </pc226:cmChg>
            <pc226:cmChg xmlns:pc226="http://schemas.microsoft.com/office/powerpoint/2022/06/main/command" chg="del">
              <pc226:chgData name="Annemarija Apine (LV)" userId="546f5c59-3b8d-47fd-b739-a8fadc631053" providerId="ADAL" clId="{F5F3C352-44BA-49AA-B120-33561FCB4670}" dt="2024-06-05T21:44:32.779" v="2"/>
              <pc2:cmMkLst xmlns:pc2="http://schemas.microsoft.com/office/powerpoint/2019/9/main/command">
                <pc:docMk/>
                <pc:sldMk cId="192098022" sldId="2147481877"/>
                <pc2:cmMk id="{2BAFDAD7-4750-421D-879A-E56EE9100927}"/>
              </pc2:cmMkLst>
            </pc226:cmChg>
          </p:ext>
        </pc:extLst>
      </pc:sldChg>
      <pc:sldChg chg="modSp mod addCm delCm">
        <pc:chgData name="Annemarija Apine (LV)" userId="546f5c59-3b8d-47fd-b739-a8fadc631053" providerId="ADAL" clId="{F5F3C352-44BA-49AA-B120-33561FCB4670}" dt="2024-06-09T21:57:42.062" v="216"/>
        <pc:sldMkLst>
          <pc:docMk/>
          <pc:sldMk cId="1076096228" sldId="2147481883"/>
        </pc:sldMkLst>
        <pc:spChg chg="mod">
          <ac:chgData name="Annemarija Apine (LV)" userId="546f5c59-3b8d-47fd-b739-a8fadc631053" providerId="ADAL" clId="{F5F3C352-44BA-49AA-B120-33561FCB4670}" dt="2024-06-09T21:57:24.863" v="215" actId="20577"/>
          <ac:spMkLst>
            <pc:docMk/>
            <pc:sldMk cId="1076096228" sldId="2147481883"/>
            <ac:spMk id="7" creationId="{8955B2C7-F22E-6F52-733B-63ECB21657CB}"/>
          </ac:spMkLst>
        </pc:spChg>
        <pc:spChg chg="mod">
          <ac:chgData name="Annemarija Apine (LV)" userId="546f5c59-3b8d-47fd-b739-a8fadc631053" providerId="ADAL" clId="{F5F3C352-44BA-49AA-B120-33561FCB4670}" dt="2024-06-05T21:47:46.630" v="122" actId="20577"/>
          <ac:spMkLst>
            <pc:docMk/>
            <pc:sldMk cId="1076096228" sldId="2147481883"/>
            <ac:spMk id="21" creationId="{A3DAE46C-43DB-A6F2-C680-13972AF27B1E}"/>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7:53.767" v="124"/>
              <pc2:cmMkLst xmlns:pc2="http://schemas.microsoft.com/office/powerpoint/2019/9/main/command">
                <pc:docMk/>
                <pc:sldMk cId="1076096228" sldId="2147481883"/>
                <pc2:cmMk id="{A5CE162D-2EEE-4922-B176-CB61EFDAC24E}"/>
              </pc2:cmMkLst>
            </pc226:cmChg>
            <pc226:cmChg xmlns:pc226="http://schemas.microsoft.com/office/powerpoint/2022/06/main/command" chg="add">
              <pc226:chgData name="Annemarija Apine (LV)" userId="546f5c59-3b8d-47fd-b739-a8fadc631053" providerId="ADAL" clId="{F5F3C352-44BA-49AA-B120-33561FCB4670}" dt="2024-06-09T21:57:42.062" v="216"/>
              <pc2:cmMkLst xmlns:pc2="http://schemas.microsoft.com/office/powerpoint/2019/9/main/command">
                <pc:docMk/>
                <pc:sldMk cId="1076096228" sldId="2147481883"/>
                <pc2:cmMk id="{707E228F-5D4F-4CF3-9C8B-94FC641A42B0}"/>
              </pc2:cmMkLst>
            </pc226:cmChg>
            <pc226:cmChg xmlns:pc226="http://schemas.microsoft.com/office/powerpoint/2022/06/main/command" chg="del">
              <pc226:chgData name="Annemarija Apine (LV)" userId="546f5c59-3b8d-47fd-b739-a8fadc631053" providerId="ADAL" clId="{F5F3C352-44BA-49AA-B120-33561FCB4670}" dt="2024-06-05T21:47:49.689" v="123"/>
              <pc2:cmMkLst xmlns:pc2="http://schemas.microsoft.com/office/powerpoint/2019/9/main/command">
                <pc:docMk/>
                <pc:sldMk cId="1076096228" sldId="2147481883"/>
                <pc2:cmMk id="{90D166C6-4DDA-4102-8794-4FDCD0687F57}"/>
              </pc2:cmMkLst>
            </pc226:cmChg>
          </p:ext>
        </pc:extLst>
      </pc:sldChg>
      <pc:sldChg chg="addCm modCm">
        <pc:chgData name="Annemarija Apine (LV)" userId="546f5c59-3b8d-47fd-b739-a8fadc631053" providerId="ADAL" clId="{F5F3C352-44BA-49AA-B120-33561FCB4670}" dt="2024-06-05T21:46:04.331" v="27"/>
        <pc:sldMkLst>
          <pc:docMk/>
          <pc:sldMk cId="59703751" sldId="2147481888"/>
        </pc:sldMkLst>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F5F3C352-44BA-49AA-B120-33561FCB4670}" dt="2024-06-05T21:46:04.331" v="27"/>
              <pc2:cmMkLst xmlns:pc2="http://schemas.microsoft.com/office/powerpoint/2019/9/main/command">
                <pc:docMk/>
                <pc:sldMk cId="59703751" sldId="2147481888"/>
                <pc2:cmMk id="{21BD07A8-8D07-40D8-8F1E-39D4B55AC171}"/>
              </pc2:cmMkLst>
            </pc226:cmChg>
          </p:ext>
        </pc:extLst>
      </pc:sldChg>
      <pc:sldChg chg="del">
        <pc:chgData name="Annemarija Apine (LV)" userId="546f5c59-3b8d-47fd-b739-a8fadc631053" providerId="ADAL" clId="{F5F3C352-44BA-49AA-B120-33561FCB4670}" dt="2024-06-05T21:48:47.656" v="141" actId="47"/>
        <pc:sldMkLst>
          <pc:docMk/>
          <pc:sldMk cId="4156649328" sldId="2147481901"/>
        </pc:sldMkLst>
      </pc:sldChg>
      <pc:sldChg chg="modSp del mod addCm">
        <pc:chgData name="Annemarija Apine (LV)" userId="546f5c59-3b8d-47fd-b739-a8fadc631053" providerId="ADAL" clId="{F5F3C352-44BA-49AA-B120-33561FCB4670}" dt="2024-06-10T07:11:51.436" v="846" actId="47"/>
        <pc:sldMkLst>
          <pc:docMk/>
          <pc:sldMk cId="2829430444" sldId="2147481906"/>
        </pc:sldMkLst>
        <pc:spChg chg="mod">
          <ac:chgData name="Annemarija Apine (LV)" userId="546f5c59-3b8d-47fd-b739-a8fadc631053" providerId="ADAL" clId="{F5F3C352-44BA-49AA-B120-33561FCB4670}" dt="2024-06-10T07:03:12.418" v="831" actId="1076"/>
          <ac:spMkLst>
            <pc:docMk/>
            <pc:sldMk cId="2829430444" sldId="2147481906"/>
            <ac:spMk id="48" creationId="{7A31ACB3-B037-0C4A-F617-333276F334B4}"/>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8:26.240" v="134"/>
              <pc2:cmMkLst xmlns:pc2="http://schemas.microsoft.com/office/powerpoint/2019/9/main/command">
                <pc:docMk/>
                <pc:sldMk cId="2829430444" sldId="2147481906"/>
                <pc2:cmMk id="{A64F8EA5-8DD5-4173-86E8-DC42B0FD91FB}"/>
              </pc2:cmMkLst>
            </pc226:cmChg>
          </p:ext>
        </pc:extLst>
      </pc:sldChg>
      <pc:sldChg chg="del">
        <pc:chgData name="Annemarija Apine (LV)" userId="546f5c59-3b8d-47fd-b739-a8fadc631053" providerId="ADAL" clId="{F5F3C352-44BA-49AA-B120-33561FCB4670}" dt="2024-06-10T07:11:52.277" v="848" actId="47"/>
        <pc:sldMkLst>
          <pc:docMk/>
          <pc:sldMk cId="2443351344" sldId="2147481921"/>
        </pc:sldMkLst>
      </pc:sldChg>
      <pc:sldChg chg="del mod ord modShow addCm">
        <pc:chgData name="Annemarija Apine (LV)" userId="546f5c59-3b8d-47fd-b739-a8fadc631053" providerId="ADAL" clId="{F5F3C352-44BA-49AA-B120-33561FCB4670}" dt="2024-06-05T21:50:26.552" v="159" actId="47"/>
        <pc:sldMkLst>
          <pc:docMk/>
          <pc:sldMk cId="1254450771" sldId="2147481948"/>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0:08.734" v="152"/>
              <pc2:cmMkLst xmlns:pc2="http://schemas.microsoft.com/office/powerpoint/2019/9/main/command">
                <pc:docMk/>
                <pc:sldMk cId="1254450771" sldId="2147481948"/>
                <pc2:cmMk id="{4D592B47-0DD1-44D9-A1F9-7FF9260CC07A}"/>
              </pc2:cmMkLst>
            </pc226:cmChg>
          </p:ext>
        </pc:extLst>
      </pc:sldChg>
      <pc:sldChg chg="addSp modSp addCm modCm">
        <pc:chgData name="Annemarija Apine (LV)" userId="546f5c59-3b8d-47fd-b739-a8fadc631053" providerId="ADAL" clId="{F5F3C352-44BA-49AA-B120-33561FCB4670}" dt="2024-06-05T21:55:11.545" v="192"/>
        <pc:sldMkLst>
          <pc:docMk/>
          <pc:sldMk cId="8764514" sldId="2147481952"/>
        </pc:sldMkLst>
        <pc:spChg chg="add mod">
          <ac:chgData name="Annemarija Apine (LV)" userId="546f5c59-3b8d-47fd-b739-a8fadc631053" providerId="ADAL" clId="{F5F3C352-44BA-49AA-B120-33561FCB4670}" dt="2024-06-05T21:55:11.545" v="192"/>
          <ac:spMkLst>
            <pc:docMk/>
            <pc:sldMk cId="8764514" sldId="2147481952"/>
            <ac:spMk id="4" creationId="{3468B703-BD03-9754-497D-AD6AB7B72F60}"/>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3:32.497" v="170"/>
              <pc2:cmMkLst xmlns:pc2="http://schemas.microsoft.com/office/powerpoint/2019/9/main/command">
                <pc:docMk/>
                <pc:sldMk cId="8764514" sldId="2147481952"/>
                <pc2:cmMk id="{A88F5E5A-8F7E-4686-800B-7EAC25B21044}"/>
              </pc2:cmMkLst>
              <pc226:cmRplyChg chg="add">
                <pc226:chgData name="Annemarija Apine (LV)" userId="546f5c59-3b8d-47fd-b739-a8fadc631053" providerId="ADAL" clId="{F5F3C352-44BA-49AA-B120-33561FCB4670}" dt="2024-06-05T21:53:32.497" v="170"/>
                <pc2:cmRplyMkLst xmlns:pc2="http://schemas.microsoft.com/office/powerpoint/2019/9/main/command">
                  <pc:docMk/>
                  <pc:sldMk cId="8764514" sldId="2147481952"/>
                  <pc2:cmMk id="{A88F5E5A-8F7E-4686-800B-7EAC25B21044}"/>
                  <pc2:cmRplyMk id="{95F17E25-49F3-4E9A-B0F9-FCCF07726928}"/>
                </pc2:cmRplyMkLst>
              </pc226:cmRplyChg>
            </pc226:cmChg>
            <pc226:cmChg xmlns:pc226="http://schemas.microsoft.com/office/powerpoint/2022/06/main/command" chg="add">
              <pc226:chgData name="Annemarija Apine (LV)" userId="546f5c59-3b8d-47fd-b739-a8fadc631053" providerId="ADAL" clId="{F5F3C352-44BA-49AA-B120-33561FCB4670}" dt="2024-06-05T21:54:55.939" v="187"/>
              <pc2:cmMkLst xmlns:pc2="http://schemas.microsoft.com/office/powerpoint/2019/9/main/command">
                <pc:docMk/>
                <pc:sldMk cId="8764514" sldId="2147481952"/>
                <pc2:cmMk id="{AD78A99D-FB63-453D-ABAC-80F29DC4DDB1}"/>
              </pc2:cmMkLst>
              <pc226:cmRplyChg chg="add">
                <pc226:chgData name="Annemarija Apine (LV)" userId="546f5c59-3b8d-47fd-b739-a8fadc631053" providerId="ADAL" clId="{F5F3C352-44BA-49AA-B120-33561FCB4670}" dt="2024-06-05T21:54:55.939" v="187"/>
                <pc2:cmRplyMkLst xmlns:pc2="http://schemas.microsoft.com/office/powerpoint/2019/9/main/command">
                  <pc:docMk/>
                  <pc:sldMk cId="8764514" sldId="2147481952"/>
                  <pc2:cmMk id="{AD78A99D-FB63-453D-ABAC-80F29DC4DDB1}"/>
                  <pc2:cmRplyMk id="{E0A0723B-7FDC-460D-8F9F-96FEFA5B5A31}"/>
                </pc2:cmRplyMkLst>
              </pc226:cmRplyChg>
            </pc226:cmChg>
          </p:ext>
        </pc:extLst>
      </pc:sldChg>
      <pc:sldChg chg="addCm">
        <pc:chgData name="Annemarija Apine (LV)" userId="546f5c59-3b8d-47fd-b739-a8fadc631053" providerId="ADAL" clId="{F5F3C352-44BA-49AA-B120-33561FCB4670}" dt="2024-06-05T21:45:18.856" v="13"/>
        <pc:sldMkLst>
          <pc:docMk/>
          <pc:sldMk cId="1261692589" sldId="214748195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5:18.856" v="13"/>
              <pc2:cmMkLst xmlns:pc2="http://schemas.microsoft.com/office/powerpoint/2019/9/main/command">
                <pc:docMk/>
                <pc:sldMk cId="1261692589" sldId="2147481953"/>
                <pc2:cmMk id="{A2BFB9A9-1955-4CE0-BF5C-BDDC69F82ED1}"/>
              </pc2:cmMkLst>
            </pc226:cmChg>
          </p:ext>
        </pc:extLst>
      </pc:sldChg>
      <pc:sldChg chg="addSp delSp modSp mod addCm">
        <pc:chgData name="Annemarija Apine (LV)" userId="546f5c59-3b8d-47fd-b739-a8fadc631053" providerId="ADAL" clId="{F5F3C352-44BA-49AA-B120-33561FCB4670}" dt="2024-06-05T21:55:10.252" v="190" actId="21"/>
        <pc:sldMkLst>
          <pc:docMk/>
          <pc:sldMk cId="2037616446" sldId="2147481956"/>
        </pc:sldMkLst>
        <pc:spChg chg="add del mod">
          <ac:chgData name="Annemarija Apine (LV)" userId="546f5c59-3b8d-47fd-b739-a8fadc631053" providerId="ADAL" clId="{F5F3C352-44BA-49AA-B120-33561FCB4670}" dt="2024-06-05T21:55:10.252" v="190" actId="21"/>
          <ac:spMkLst>
            <pc:docMk/>
            <pc:sldMk cId="2037616446" sldId="2147481956"/>
            <ac:spMk id="16" creationId="{9B01FF5B-CFEB-5679-59AC-8360054C315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4:07.726" v="174"/>
              <pc2:cmMkLst xmlns:pc2="http://schemas.microsoft.com/office/powerpoint/2019/9/main/command">
                <pc:docMk/>
                <pc:sldMk cId="2037616446" sldId="2147481956"/>
                <pc2:cmMk id="{9461FECB-8129-4AD7-BAB7-257DC7B854B4}"/>
              </pc2:cmMkLst>
            </pc226:cmChg>
          </p:ext>
        </pc:extLst>
      </pc:sldChg>
      <pc:sldChg chg="addSp delSp modSp add mod ord">
        <pc:chgData name="Annemarija Apine (LV)" userId="546f5c59-3b8d-47fd-b739-a8fadc631053" providerId="ADAL" clId="{F5F3C352-44BA-49AA-B120-33561FCB4670}" dt="2024-06-10T06:56:28.122" v="828" actId="20577"/>
        <pc:sldMkLst>
          <pc:docMk/>
          <pc:sldMk cId="329214126" sldId="2147481959"/>
        </pc:sldMkLst>
        <pc:spChg chg="mod">
          <ac:chgData name="Annemarija Apine (LV)" userId="546f5c59-3b8d-47fd-b739-a8fadc631053" providerId="ADAL" clId="{F5F3C352-44BA-49AA-B120-33561FCB4670}" dt="2024-06-10T06:49:45.936" v="616" actId="14100"/>
          <ac:spMkLst>
            <pc:docMk/>
            <pc:sldMk cId="329214126" sldId="2147481959"/>
            <ac:spMk id="2" creationId="{B1F6A68B-1597-6DFC-9E7D-71CFDA319A8C}"/>
          </ac:spMkLst>
        </pc:spChg>
        <pc:spChg chg="del mod">
          <ac:chgData name="Annemarija Apine (LV)" userId="546f5c59-3b8d-47fd-b739-a8fadc631053" providerId="ADAL" clId="{F5F3C352-44BA-49AA-B120-33561FCB4670}" dt="2024-06-10T06:37:59.643" v="397" actId="478"/>
          <ac:spMkLst>
            <pc:docMk/>
            <pc:sldMk cId="329214126" sldId="2147481959"/>
            <ac:spMk id="3" creationId="{F1FCDF7B-C2DD-6E7D-0F9E-D0E103851972}"/>
          </ac:spMkLst>
        </pc:spChg>
        <pc:spChg chg="mod">
          <ac:chgData name="Annemarija Apine (LV)" userId="546f5c59-3b8d-47fd-b739-a8fadc631053" providerId="ADAL" clId="{F5F3C352-44BA-49AA-B120-33561FCB4670}" dt="2024-06-10T06:49:48.505" v="617" actId="14100"/>
          <ac:spMkLst>
            <pc:docMk/>
            <pc:sldMk cId="329214126" sldId="2147481959"/>
            <ac:spMk id="5" creationId="{4698077E-5F06-B355-0606-A7F29A25D317}"/>
          </ac:spMkLst>
        </pc:spChg>
        <pc:spChg chg="add mod">
          <ac:chgData name="Annemarija Apine (LV)" userId="546f5c59-3b8d-47fd-b739-a8fadc631053" providerId="ADAL" clId="{F5F3C352-44BA-49AA-B120-33561FCB4670}" dt="2024-06-10T06:51:25.720" v="632" actId="113"/>
          <ac:spMkLst>
            <pc:docMk/>
            <pc:sldMk cId="329214126" sldId="2147481959"/>
            <ac:spMk id="15" creationId="{59122A1E-8BC3-09F4-97FB-705F528E5398}"/>
          </ac:spMkLst>
        </pc:spChg>
        <pc:spChg chg="add mod">
          <ac:chgData name="Annemarija Apine (LV)" userId="546f5c59-3b8d-47fd-b739-a8fadc631053" providerId="ADAL" clId="{F5F3C352-44BA-49AA-B120-33561FCB4670}" dt="2024-06-10T06:49:41.984" v="615" actId="1038"/>
          <ac:spMkLst>
            <pc:docMk/>
            <pc:sldMk cId="329214126" sldId="2147481959"/>
            <ac:spMk id="16" creationId="{4C1489AC-C832-C969-96C3-5B7A4ED02FB3}"/>
          </ac:spMkLst>
        </pc:spChg>
        <pc:spChg chg="add mod">
          <ac:chgData name="Annemarija Apine (LV)" userId="546f5c59-3b8d-47fd-b739-a8fadc631053" providerId="ADAL" clId="{F5F3C352-44BA-49AA-B120-33561FCB4670}" dt="2024-06-10T06:51:59.249" v="645" actId="113"/>
          <ac:spMkLst>
            <pc:docMk/>
            <pc:sldMk cId="329214126" sldId="2147481959"/>
            <ac:spMk id="17" creationId="{D67163D0-AFF2-0F5B-BEF8-713B9C5550B9}"/>
          </ac:spMkLst>
        </pc:spChg>
        <pc:spChg chg="add mod">
          <ac:chgData name="Annemarija Apine (LV)" userId="546f5c59-3b8d-47fd-b739-a8fadc631053" providerId="ADAL" clId="{F5F3C352-44BA-49AA-B120-33561FCB4670}" dt="2024-06-10T06:49:29.072" v="601" actId="1076"/>
          <ac:spMkLst>
            <pc:docMk/>
            <pc:sldMk cId="329214126" sldId="2147481959"/>
            <ac:spMk id="18" creationId="{D3932FD6-4833-DAF0-8321-A600DDDF2D68}"/>
          </ac:spMkLst>
        </pc:spChg>
        <pc:spChg chg="add mod">
          <ac:chgData name="Annemarija Apine (LV)" userId="546f5c59-3b8d-47fd-b739-a8fadc631053" providerId="ADAL" clId="{F5F3C352-44BA-49AA-B120-33561FCB4670}" dt="2024-06-10T06:53:42.464" v="722" actId="20577"/>
          <ac:spMkLst>
            <pc:docMk/>
            <pc:sldMk cId="329214126" sldId="2147481959"/>
            <ac:spMk id="19" creationId="{106AC05F-A272-513E-EF01-E89A9509C706}"/>
          </ac:spMkLst>
        </pc:spChg>
        <pc:spChg chg="add mod">
          <ac:chgData name="Annemarija Apine (LV)" userId="546f5c59-3b8d-47fd-b739-a8fadc631053" providerId="ADAL" clId="{F5F3C352-44BA-49AA-B120-33561FCB4670}" dt="2024-06-10T06:55:12.372" v="752" actId="1076"/>
          <ac:spMkLst>
            <pc:docMk/>
            <pc:sldMk cId="329214126" sldId="2147481959"/>
            <ac:spMk id="20" creationId="{420F2629-D747-1650-347F-99EDC0529C8F}"/>
          </ac:spMkLst>
        </pc:spChg>
        <pc:spChg chg="add mod">
          <ac:chgData name="Annemarija Apine (LV)" userId="546f5c59-3b8d-47fd-b739-a8fadc631053" providerId="ADAL" clId="{F5F3C352-44BA-49AA-B120-33561FCB4670}" dt="2024-06-10T06:55:12.372" v="752" actId="1076"/>
          <ac:spMkLst>
            <pc:docMk/>
            <pc:sldMk cId="329214126" sldId="2147481959"/>
            <ac:spMk id="21" creationId="{036DED66-E299-1067-9D43-ADF12C7A1CC7}"/>
          </ac:spMkLst>
        </pc:spChg>
        <pc:spChg chg="add mod">
          <ac:chgData name="Annemarija Apine (LV)" userId="546f5c59-3b8d-47fd-b739-a8fadc631053" providerId="ADAL" clId="{F5F3C352-44BA-49AA-B120-33561FCB4670}" dt="2024-06-10T06:55:12.372" v="752" actId="1076"/>
          <ac:spMkLst>
            <pc:docMk/>
            <pc:sldMk cId="329214126" sldId="2147481959"/>
            <ac:spMk id="22" creationId="{5945FFC4-B564-FA15-EA24-EE9B63FADFEC}"/>
          </ac:spMkLst>
        </pc:spChg>
        <pc:spChg chg="add mod">
          <ac:chgData name="Annemarija Apine (LV)" userId="546f5c59-3b8d-47fd-b739-a8fadc631053" providerId="ADAL" clId="{F5F3C352-44BA-49AA-B120-33561FCB4670}" dt="2024-06-10T06:56:06.105" v="806" actId="1076"/>
          <ac:spMkLst>
            <pc:docMk/>
            <pc:sldMk cId="329214126" sldId="2147481959"/>
            <ac:spMk id="23" creationId="{40D304C9-A45C-F440-2AD0-14A290FE5C9A}"/>
          </ac:spMkLst>
        </pc:spChg>
        <pc:spChg chg="add mod">
          <ac:chgData name="Annemarija Apine (LV)" userId="546f5c59-3b8d-47fd-b739-a8fadc631053" providerId="ADAL" clId="{F5F3C352-44BA-49AA-B120-33561FCB4670}" dt="2024-06-10T06:56:06.105" v="806" actId="1076"/>
          <ac:spMkLst>
            <pc:docMk/>
            <pc:sldMk cId="329214126" sldId="2147481959"/>
            <ac:spMk id="24" creationId="{4125062F-480F-BBF3-EB3F-3D86985D4CAF}"/>
          </ac:spMkLst>
        </pc:spChg>
        <pc:spChg chg="add mod">
          <ac:chgData name="Annemarija Apine (LV)" userId="546f5c59-3b8d-47fd-b739-a8fadc631053" providerId="ADAL" clId="{F5F3C352-44BA-49AA-B120-33561FCB4670}" dt="2024-06-10T06:56:06.105" v="806" actId="1076"/>
          <ac:spMkLst>
            <pc:docMk/>
            <pc:sldMk cId="329214126" sldId="2147481959"/>
            <ac:spMk id="25" creationId="{AC45CEB6-E989-C8E7-CB62-A8DB26594D29}"/>
          </ac:spMkLst>
        </pc:spChg>
        <pc:spChg chg="add mod">
          <ac:chgData name="Annemarija Apine (LV)" userId="546f5c59-3b8d-47fd-b739-a8fadc631053" providerId="ADAL" clId="{F5F3C352-44BA-49AA-B120-33561FCB4670}" dt="2024-06-10T06:56:28.122" v="828" actId="20577"/>
          <ac:spMkLst>
            <pc:docMk/>
            <pc:sldMk cId="329214126" sldId="2147481959"/>
            <ac:spMk id="26" creationId="{A49585BF-400C-D97E-814D-A29D14EEAB69}"/>
          </ac:spMkLst>
        </pc:spChg>
        <pc:spChg chg="mod">
          <ac:chgData name="Annemarija Apine (LV)" userId="546f5c59-3b8d-47fd-b739-a8fadc631053" providerId="ADAL" clId="{F5F3C352-44BA-49AA-B120-33561FCB4670}" dt="2024-06-10T06:37:46.723" v="395" actId="20577"/>
          <ac:spMkLst>
            <pc:docMk/>
            <pc:sldMk cId="329214126" sldId="2147481959"/>
            <ac:spMk id="27" creationId="{32BEDB9C-EB44-3430-B207-FA719672649E}"/>
          </ac:spMkLst>
        </pc:spChg>
        <pc:spChg chg="mod">
          <ac:chgData name="Annemarija Apine (LV)" userId="546f5c59-3b8d-47fd-b739-a8fadc631053" providerId="ADAL" clId="{F5F3C352-44BA-49AA-B120-33561FCB4670}" dt="2024-06-10T06:49:30.845" v="602" actId="14100"/>
          <ac:spMkLst>
            <pc:docMk/>
            <pc:sldMk cId="329214126" sldId="2147481959"/>
            <ac:spMk id="33" creationId="{5B2A4D2C-CD75-341E-580A-957F809C2018}"/>
          </ac:spMkLst>
        </pc:spChg>
        <pc:spChg chg="mod">
          <ac:chgData name="Annemarija Apine (LV)" userId="546f5c59-3b8d-47fd-b739-a8fadc631053" providerId="ADAL" clId="{F5F3C352-44BA-49AA-B120-33561FCB4670}" dt="2024-06-10T06:49:38.594" v="604" actId="14100"/>
          <ac:spMkLst>
            <pc:docMk/>
            <pc:sldMk cId="329214126" sldId="2147481959"/>
            <ac:spMk id="37" creationId="{16C10275-D1DB-BDFC-B1ED-A4402FA73250}"/>
          </ac:spMkLst>
        </pc:spChg>
        <pc:spChg chg="del">
          <ac:chgData name="Annemarija Apine (LV)" userId="546f5c59-3b8d-47fd-b739-a8fadc631053" providerId="ADAL" clId="{F5F3C352-44BA-49AA-B120-33561FCB4670}" dt="2024-06-10T06:44:05.679" v="480" actId="478"/>
          <ac:spMkLst>
            <pc:docMk/>
            <pc:sldMk cId="329214126" sldId="2147481959"/>
            <ac:spMk id="48" creationId="{7A31ACB3-B037-0C4A-F617-333276F334B4}"/>
          </ac:spMkLst>
        </pc:spChg>
        <pc:spChg chg="del">
          <ac:chgData name="Annemarija Apine (LV)" userId="546f5c59-3b8d-47fd-b739-a8fadc631053" providerId="ADAL" clId="{F5F3C352-44BA-49AA-B120-33561FCB4670}" dt="2024-06-10T06:44:05.679" v="480" actId="478"/>
          <ac:spMkLst>
            <pc:docMk/>
            <pc:sldMk cId="329214126" sldId="2147481959"/>
            <ac:spMk id="49" creationId="{C6F923D7-E7BF-EE08-398D-1FAB39E5B9DC}"/>
          </ac:spMkLst>
        </pc:spChg>
        <pc:spChg chg="del">
          <ac:chgData name="Annemarija Apine (LV)" userId="546f5c59-3b8d-47fd-b739-a8fadc631053" providerId="ADAL" clId="{F5F3C352-44BA-49AA-B120-33561FCB4670}" dt="2024-06-10T06:44:05.679" v="480" actId="478"/>
          <ac:spMkLst>
            <pc:docMk/>
            <pc:sldMk cId="329214126" sldId="2147481959"/>
            <ac:spMk id="50" creationId="{C63704F3-C86D-204E-1B38-1B098D58592A}"/>
          </ac:spMkLst>
        </pc:spChg>
        <pc:spChg chg="del mod">
          <ac:chgData name="Annemarija Apine (LV)" userId="546f5c59-3b8d-47fd-b739-a8fadc631053" providerId="ADAL" clId="{F5F3C352-44BA-49AA-B120-33561FCB4670}" dt="2024-06-10T06:44:06.863" v="481" actId="478"/>
          <ac:spMkLst>
            <pc:docMk/>
            <pc:sldMk cId="329214126" sldId="2147481959"/>
            <ac:spMk id="51" creationId="{CD7812A7-F256-CA59-FCE3-D1F241F54EE2}"/>
          </ac:spMkLst>
        </pc:spChg>
        <pc:spChg chg="mod">
          <ac:chgData name="Annemarija Apine (LV)" userId="546f5c59-3b8d-47fd-b739-a8fadc631053" providerId="ADAL" clId="{F5F3C352-44BA-49AA-B120-33561FCB4670}" dt="2024-06-10T06:49:41.984" v="615" actId="1038"/>
          <ac:spMkLst>
            <pc:docMk/>
            <pc:sldMk cId="329214126" sldId="2147481959"/>
            <ac:spMk id="55" creationId="{01DEE395-A1D3-A782-B617-02A79709E740}"/>
          </ac:spMkLst>
        </pc:spChg>
        <pc:spChg chg="del mod">
          <ac:chgData name="Annemarija Apine (LV)" userId="546f5c59-3b8d-47fd-b739-a8fadc631053" providerId="ADAL" clId="{F5F3C352-44BA-49AA-B120-33561FCB4670}" dt="2024-06-10T06:43:48.075" v="475" actId="478"/>
          <ac:spMkLst>
            <pc:docMk/>
            <pc:sldMk cId="329214126" sldId="2147481959"/>
            <ac:spMk id="58" creationId="{B8CC9E83-B775-ABD1-2D21-52824912B867}"/>
          </ac:spMkLst>
        </pc:spChg>
        <pc:spChg chg="del mod">
          <ac:chgData name="Annemarija Apine (LV)" userId="546f5c59-3b8d-47fd-b739-a8fadc631053" providerId="ADAL" clId="{F5F3C352-44BA-49AA-B120-33561FCB4670}" dt="2024-06-10T06:37:59.643" v="397" actId="478"/>
          <ac:spMkLst>
            <pc:docMk/>
            <pc:sldMk cId="329214126" sldId="2147481959"/>
            <ac:spMk id="61" creationId="{4DC5AA6A-DB58-A2BD-19F8-61FE60399715}"/>
          </ac:spMkLst>
        </pc:spChg>
        <pc:spChg chg="mod">
          <ac:chgData name="Annemarija Apine (LV)" userId="546f5c59-3b8d-47fd-b739-a8fadc631053" providerId="ADAL" clId="{F5F3C352-44BA-49AA-B120-33561FCB4670}" dt="2024-06-10T06:55:12.372" v="752" actId="1076"/>
          <ac:spMkLst>
            <pc:docMk/>
            <pc:sldMk cId="329214126" sldId="2147481959"/>
            <ac:spMk id="64" creationId="{67FBBA03-31E4-D7C8-090F-638F677E6A35}"/>
          </ac:spMkLst>
        </pc:spChg>
        <pc:spChg chg="mod">
          <ac:chgData name="Annemarija Apine (LV)" userId="546f5c59-3b8d-47fd-b739-a8fadc631053" providerId="ADAL" clId="{F5F3C352-44BA-49AA-B120-33561FCB4670}" dt="2024-06-10T06:55:12.372" v="752" actId="1076"/>
          <ac:spMkLst>
            <pc:docMk/>
            <pc:sldMk cId="329214126" sldId="2147481959"/>
            <ac:spMk id="65" creationId="{894E5700-E975-D8D2-5AD3-2E35DE8CE365}"/>
          </ac:spMkLst>
        </pc:spChg>
        <pc:spChg chg="mod">
          <ac:chgData name="Annemarija Apine (LV)" userId="546f5c59-3b8d-47fd-b739-a8fadc631053" providerId="ADAL" clId="{F5F3C352-44BA-49AA-B120-33561FCB4670}" dt="2024-06-10T06:55:12.372" v="752" actId="1076"/>
          <ac:spMkLst>
            <pc:docMk/>
            <pc:sldMk cId="329214126" sldId="2147481959"/>
            <ac:spMk id="66" creationId="{8D4E5B49-05F7-6DC9-B647-FEF3369AD289}"/>
          </ac:spMkLst>
        </pc:spChg>
        <pc:grpChg chg="mod">
          <ac:chgData name="Annemarija Apine (LV)" userId="546f5c59-3b8d-47fd-b739-a8fadc631053" providerId="ADAL" clId="{F5F3C352-44BA-49AA-B120-33561FCB4670}" dt="2024-06-10T06:43:21.173" v="466" actId="1076"/>
          <ac:grpSpMkLst>
            <pc:docMk/>
            <pc:sldMk cId="329214126" sldId="2147481959"/>
            <ac:grpSpMk id="74" creationId="{DC8D4467-09A5-99C5-1A03-64C59D279CAE}"/>
          </ac:grpSpMkLst>
        </pc:grpChg>
        <pc:grpChg chg="mod">
          <ac:chgData name="Annemarija Apine (LV)" userId="546f5c59-3b8d-47fd-b739-a8fadc631053" providerId="ADAL" clId="{F5F3C352-44BA-49AA-B120-33561FCB4670}" dt="2024-06-10T06:43:15.764" v="465" actId="1076"/>
          <ac:grpSpMkLst>
            <pc:docMk/>
            <pc:sldMk cId="329214126" sldId="2147481959"/>
            <ac:grpSpMk id="79" creationId="{1F87BE46-ED96-5EBD-6F76-787AB1C42B50}"/>
          </ac:grpSpMkLst>
        </pc:grpChg>
        <pc:picChg chg="del">
          <ac:chgData name="Annemarija Apine (LV)" userId="546f5c59-3b8d-47fd-b739-a8fadc631053" providerId="ADAL" clId="{F5F3C352-44BA-49AA-B120-33561FCB4670}" dt="2024-06-10T06:38:40.703" v="404" actId="478"/>
          <ac:picMkLst>
            <pc:docMk/>
            <pc:sldMk cId="329214126" sldId="2147481959"/>
            <ac:picMk id="3074" creationId="{52E7819F-AC94-AFBF-C19D-6C494D36F9BC}"/>
          </ac:picMkLst>
        </pc:picChg>
        <pc:cxnChg chg="del mod">
          <ac:chgData name="Annemarija Apine (LV)" userId="546f5c59-3b8d-47fd-b739-a8fadc631053" providerId="ADAL" clId="{F5F3C352-44BA-49AA-B120-33561FCB4670}" dt="2024-06-10T06:44:05.679" v="480" actId="478"/>
          <ac:cxnSpMkLst>
            <pc:docMk/>
            <pc:sldMk cId="329214126" sldId="2147481959"/>
            <ac:cxnSpMk id="59" creationId="{EA3ED15A-8F00-8095-68BB-97F6A7FF0A9E}"/>
          </ac:cxnSpMkLst>
        </pc:cxnChg>
      </pc:sldChg>
    </pc:docChg>
  </pc:docChgLst>
  <pc:docChgLst>
    <pc:chgData name="Sindija Kirsteine (LV)" userId="5f25501a-2215-4bb3-9d9c-8d1484ffa7c1" providerId="ADAL" clId="{8AAD7737-BE3D-48FE-A7A6-FB4F1E491907}"/>
    <pc:docChg chg="undo redo custSel addSld delSld modSld replTag">
      <pc:chgData name="Sindija Kirsteine (LV)" userId="5f25501a-2215-4bb3-9d9c-8d1484ffa7c1" providerId="ADAL" clId="{8AAD7737-BE3D-48FE-A7A6-FB4F1E491907}" dt="2024-07-06T09:14:15.333" v="3452" actId="20577"/>
      <pc:docMkLst>
        <pc:docMk/>
      </pc:docMkLst>
      <pc:sldChg chg="addSp delSp modSp mod">
        <pc:chgData name="Sindija Kirsteine (LV)" userId="5f25501a-2215-4bb3-9d9c-8d1484ffa7c1" providerId="ADAL" clId="{8AAD7737-BE3D-48FE-A7A6-FB4F1E491907}" dt="2024-07-05T15:44:00.979" v="3068" actId="164"/>
        <pc:sldMkLst>
          <pc:docMk/>
          <pc:sldMk cId="0" sldId="257"/>
        </pc:sldMkLst>
        <pc:spChg chg="mod">
          <ac:chgData name="Sindija Kirsteine (LV)" userId="5f25501a-2215-4bb3-9d9c-8d1484ffa7c1" providerId="ADAL" clId="{8AAD7737-BE3D-48FE-A7A6-FB4F1E491907}" dt="2024-07-05T07:20:00.945" v="1195" actId="14100"/>
          <ac:spMkLst>
            <pc:docMk/>
            <pc:sldMk cId="0" sldId="257"/>
            <ac:spMk id="5" creationId="{00000000-0000-0000-0000-000000000000}"/>
          </ac:spMkLst>
        </pc:spChg>
        <pc:spChg chg="del">
          <ac:chgData name="Sindija Kirsteine (LV)" userId="5f25501a-2215-4bb3-9d9c-8d1484ffa7c1" providerId="ADAL" clId="{8AAD7737-BE3D-48FE-A7A6-FB4F1E491907}" dt="2024-07-05T07:31:05.479" v="1345" actId="478"/>
          <ac:spMkLst>
            <pc:docMk/>
            <pc:sldMk cId="0" sldId="257"/>
            <ac:spMk id="7" creationId="{23B574C8-D8B8-182A-424C-29045972A0A4}"/>
          </ac:spMkLst>
        </pc:spChg>
        <pc:spChg chg="mod">
          <ac:chgData name="Sindija Kirsteine (LV)" userId="5f25501a-2215-4bb3-9d9c-8d1484ffa7c1" providerId="ADAL" clId="{8AAD7737-BE3D-48FE-A7A6-FB4F1E491907}" dt="2024-07-05T07:16:03.724" v="1152" actId="5793"/>
          <ac:spMkLst>
            <pc:docMk/>
            <pc:sldMk cId="0" sldId="257"/>
            <ac:spMk id="9" creationId="{62995D05-3D43-D541-4A36-425124723511}"/>
          </ac:spMkLst>
        </pc:spChg>
        <pc:spChg chg="mod">
          <ac:chgData name="Sindija Kirsteine (LV)" userId="5f25501a-2215-4bb3-9d9c-8d1484ffa7c1" providerId="ADAL" clId="{8AAD7737-BE3D-48FE-A7A6-FB4F1E491907}" dt="2024-07-05T07:32:15.359" v="1357" actId="20577"/>
          <ac:spMkLst>
            <pc:docMk/>
            <pc:sldMk cId="0" sldId="257"/>
            <ac:spMk id="10" creationId="{00000000-0000-0000-0000-000000000000}"/>
          </ac:spMkLst>
        </pc:spChg>
        <pc:spChg chg="mod">
          <ac:chgData name="Sindija Kirsteine (LV)" userId="5f25501a-2215-4bb3-9d9c-8d1484ffa7c1" providerId="ADAL" clId="{8AAD7737-BE3D-48FE-A7A6-FB4F1E491907}" dt="2024-07-05T07:15:47.364" v="1139"/>
          <ac:spMkLst>
            <pc:docMk/>
            <pc:sldMk cId="0" sldId="257"/>
            <ac:spMk id="11" creationId="{F73F1304-6535-C49D-4525-7E631DC4AD5A}"/>
          </ac:spMkLst>
        </pc:spChg>
        <pc:spChg chg="del">
          <ac:chgData name="Sindija Kirsteine (LV)" userId="5f25501a-2215-4bb3-9d9c-8d1484ffa7c1" providerId="ADAL" clId="{8AAD7737-BE3D-48FE-A7A6-FB4F1E491907}" dt="2024-07-05T07:27:18.495" v="1300" actId="478"/>
          <ac:spMkLst>
            <pc:docMk/>
            <pc:sldMk cId="0" sldId="257"/>
            <ac:spMk id="15" creationId="{48F8F834-9269-223A-B034-B6291B8726AB}"/>
          </ac:spMkLst>
        </pc:spChg>
        <pc:spChg chg="mod">
          <ac:chgData name="Sindija Kirsteine (LV)" userId="5f25501a-2215-4bb3-9d9c-8d1484ffa7c1" providerId="ADAL" clId="{8AAD7737-BE3D-48FE-A7A6-FB4F1E491907}" dt="2024-07-05T07:32:27.511" v="1359" actId="20577"/>
          <ac:spMkLst>
            <pc:docMk/>
            <pc:sldMk cId="0" sldId="257"/>
            <ac:spMk id="16" creationId="{00000000-0000-0000-0000-000000000000}"/>
          </ac:spMkLst>
        </pc:spChg>
        <pc:spChg chg="mod">
          <ac:chgData name="Sindija Kirsteine (LV)" userId="5f25501a-2215-4bb3-9d9c-8d1484ffa7c1" providerId="ADAL" clId="{8AAD7737-BE3D-48FE-A7A6-FB4F1E491907}" dt="2024-07-05T07:16:16.684" v="1156" actId="20577"/>
          <ac:spMkLst>
            <pc:docMk/>
            <pc:sldMk cId="0" sldId="257"/>
            <ac:spMk id="18" creationId="{88E54120-5CC8-B947-8D87-92AECE4C0AA3}"/>
          </ac:spMkLst>
        </pc:spChg>
        <pc:spChg chg="mod">
          <ac:chgData name="Sindija Kirsteine (LV)" userId="5f25501a-2215-4bb3-9d9c-8d1484ffa7c1" providerId="ADAL" clId="{8AAD7737-BE3D-48FE-A7A6-FB4F1E491907}" dt="2024-07-05T07:33:33.104" v="1381" actId="12789"/>
          <ac:spMkLst>
            <pc:docMk/>
            <pc:sldMk cId="0" sldId="257"/>
            <ac:spMk id="21" creationId="{00000000-0000-0000-0000-000000000000}"/>
          </ac:spMkLst>
        </pc:spChg>
        <pc:spChg chg="mod">
          <ac:chgData name="Sindija Kirsteine (LV)" userId="5f25501a-2215-4bb3-9d9c-8d1484ffa7c1" providerId="ADAL" clId="{8AAD7737-BE3D-48FE-A7A6-FB4F1E491907}" dt="2024-07-05T07:26:25.986" v="1296" actId="12789"/>
          <ac:spMkLst>
            <pc:docMk/>
            <pc:sldMk cId="0" sldId="257"/>
            <ac:spMk id="22" creationId="{00000000-0000-0000-0000-000000000000}"/>
          </ac:spMkLst>
        </pc:spChg>
        <pc:spChg chg="mod">
          <ac:chgData name="Sindija Kirsteine (LV)" userId="5f25501a-2215-4bb3-9d9c-8d1484ffa7c1" providerId="ADAL" clId="{8AAD7737-BE3D-48FE-A7A6-FB4F1E491907}" dt="2024-07-05T07:15:08.780" v="1138"/>
          <ac:spMkLst>
            <pc:docMk/>
            <pc:sldMk cId="0" sldId="257"/>
            <ac:spMk id="27" creationId="{FE4065D5-5844-92B0-D2CC-BCC509607FB4}"/>
          </ac:spMkLst>
        </pc:spChg>
        <pc:spChg chg="mod">
          <ac:chgData name="Sindija Kirsteine (LV)" userId="5f25501a-2215-4bb3-9d9c-8d1484ffa7c1" providerId="ADAL" clId="{8AAD7737-BE3D-48FE-A7A6-FB4F1E491907}" dt="2024-07-05T07:33:44.864" v="1382" actId="12788"/>
          <ac:spMkLst>
            <pc:docMk/>
            <pc:sldMk cId="0" sldId="257"/>
            <ac:spMk id="28" creationId="{CB7AF331-0FD6-6AD2-619B-5D6E10316069}"/>
          </ac:spMkLst>
        </pc:spChg>
        <pc:spChg chg="mod">
          <ac:chgData name="Sindija Kirsteine (LV)" userId="5f25501a-2215-4bb3-9d9c-8d1484ffa7c1" providerId="ADAL" clId="{8AAD7737-BE3D-48FE-A7A6-FB4F1E491907}" dt="2024-07-05T07:26:22.218" v="1295" actId="12789"/>
          <ac:spMkLst>
            <pc:docMk/>
            <pc:sldMk cId="0" sldId="257"/>
            <ac:spMk id="30" creationId="{1F6F023A-4A4D-1841-BACD-F72EB03805DD}"/>
          </ac:spMkLst>
        </pc:spChg>
        <pc:spChg chg="mod">
          <ac:chgData name="Sindija Kirsteine (LV)" userId="5f25501a-2215-4bb3-9d9c-8d1484ffa7c1" providerId="ADAL" clId="{8AAD7737-BE3D-48FE-A7A6-FB4F1E491907}" dt="2024-07-05T15:43:37.936" v="3064" actId="1076"/>
          <ac:spMkLst>
            <pc:docMk/>
            <pc:sldMk cId="0" sldId="257"/>
            <ac:spMk id="32" creationId="{87542C18-251C-22CF-EE40-41B70EC2A8E8}"/>
          </ac:spMkLst>
        </pc:spChg>
        <pc:spChg chg="mod">
          <ac:chgData name="Sindija Kirsteine (LV)" userId="5f25501a-2215-4bb3-9d9c-8d1484ffa7c1" providerId="ADAL" clId="{8AAD7737-BE3D-48FE-A7A6-FB4F1E491907}" dt="2024-07-05T07:26:25.986" v="1296" actId="12789"/>
          <ac:spMkLst>
            <pc:docMk/>
            <pc:sldMk cId="0" sldId="257"/>
            <ac:spMk id="38" creationId="{DE74A4CA-4C1D-22E5-62BF-A832DAE4EE81}"/>
          </ac:spMkLst>
        </pc:spChg>
        <pc:spChg chg="mod">
          <ac:chgData name="Sindija Kirsteine (LV)" userId="5f25501a-2215-4bb3-9d9c-8d1484ffa7c1" providerId="ADAL" clId="{8AAD7737-BE3D-48FE-A7A6-FB4F1E491907}" dt="2024-07-05T07:30:07.612" v="1344" actId="12789"/>
          <ac:spMkLst>
            <pc:docMk/>
            <pc:sldMk cId="0" sldId="257"/>
            <ac:spMk id="39" creationId="{4EF01589-01A7-6A78-B7D2-814CD824AA04}"/>
          </ac:spMkLst>
        </pc:spChg>
        <pc:spChg chg="mod">
          <ac:chgData name="Sindija Kirsteine (LV)" userId="5f25501a-2215-4bb3-9d9c-8d1484ffa7c1" providerId="ADAL" clId="{8AAD7737-BE3D-48FE-A7A6-FB4F1E491907}" dt="2024-07-05T07:33:51.781" v="1383" actId="12789"/>
          <ac:spMkLst>
            <pc:docMk/>
            <pc:sldMk cId="0" sldId="257"/>
            <ac:spMk id="40" creationId="{0805E0AF-46E5-F09E-3FE2-7E843A4378CA}"/>
          </ac:spMkLst>
        </pc:spChg>
        <pc:spChg chg="mod">
          <ac:chgData name="Sindija Kirsteine (LV)" userId="5f25501a-2215-4bb3-9d9c-8d1484ffa7c1" providerId="ADAL" clId="{8AAD7737-BE3D-48FE-A7A6-FB4F1E491907}" dt="2024-07-05T07:16:48.240" v="1159" actId="20577"/>
          <ac:spMkLst>
            <pc:docMk/>
            <pc:sldMk cId="0" sldId="257"/>
            <ac:spMk id="42" creationId="{34D595CF-9DA2-588B-1387-A541F43C597D}"/>
          </ac:spMkLst>
        </pc:spChg>
        <pc:spChg chg="mod">
          <ac:chgData name="Sindija Kirsteine (LV)" userId="5f25501a-2215-4bb3-9d9c-8d1484ffa7c1" providerId="ADAL" clId="{8AAD7737-BE3D-48FE-A7A6-FB4F1E491907}" dt="2024-07-05T07:33:51.781" v="1383" actId="12789"/>
          <ac:spMkLst>
            <pc:docMk/>
            <pc:sldMk cId="0" sldId="257"/>
            <ac:spMk id="44" creationId="{53320ABC-52AB-9CE3-1677-02704F4A4515}"/>
          </ac:spMkLst>
        </pc:spChg>
        <pc:spChg chg="mod">
          <ac:chgData name="Sindija Kirsteine (LV)" userId="5f25501a-2215-4bb3-9d9c-8d1484ffa7c1" providerId="ADAL" clId="{8AAD7737-BE3D-48FE-A7A6-FB4F1E491907}" dt="2024-07-05T07:26:07.859" v="1293" actId="12789"/>
          <ac:spMkLst>
            <pc:docMk/>
            <pc:sldMk cId="0" sldId="257"/>
            <ac:spMk id="62" creationId="{587F8174-78B8-BCDF-9314-F8892430D915}"/>
          </ac:spMkLst>
        </pc:spChg>
        <pc:spChg chg="mod topLvl">
          <ac:chgData name="Sindija Kirsteine (LV)" userId="5f25501a-2215-4bb3-9d9c-8d1484ffa7c1" providerId="ADAL" clId="{8AAD7737-BE3D-48FE-A7A6-FB4F1E491907}" dt="2024-07-05T15:44:00.979" v="3068" actId="164"/>
          <ac:spMkLst>
            <pc:docMk/>
            <pc:sldMk cId="0" sldId="257"/>
            <ac:spMk id="2053" creationId="{0ECD4AE9-C58A-7B4F-5776-2EDCB013787D}"/>
          </ac:spMkLst>
        </pc:spChg>
        <pc:spChg chg="mod">
          <ac:chgData name="Sindija Kirsteine (LV)" userId="5f25501a-2215-4bb3-9d9c-8d1484ffa7c1" providerId="ADAL" clId="{8AAD7737-BE3D-48FE-A7A6-FB4F1E491907}" dt="2024-07-05T07:34:17.397" v="1384" actId="207"/>
          <ac:spMkLst>
            <pc:docMk/>
            <pc:sldMk cId="0" sldId="257"/>
            <ac:spMk id="2056" creationId="{770B72B2-7D90-50CE-3BC9-993F0EC1B866}"/>
          </ac:spMkLst>
        </pc:spChg>
        <pc:spChg chg="mod topLvl">
          <ac:chgData name="Sindija Kirsteine (LV)" userId="5f25501a-2215-4bb3-9d9c-8d1484ffa7c1" providerId="ADAL" clId="{8AAD7737-BE3D-48FE-A7A6-FB4F1E491907}" dt="2024-07-05T15:44:00.979" v="3068" actId="164"/>
          <ac:spMkLst>
            <pc:docMk/>
            <pc:sldMk cId="0" sldId="257"/>
            <ac:spMk id="2057" creationId="{85E05270-D33B-3CDD-CBB6-DCC9EEA5D7C9}"/>
          </ac:spMkLst>
        </pc:spChg>
        <pc:spChg chg="mod topLvl">
          <ac:chgData name="Sindija Kirsteine (LV)" userId="5f25501a-2215-4bb3-9d9c-8d1484ffa7c1" providerId="ADAL" clId="{8AAD7737-BE3D-48FE-A7A6-FB4F1E491907}" dt="2024-07-05T15:44:00.979" v="3068" actId="164"/>
          <ac:spMkLst>
            <pc:docMk/>
            <pc:sldMk cId="0" sldId="257"/>
            <ac:spMk id="2061" creationId="{0AA84628-5C24-AB24-0C28-ED8473D48584}"/>
          </ac:spMkLst>
        </pc:spChg>
        <pc:spChg chg="mod topLvl">
          <ac:chgData name="Sindija Kirsteine (LV)" userId="5f25501a-2215-4bb3-9d9c-8d1484ffa7c1" providerId="ADAL" clId="{8AAD7737-BE3D-48FE-A7A6-FB4F1E491907}" dt="2024-07-05T15:44:00.979" v="3068" actId="164"/>
          <ac:spMkLst>
            <pc:docMk/>
            <pc:sldMk cId="0" sldId="257"/>
            <ac:spMk id="2062" creationId="{6393887F-B9C8-6177-3D6A-6054B7E6C4EC}"/>
          </ac:spMkLst>
        </pc:spChg>
        <pc:spChg chg="mod topLvl">
          <ac:chgData name="Sindija Kirsteine (LV)" userId="5f25501a-2215-4bb3-9d9c-8d1484ffa7c1" providerId="ADAL" clId="{8AAD7737-BE3D-48FE-A7A6-FB4F1E491907}" dt="2024-07-05T15:44:00.979" v="3068" actId="164"/>
          <ac:spMkLst>
            <pc:docMk/>
            <pc:sldMk cId="0" sldId="257"/>
            <ac:spMk id="2063" creationId="{FE8002F2-ACE3-DCE0-3364-ED45B33A50FB}"/>
          </ac:spMkLst>
        </pc:spChg>
        <pc:spChg chg="mod topLvl">
          <ac:chgData name="Sindija Kirsteine (LV)" userId="5f25501a-2215-4bb3-9d9c-8d1484ffa7c1" providerId="ADAL" clId="{8AAD7737-BE3D-48FE-A7A6-FB4F1E491907}" dt="2024-07-05T15:44:00.979" v="3068" actId="164"/>
          <ac:spMkLst>
            <pc:docMk/>
            <pc:sldMk cId="0" sldId="257"/>
            <ac:spMk id="2064" creationId="{9FC49241-E7B5-17FF-0AA8-A83C82467E75}"/>
          </ac:spMkLst>
        </pc:spChg>
        <pc:grpChg chg="add mod">
          <ac:chgData name="Sindija Kirsteine (LV)" userId="5f25501a-2215-4bb3-9d9c-8d1484ffa7c1" providerId="ADAL" clId="{8AAD7737-BE3D-48FE-A7A6-FB4F1E491907}" dt="2024-07-05T07:26:25.986" v="1296" actId="12789"/>
          <ac:grpSpMkLst>
            <pc:docMk/>
            <pc:sldMk cId="0" sldId="257"/>
            <ac:grpSpMk id="2" creationId="{139B1DFA-7A2C-077A-1DE0-4FC8A077DBC6}"/>
          </ac:grpSpMkLst>
        </pc:grpChg>
        <pc:grpChg chg="add mod">
          <ac:chgData name="Sindija Kirsteine (LV)" userId="5f25501a-2215-4bb3-9d9c-8d1484ffa7c1" providerId="ADAL" clId="{8AAD7737-BE3D-48FE-A7A6-FB4F1E491907}" dt="2024-07-05T15:44:00.979" v="3068" actId="164"/>
          <ac:grpSpMkLst>
            <pc:docMk/>
            <pc:sldMk cId="0" sldId="257"/>
            <ac:grpSpMk id="4" creationId="{169A4EE2-7504-AD1E-7C96-98A121C485A5}"/>
          </ac:grpSpMkLst>
        </pc:grpChg>
        <pc:grpChg chg="add mod">
          <ac:chgData name="Sindija Kirsteine (LV)" userId="5f25501a-2215-4bb3-9d9c-8d1484ffa7c1" providerId="ADAL" clId="{8AAD7737-BE3D-48FE-A7A6-FB4F1E491907}" dt="2024-07-05T07:26:22.218" v="1295" actId="12789"/>
          <ac:grpSpMkLst>
            <pc:docMk/>
            <pc:sldMk cId="0" sldId="257"/>
            <ac:grpSpMk id="6" creationId="{EC26393C-A2DD-3D47-2095-017CEE98B9E5}"/>
          </ac:grpSpMkLst>
        </pc:grpChg>
        <pc:grpChg chg="add mod">
          <ac:chgData name="Sindija Kirsteine (LV)" userId="5f25501a-2215-4bb3-9d9c-8d1484ffa7c1" providerId="ADAL" clId="{8AAD7737-BE3D-48FE-A7A6-FB4F1E491907}" dt="2024-07-05T07:26:17.927" v="1294" actId="12789"/>
          <ac:grpSpMkLst>
            <pc:docMk/>
            <pc:sldMk cId="0" sldId="257"/>
            <ac:grpSpMk id="8" creationId="{CBBEF63F-C408-2D1F-6770-1AD39A8BBAFB}"/>
          </ac:grpSpMkLst>
        </pc:grpChg>
        <pc:grpChg chg="add mod">
          <ac:chgData name="Sindija Kirsteine (LV)" userId="5f25501a-2215-4bb3-9d9c-8d1484ffa7c1" providerId="ADAL" clId="{8AAD7737-BE3D-48FE-A7A6-FB4F1E491907}" dt="2024-07-05T07:33:44.864" v="1382" actId="12788"/>
          <ac:grpSpMkLst>
            <pc:docMk/>
            <pc:sldMk cId="0" sldId="257"/>
            <ac:grpSpMk id="17" creationId="{D048BF9D-E226-C834-0EBC-435763A5F246}"/>
          </ac:grpSpMkLst>
        </pc:grpChg>
        <pc:grpChg chg="add mod">
          <ac:chgData name="Sindija Kirsteine (LV)" userId="5f25501a-2215-4bb3-9d9c-8d1484ffa7c1" providerId="ADAL" clId="{8AAD7737-BE3D-48FE-A7A6-FB4F1E491907}" dt="2024-07-05T07:33:51.781" v="1383" actId="12789"/>
          <ac:grpSpMkLst>
            <pc:docMk/>
            <pc:sldMk cId="0" sldId="257"/>
            <ac:grpSpMk id="41" creationId="{17359239-44EA-E63D-605F-BEB8DAAF2BB1}"/>
          </ac:grpSpMkLst>
        </pc:grpChg>
        <pc:grpChg chg="del">
          <ac:chgData name="Sindija Kirsteine (LV)" userId="5f25501a-2215-4bb3-9d9c-8d1484ffa7c1" providerId="ADAL" clId="{8AAD7737-BE3D-48FE-A7A6-FB4F1E491907}" dt="2024-07-05T15:43:29.653" v="3061" actId="165"/>
          <ac:grpSpMkLst>
            <pc:docMk/>
            <pc:sldMk cId="0" sldId="257"/>
            <ac:grpSpMk id="2049" creationId="{023AD1A3-AAC5-35A1-8F05-9ABB3C6C1DC1}"/>
          </ac:grpSpMkLst>
        </pc:grpChg>
        <pc:picChg chg="add del mod">
          <ac:chgData name="Sindija Kirsteine (LV)" userId="5f25501a-2215-4bb3-9d9c-8d1484ffa7c1" providerId="ADAL" clId="{8AAD7737-BE3D-48FE-A7A6-FB4F1E491907}" dt="2024-07-05T07:27:14.239" v="1299" actId="478"/>
          <ac:picMkLst>
            <pc:docMk/>
            <pc:sldMk cId="0" sldId="257"/>
            <ac:picMk id="12" creationId="{3286F5E4-F7B5-CE53-B05D-F63D205CE99A}"/>
          </ac:picMkLst>
        </pc:picChg>
        <pc:picChg chg="mod">
          <ac:chgData name="Sindija Kirsteine (LV)" userId="5f25501a-2215-4bb3-9d9c-8d1484ffa7c1" providerId="ADAL" clId="{8AAD7737-BE3D-48FE-A7A6-FB4F1E491907}" dt="2024-07-05T07:33:44.864" v="1382" actId="12788"/>
          <ac:picMkLst>
            <pc:docMk/>
            <pc:sldMk cId="0" sldId="257"/>
            <ac:picMk id="23" creationId="{F237B0D1-3AFD-4E4D-96FF-72190732EA5C}"/>
          </ac:picMkLst>
        </pc:picChg>
        <pc:picChg chg="mod">
          <ac:chgData name="Sindija Kirsteine (LV)" userId="5f25501a-2215-4bb3-9d9c-8d1484ffa7c1" providerId="ADAL" clId="{8AAD7737-BE3D-48FE-A7A6-FB4F1E491907}" dt="2024-07-05T07:33:51.781" v="1383" actId="12789"/>
          <ac:picMkLst>
            <pc:docMk/>
            <pc:sldMk cId="0" sldId="257"/>
            <ac:picMk id="43" creationId="{6677BF45-B04E-D60A-7019-97FD65D1A92F}"/>
          </ac:picMkLst>
        </pc:picChg>
        <pc:picChg chg="del">
          <ac:chgData name="Sindija Kirsteine (LV)" userId="5f25501a-2215-4bb3-9d9c-8d1484ffa7c1" providerId="ADAL" clId="{8AAD7737-BE3D-48FE-A7A6-FB4F1E491907}" dt="2024-07-05T07:31:15.456" v="1346" actId="478"/>
          <ac:picMkLst>
            <pc:docMk/>
            <pc:sldMk cId="0" sldId="257"/>
            <ac:picMk id="53" creationId="{21AA6D6B-603E-58F7-4197-37DE4D33D8C8}"/>
          </ac:picMkLst>
        </pc:picChg>
        <pc:picChg chg="mod">
          <ac:chgData name="Sindija Kirsteine (LV)" userId="5f25501a-2215-4bb3-9d9c-8d1484ffa7c1" providerId="ADAL" clId="{8AAD7737-BE3D-48FE-A7A6-FB4F1E491907}" dt="2024-07-05T07:26:25.986" v="1296" actId="12789"/>
          <ac:picMkLst>
            <pc:docMk/>
            <pc:sldMk cId="0" sldId="257"/>
            <ac:picMk id="54" creationId="{2624FDFD-C0C8-4044-401B-C77C6CDE0EFC}"/>
          </ac:picMkLst>
        </pc:picChg>
        <pc:picChg chg="mod">
          <ac:chgData name="Sindija Kirsteine (LV)" userId="5f25501a-2215-4bb3-9d9c-8d1484ffa7c1" providerId="ADAL" clId="{8AAD7737-BE3D-48FE-A7A6-FB4F1E491907}" dt="2024-07-05T07:26:07.859" v="1293" actId="12789"/>
          <ac:picMkLst>
            <pc:docMk/>
            <pc:sldMk cId="0" sldId="257"/>
            <ac:picMk id="63" creationId="{E86FDF20-D216-7D08-7DD5-13FE47DA8098}"/>
          </ac:picMkLst>
        </pc:picChg>
        <pc:picChg chg="mod">
          <ac:chgData name="Sindija Kirsteine (LV)" userId="5f25501a-2215-4bb3-9d9c-8d1484ffa7c1" providerId="ADAL" clId="{8AAD7737-BE3D-48FE-A7A6-FB4F1E491907}" dt="2024-07-05T07:26:22.218" v="1295" actId="12789"/>
          <ac:picMkLst>
            <pc:docMk/>
            <pc:sldMk cId="0" sldId="257"/>
            <ac:picMk id="2050" creationId="{B7DACA1A-0743-07AE-9DF1-3C4CA230EC5D}"/>
          </ac:picMkLst>
        </pc:picChg>
        <pc:picChg chg="del">
          <ac:chgData name="Sindija Kirsteine (LV)" userId="5f25501a-2215-4bb3-9d9c-8d1484ffa7c1" providerId="ADAL" clId="{8AAD7737-BE3D-48FE-A7A6-FB4F1E491907}" dt="2024-07-05T07:27:25.880" v="1301" actId="478"/>
          <ac:picMkLst>
            <pc:docMk/>
            <pc:sldMk cId="0" sldId="257"/>
            <ac:picMk id="2052" creationId="{6181B686-6C23-3EC1-7E72-A711E542A71F}"/>
          </ac:picMkLst>
        </pc:picChg>
      </pc:sldChg>
      <pc:sldChg chg="modSp mod">
        <pc:chgData name="Sindija Kirsteine (LV)" userId="5f25501a-2215-4bb3-9d9c-8d1484ffa7c1" providerId="ADAL" clId="{8AAD7737-BE3D-48FE-A7A6-FB4F1E491907}" dt="2024-07-05T15:42:13.046" v="3021"/>
        <pc:sldMkLst>
          <pc:docMk/>
          <pc:sldMk cId="0" sldId="317"/>
        </pc:sldMkLst>
        <pc:spChg chg="mod">
          <ac:chgData name="Sindija Kirsteine (LV)" userId="5f25501a-2215-4bb3-9d9c-8d1484ffa7c1" providerId="ADAL" clId="{8AAD7737-BE3D-48FE-A7A6-FB4F1E491907}" dt="2024-07-05T15:42:13.046" v="3021"/>
          <ac:spMkLst>
            <pc:docMk/>
            <pc:sldMk cId="0" sldId="317"/>
            <ac:spMk id="13" creationId="{5FDC8150-2678-8B85-5535-F2F0BBC12734}"/>
          </ac:spMkLst>
        </pc:spChg>
        <pc:spChg chg="mod">
          <ac:chgData name="Sindija Kirsteine (LV)" userId="5f25501a-2215-4bb3-9d9c-8d1484ffa7c1" providerId="ADAL" clId="{8AAD7737-BE3D-48FE-A7A6-FB4F1E491907}" dt="2024-07-04T13:56:36.890" v="259"/>
          <ac:spMkLst>
            <pc:docMk/>
            <pc:sldMk cId="0" sldId="317"/>
            <ac:spMk id="21" creationId="{81BA8ACB-F717-622A-8E55-7DDEAFC69175}"/>
          </ac:spMkLst>
        </pc:spChg>
        <pc:spChg chg="mod">
          <ac:chgData name="Sindija Kirsteine (LV)" userId="5f25501a-2215-4bb3-9d9c-8d1484ffa7c1" providerId="ADAL" clId="{8AAD7737-BE3D-48FE-A7A6-FB4F1E491907}" dt="2024-07-04T13:57:29.063" v="281" actId="20577"/>
          <ac:spMkLst>
            <pc:docMk/>
            <pc:sldMk cId="0" sldId="317"/>
            <ac:spMk id="29" creationId="{5574D7B1-6FAF-4EF4-9006-9E83166E5D67}"/>
          </ac:spMkLst>
        </pc:spChg>
        <pc:spChg chg="mod">
          <ac:chgData name="Sindija Kirsteine (LV)" userId="5f25501a-2215-4bb3-9d9c-8d1484ffa7c1" providerId="ADAL" clId="{8AAD7737-BE3D-48FE-A7A6-FB4F1E491907}" dt="2024-07-04T13:59:10.381" v="282"/>
          <ac:spMkLst>
            <pc:docMk/>
            <pc:sldMk cId="0" sldId="317"/>
            <ac:spMk id="33" creationId="{E5E0FC03-01B5-ADF6-557D-2E1E7E911E8B}"/>
          </ac:spMkLst>
        </pc:spChg>
        <pc:spChg chg="mod">
          <ac:chgData name="Sindija Kirsteine (LV)" userId="5f25501a-2215-4bb3-9d9c-8d1484ffa7c1" providerId="ADAL" clId="{8AAD7737-BE3D-48FE-A7A6-FB4F1E491907}" dt="2024-07-04T13:59:52.865" v="292"/>
          <ac:spMkLst>
            <pc:docMk/>
            <pc:sldMk cId="0" sldId="317"/>
            <ac:spMk id="34" creationId="{D44AE823-592A-ECA3-A50B-68DFE4DB7171}"/>
          </ac:spMkLst>
        </pc:spChg>
        <pc:spChg chg="mod">
          <ac:chgData name="Sindija Kirsteine (LV)" userId="5f25501a-2215-4bb3-9d9c-8d1484ffa7c1" providerId="ADAL" clId="{8AAD7737-BE3D-48FE-A7A6-FB4F1E491907}" dt="2024-07-04T14:00:50.170" v="298"/>
          <ac:spMkLst>
            <pc:docMk/>
            <pc:sldMk cId="0" sldId="317"/>
            <ac:spMk id="35" creationId="{0242BEA4-F4CA-3551-DC3D-70B900B999AD}"/>
          </ac:spMkLst>
        </pc:spChg>
        <pc:spChg chg="mod">
          <ac:chgData name="Sindija Kirsteine (LV)" userId="5f25501a-2215-4bb3-9d9c-8d1484ffa7c1" providerId="ADAL" clId="{8AAD7737-BE3D-48FE-A7A6-FB4F1E491907}" dt="2024-07-04T14:01:19.074" v="299"/>
          <ac:spMkLst>
            <pc:docMk/>
            <pc:sldMk cId="0" sldId="317"/>
            <ac:spMk id="36" creationId="{3668AD13-713C-AE01-8868-1A88134CDB3B}"/>
          </ac:spMkLst>
        </pc:spChg>
        <pc:spChg chg="mod">
          <ac:chgData name="Sindija Kirsteine (LV)" userId="5f25501a-2215-4bb3-9d9c-8d1484ffa7c1" providerId="ADAL" clId="{8AAD7737-BE3D-48FE-A7A6-FB4F1E491907}" dt="2024-07-04T14:01:30.939" v="300"/>
          <ac:spMkLst>
            <pc:docMk/>
            <pc:sldMk cId="0" sldId="317"/>
            <ac:spMk id="43014" creationId="{696B08F4-1589-D083-5F6F-A8FA92075C92}"/>
          </ac:spMkLst>
        </pc:spChg>
        <pc:spChg chg="mod">
          <ac:chgData name="Sindija Kirsteine (LV)" userId="5f25501a-2215-4bb3-9d9c-8d1484ffa7c1" providerId="ADAL" clId="{8AAD7737-BE3D-48FE-A7A6-FB4F1E491907}" dt="2024-07-04T14:01:44.463" v="302" actId="20577"/>
          <ac:spMkLst>
            <pc:docMk/>
            <pc:sldMk cId="0" sldId="317"/>
            <ac:spMk id="43015" creationId="{709CBB9D-B64E-9EDD-A1B2-2B32373AC0F6}"/>
          </ac:spMkLst>
        </pc:spChg>
        <pc:spChg chg="mod">
          <ac:chgData name="Sindija Kirsteine (LV)" userId="5f25501a-2215-4bb3-9d9c-8d1484ffa7c1" providerId="ADAL" clId="{8AAD7737-BE3D-48FE-A7A6-FB4F1E491907}" dt="2024-07-04T14:01:57.185" v="303"/>
          <ac:spMkLst>
            <pc:docMk/>
            <pc:sldMk cId="0" sldId="317"/>
            <ac:spMk id="43016" creationId="{F13453CE-C15D-4CD6-29C6-01CAFCA1F40F}"/>
          </ac:spMkLst>
        </pc:spChg>
        <pc:spChg chg="mod">
          <ac:chgData name="Sindija Kirsteine (LV)" userId="5f25501a-2215-4bb3-9d9c-8d1484ffa7c1" providerId="ADAL" clId="{8AAD7737-BE3D-48FE-A7A6-FB4F1E491907}" dt="2024-07-04T14:02:10.049" v="304"/>
          <ac:spMkLst>
            <pc:docMk/>
            <pc:sldMk cId="0" sldId="317"/>
            <ac:spMk id="43017" creationId="{E0BDA50B-AF7B-6CC0-96A4-E7E42A907BD3}"/>
          </ac:spMkLst>
        </pc:spChg>
      </pc:sldChg>
      <pc:sldChg chg="addSp delSp modSp mod">
        <pc:chgData name="Sindija Kirsteine (LV)" userId="5f25501a-2215-4bb3-9d9c-8d1484ffa7c1" providerId="ADAL" clId="{8AAD7737-BE3D-48FE-A7A6-FB4F1E491907}" dt="2024-07-06T08:46:26.919" v="3353" actId="13926"/>
        <pc:sldMkLst>
          <pc:docMk/>
          <pc:sldMk cId="12612729" sldId="761"/>
        </pc:sldMkLst>
        <pc:spChg chg="mod">
          <ac:chgData name="Sindija Kirsteine (LV)" userId="5f25501a-2215-4bb3-9d9c-8d1484ffa7c1" providerId="ADAL" clId="{8AAD7737-BE3D-48FE-A7A6-FB4F1E491907}" dt="2024-07-05T15:42:24.828" v="3030"/>
          <ac:spMkLst>
            <pc:docMk/>
            <pc:sldMk cId="12612729" sldId="761"/>
            <ac:spMk id="3" creationId="{2BFEC6BB-2212-6227-6CEA-831977DAA4F9}"/>
          </ac:spMkLst>
        </pc:spChg>
        <pc:spChg chg="mod">
          <ac:chgData name="Sindija Kirsteine (LV)" userId="5f25501a-2215-4bb3-9d9c-8d1484ffa7c1" providerId="ADAL" clId="{8AAD7737-BE3D-48FE-A7A6-FB4F1E491907}" dt="2024-07-05T15:42:24.828" v="3030"/>
          <ac:spMkLst>
            <pc:docMk/>
            <pc:sldMk cId="12612729" sldId="761"/>
            <ac:spMk id="12" creationId="{B1AE9793-C1A7-4ED0-ACB1-A3F58FF00741}"/>
          </ac:spMkLst>
        </pc:spChg>
        <pc:spChg chg="mod">
          <ac:chgData name="Sindija Kirsteine (LV)" userId="5f25501a-2215-4bb3-9d9c-8d1484ffa7c1" providerId="ADAL" clId="{8AAD7737-BE3D-48FE-A7A6-FB4F1E491907}" dt="2024-07-05T15:42:24.828" v="3030"/>
          <ac:spMkLst>
            <pc:docMk/>
            <pc:sldMk cId="12612729" sldId="761"/>
            <ac:spMk id="13" creationId="{A23891ED-3D6B-5D07-0D10-0BC8045C3536}"/>
          </ac:spMkLst>
        </pc:spChg>
        <pc:spChg chg="mod">
          <ac:chgData name="Sindija Kirsteine (LV)" userId="5f25501a-2215-4bb3-9d9c-8d1484ffa7c1" providerId="ADAL" clId="{8AAD7737-BE3D-48FE-A7A6-FB4F1E491907}" dt="2024-07-05T15:42:24.828" v="3030"/>
          <ac:spMkLst>
            <pc:docMk/>
            <pc:sldMk cId="12612729" sldId="761"/>
            <ac:spMk id="14" creationId="{91113C01-0A6B-3B44-84DD-8D7BDDB9C524}"/>
          </ac:spMkLst>
        </pc:spChg>
        <pc:spChg chg="mod">
          <ac:chgData name="Sindija Kirsteine (LV)" userId="5f25501a-2215-4bb3-9d9c-8d1484ffa7c1" providerId="ADAL" clId="{8AAD7737-BE3D-48FE-A7A6-FB4F1E491907}" dt="2024-07-05T15:42:24.828" v="3030"/>
          <ac:spMkLst>
            <pc:docMk/>
            <pc:sldMk cId="12612729" sldId="761"/>
            <ac:spMk id="15" creationId="{505CBD98-FC22-59D8-7111-F59F8BEE7F92}"/>
          </ac:spMkLst>
        </pc:spChg>
        <pc:spChg chg="mod">
          <ac:chgData name="Sindija Kirsteine (LV)" userId="5f25501a-2215-4bb3-9d9c-8d1484ffa7c1" providerId="ADAL" clId="{8AAD7737-BE3D-48FE-A7A6-FB4F1E491907}" dt="2024-07-05T15:42:24.828" v="3030"/>
          <ac:spMkLst>
            <pc:docMk/>
            <pc:sldMk cId="12612729" sldId="761"/>
            <ac:spMk id="16" creationId="{6B71FEEA-29F4-6732-7162-3241679DCB24}"/>
          </ac:spMkLst>
        </pc:spChg>
        <pc:spChg chg="mod">
          <ac:chgData name="Sindija Kirsteine (LV)" userId="5f25501a-2215-4bb3-9d9c-8d1484ffa7c1" providerId="ADAL" clId="{8AAD7737-BE3D-48FE-A7A6-FB4F1E491907}" dt="2024-07-05T15:47:42.519" v="3203" actId="20577"/>
          <ac:spMkLst>
            <pc:docMk/>
            <pc:sldMk cId="12612729" sldId="761"/>
            <ac:spMk id="31" creationId="{FAB8C7BF-E397-506D-FF45-BC8578AECA02}"/>
          </ac:spMkLst>
        </pc:spChg>
        <pc:spChg chg="mod">
          <ac:chgData name="Sindija Kirsteine (LV)" userId="5f25501a-2215-4bb3-9d9c-8d1484ffa7c1" providerId="ADAL" clId="{8AAD7737-BE3D-48FE-A7A6-FB4F1E491907}" dt="2024-07-04T14:48:56.139" v="439" actId="113"/>
          <ac:spMkLst>
            <pc:docMk/>
            <pc:sldMk cId="12612729" sldId="761"/>
            <ac:spMk id="38" creationId="{352DEB54-7FDE-EE3B-5721-A2A76790BF32}"/>
          </ac:spMkLst>
        </pc:spChg>
        <pc:spChg chg="mod">
          <ac:chgData name="Sindija Kirsteine (LV)" userId="5f25501a-2215-4bb3-9d9c-8d1484ffa7c1" providerId="ADAL" clId="{8AAD7737-BE3D-48FE-A7A6-FB4F1E491907}" dt="2024-07-06T08:46:26.919" v="3353" actId="13926"/>
          <ac:spMkLst>
            <pc:docMk/>
            <pc:sldMk cId="12612729" sldId="761"/>
            <ac:spMk id="40" creationId="{36D6E8CF-BFDF-5A95-3F0B-E732A2ABC0C9}"/>
          </ac:spMkLst>
        </pc:spChg>
        <pc:spChg chg="mod">
          <ac:chgData name="Sindija Kirsteine (LV)" userId="5f25501a-2215-4bb3-9d9c-8d1484ffa7c1" providerId="ADAL" clId="{8AAD7737-BE3D-48FE-A7A6-FB4F1E491907}" dt="2024-07-05T09:30:14.330" v="2395" actId="13926"/>
          <ac:spMkLst>
            <pc:docMk/>
            <pc:sldMk cId="12612729" sldId="761"/>
            <ac:spMk id="42" creationId="{5F494258-283A-E20E-984C-57F69A3BAA29}"/>
          </ac:spMkLst>
        </pc:spChg>
        <pc:grpChg chg="add mod">
          <ac:chgData name="Sindija Kirsteine (LV)" userId="5f25501a-2215-4bb3-9d9c-8d1484ffa7c1" providerId="ADAL" clId="{8AAD7737-BE3D-48FE-A7A6-FB4F1E491907}" dt="2024-07-05T15:42:24.828" v="3030"/>
          <ac:grpSpMkLst>
            <pc:docMk/>
            <pc:sldMk cId="12612729" sldId="761"/>
            <ac:grpSpMk id="2" creationId="{3D26F88E-A150-751B-B425-EABFE33EAFF8}"/>
          </ac:grpSpMkLst>
        </pc:grpChg>
        <pc:grpChg chg="del">
          <ac:chgData name="Sindija Kirsteine (LV)" userId="5f25501a-2215-4bb3-9d9c-8d1484ffa7c1" providerId="ADAL" clId="{8AAD7737-BE3D-48FE-A7A6-FB4F1E491907}" dt="2024-07-05T15:42:24.572" v="3029" actId="478"/>
          <ac:grpSpMkLst>
            <pc:docMk/>
            <pc:sldMk cId="12612729" sldId="761"/>
            <ac:grpSpMk id="5" creationId="{2693DA49-B5B8-2627-23E0-154FD13AD166}"/>
          </ac:grpSpMkLst>
        </pc:grpChg>
      </pc:sldChg>
      <pc:sldChg chg="addSp delSp modSp mod">
        <pc:chgData name="Sindija Kirsteine (LV)" userId="5f25501a-2215-4bb3-9d9c-8d1484ffa7c1" providerId="ADAL" clId="{8AAD7737-BE3D-48FE-A7A6-FB4F1E491907}" dt="2024-07-05T15:42:32.110" v="3036"/>
        <pc:sldMkLst>
          <pc:docMk/>
          <pc:sldMk cId="2326445928" sldId="764"/>
        </pc:sldMkLst>
        <pc:spChg chg="mod">
          <ac:chgData name="Sindija Kirsteine (LV)" userId="5f25501a-2215-4bb3-9d9c-8d1484ffa7c1" providerId="ADAL" clId="{8AAD7737-BE3D-48FE-A7A6-FB4F1E491907}" dt="2024-07-05T15:42:32.110" v="3036"/>
          <ac:spMkLst>
            <pc:docMk/>
            <pc:sldMk cId="2326445928" sldId="764"/>
            <ac:spMk id="3" creationId="{39D926DA-BD9B-9927-6E82-FF578AE615C6}"/>
          </ac:spMkLst>
        </pc:spChg>
        <pc:spChg chg="mod">
          <ac:chgData name="Sindija Kirsteine (LV)" userId="5f25501a-2215-4bb3-9d9c-8d1484ffa7c1" providerId="ADAL" clId="{8AAD7737-BE3D-48FE-A7A6-FB4F1E491907}" dt="2024-07-05T15:42:32.110" v="3036"/>
          <ac:spMkLst>
            <pc:docMk/>
            <pc:sldMk cId="2326445928" sldId="764"/>
            <ac:spMk id="6" creationId="{B53B056B-B490-A5FB-6E0E-CA8E8827D0BF}"/>
          </ac:spMkLst>
        </pc:spChg>
        <pc:spChg chg="mod">
          <ac:chgData name="Sindija Kirsteine (LV)" userId="5f25501a-2215-4bb3-9d9c-8d1484ffa7c1" providerId="ADAL" clId="{8AAD7737-BE3D-48FE-A7A6-FB4F1E491907}" dt="2024-07-05T15:42:32.110" v="3036"/>
          <ac:spMkLst>
            <pc:docMk/>
            <pc:sldMk cId="2326445928" sldId="764"/>
            <ac:spMk id="9" creationId="{499E91B8-8BF6-2F7C-D17B-B4BD35C462EA}"/>
          </ac:spMkLst>
        </pc:spChg>
        <pc:spChg chg="mod">
          <ac:chgData name="Sindija Kirsteine (LV)" userId="5f25501a-2215-4bb3-9d9c-8d1484ffa7c1" providerId="ADAL" clId="{8AAD7737-BE3D-48FE-A7A6-FB4F1E491907}" dt="2024-07-05T15:42:32.110" v="3036"/>
          <ac:spMkLst>
            <pc:docMk/>
            <pc:sldMk cId="2326445928" sldId="764"/>
            <ac:spMk id="10" creationId="{CF16BCAA-570F-A770-48F5-3C640056F64A}"/>
          </ac:spMkLst>
        </pc:spChg>
        <pc:spChg chg="mod">
          <ac:chgData name="Sindija Kirsteine (LV)" userId="5f25501a-2215-4bb3-9d9c-8d1484ffa7c1" providerId="ADAL" clId="{8AAD7737-BE3D-48FE-A7A6-FB4F1E491907}" dt="2024-07-05T15:42:32.110" v="3036"/>
          <ac:spMkLst>
            <pc:docMk/>
            <pc:sldMk cId="2326445928" sldId="764"/>
            <ac:spMk id="11" creationId="{701A46ED-E8FE-E53F-FB2F-2A44996906FC}"/>
          </ac:spMkLst>
        </pc:spChg>
        <pc:spChg chg="mod">
          <ac:chgData name="Sindija Kirsteine (LV)" userId="5f25501a-2215-4bb3-9d9c-8d1484ffa7c1" providerId="ADAL" clId="{8AAD7737-BE3D-48FE-A7A6-FB4F1E491907}" dt="2024-07-05T15:42:32.110" v="3036"/>
          <ac:spMkLst>
            <pc:docMk/>
            <pc:sldMk cId="2326445928" sldId="764"/>
            <ac:spMk id="12" creationId="{45245B99-B087-2AA9-B5FE-298FD3C6A8F2}"/>
          </ac:spMkLst>
        </pc:spChg>
        <pc:spChg chg="add del mod">
          <ac:chgData name="Sindija Kirsteine (LV)" userId="5f25501a-2215-4bb3-9d9c-8d1484ffa7c1" providerId="ADAL" clId="{8AAD7737-BE3D-48FE-A7A6-FB4F1E491907}" dt="2024-07-05T09:32:14.159" v="2405" actId="478"/>
          <ac:spMkLst>
            <pc:docMk/>
            <pc:sldMk cId="2326445928" sldId="764"/>
            <ac:spMk id="13" creationId="{A4ED7873-7890-2B51-E483-A4913CDC3010}"/>
          </ac:spMkLst>
        </pc:spChg>
        <pc:spChg chg="mod">
          <ac:chgData name="Sindija Kirsteine (LV)" userId="5f25501a-2215-4bb3-9d9c-8d1484ffa7c1" providerId="ADAL" clId="{8AAD7737-BE3D-48FE-A7A6-FB4F1E491907}" dt="2024-07-05T09:31:52.081" v="2398" actId="13926"/>
          <ac:spMkLst>
            <pc:docMk/>
            <pc:sldMk cId="2326445928" sldId="764"/>
            <ac:spMk id="63490" creationId="{80D7E509-D312-0E3E-6E10-105079AB376F}"/>
          </ac:spMkLst>
        </pc:spChg>
        <pc:grpChg chg="add mod">
          <ac:chgData name="Sindija Kirsteine (LV)" userId="5f25501a-2215-4bb3-9d9c-8d1484ffa7c1" providerId="ADAL" clId="{8AAD7737-BE3D-48FE-A7A6-FB4F1E491907}" dt="2024-07-05T15:42:32.110" v="3036"/>
          <ac:grpSpMkLst>
            <pc:docMk/>
            <pc:sldMk cId="2326445928" sldId="764"/>
            <ac:grpSpMk id="2" creationId="{9C2F37F5-99AA-8830-05A0-1F8A45AD8F47}"/>
          </ac:grpSpMkLst>
        </pc:grpChg>
        <pc:grpChg chg="del">
          <ac:chgData name="Sindija Kirsteine (LV)" userId="5f25501a-2215-4bb3-9d9c-8d1484ffa7c1" providerId="ADAL" clId="{8AAD7737-BE3D-48FE-A7A6-FB4F1E491907}" dt="2024-07-05T15:42:31.843" v="3035" actId="478"/>
          <ac:grpSpMkLst>
            <pc:docMk/>
            <pc:sldMk cId="2326445928" sldId="764"/>
            <ac:grpSpMk id="13" creationId="{A82D6DBE-F443-5CD9-C1C5-34324F9FBF35}"/>
          </ac:grpSpMkLst>
        </pc:grpChg>
      </pc:sldChg>
      <pc:sldChg chg="addSp delSp modSp mod">
        <pc:chgData name="Sindija Kirsteine (LV)" userId="5f25501a-2215-4bb3-9d9c-8d1484ffa7c1" providerId="ADAL" clId="{8AAD7737-BE3D-48FE-A7A6-FB4F1E491907}" dt="2024-07-06T09:07:33.004" v="3413" actId="478"/>
        <pc:sldMkLst>
          <pc:docMk/>
          <pc:sldMk cId="4204094504" sldId="769"/>
        </pc:sldMkLst>
        <pc:spChg chg="mod">
          <ac:chgData name="Sindija Kirsteine (LV)" userId="5f25501a-2215-4bb3-9d9c-8d1484ffa7c1" providerId="ADAL" clId="{8AAD7737-BE3D-48FE-A7A6-FB4F1E491907}" dt="2024-07-05T15:49:30.206" v="3239" actId="20577"/>
          <ac:spMkLst>
            <pc:docMk/>
            <pc:sldMk cId="4204094504" sldId="769"/>
            <ac:spMk id="5" creationId="{DA56ABBE-808E-2B50-2746-01A9549F0243}"/>
          </ac:spMkLst>
        </pc:spChg>
        <pc:spChg chg="mod">
          <ac:chgData name="Sindija Kirsteine (LV)" userId="5f25501a-2215-4bb3-9d9c-8d1484ffa7c1" providerId="ADAL" clId="{8AAD7737-BE3D-48FE-A7A6-FB4F1E491907}" dt="2024-07-05T15:44:05.842" v="3071"/>
          <ac:spMkLst>
            <pc:docMk/>
            <pc:sldMk cId="4204094504" sldId="769"/>
            <ac:spMk id="12" creationId="{DB690E5A-BFAB-C17E-D81E-35031E25C31D}"/>
          </ac:spMkLst>
        </pc:spChg>
        <pc:spChg chg="mod">
          <ac:chgData name="Sindija Kirsteine (LV)" userId="5f25501a-2215-4bb3-9d9c-8d1484ffa7c1" providerId="ADAL" clId="{8AAD7737-BE3D-48FE-A7A6-FB4F1E491907}" dt="2024-07-05T15:44:05.842" v="3071"/>
          <ac:spMkLst>
            <pc:docMk/>
            <pc:sldMk cId="4204094504" sldId="769"/>
            <ac:spMk id="13" creationId="{2FF659A0-F280-B36F-C531-4671313542F4}"/>
          </ac:spMkLst>
        </pc:spChg>
        <pc:spChg chg="mod">
          <ac:chgData name="Sindija Kirsteine (LV)" userId="5f25501a-2215-4bb3-9d9c-8d1484ffa7c1" providerId="ADAL" clId="{8AAD7737-BE3D-48FE-A7A6-FB4F1E491907}" dt="2024-07-05T15:44:05.842" v="3071"/>
          <ac:spMkLst>
            <pc:docMk/>
            <pc:sldMk cId="4204094504" sldId="769"/>
            <ac:spMk id="14" creationId="{723D3FDA-69C4-612A-A7E8-FE314B4E3720}"/>
          </ac:spMkLst>
        </pc:spChg>
        <pc:spChg chg="mod">
          <ac:chgData name="Sindija Kirsteine (LV)" userId="5f25501a-2215-4bb3-9d9c-8d1484ffa7c1" providerId="ADAL" clId="{8AAD7737-BE3D-48FE-A7A6-FB4F1E491907}" dt="2024-07-05T15:44:05.842" v="3071"/>
          <ac:spMkLst>
            <pc:docMk/>
            <pc:sldMk cId="4204094504" sldId="769"/>
            <ac:spMk id="15" creationId="{1B994E20-6775-C69A-D693-BD9F405B33D4}"/>
          </ac:spMkLst>
        </pc:spChg>
        <pc:spChg chg="mod">
          <ac:chgData name="Sindija Kirsteine (LV)" userId="5f25501a-2215-4bb3-9d9c-8d1484ffa7c1" providerId="ADAL" clId="{8AAD7737-BE3D-48FE-A7A6-FB4F1E491907}" dt="2024-07-05T15:44:05.842" v="3071"/>
          <ac:spMkLst>
            <pc:docMk/>
            <pc:sldMk cId="4204094504" sldId="769"/>
            <ac:spMk id="16" creationId="{A465EC58-A8F0-CDA7-4D5F-19B81A3B000D}"/>
          </ac:spMkLst>
        </pc:spChg>
        <pc:spChg chg="mod">
          <ac:chgData name="Sindija Kirsteine (LV)" userId="5f25501a-2215-4bb3-9d9c-8d1484ffa7c1" providerId="ADAL" clId="{8AAD7737-BE3D-48FE-A7A6-FB4F1E491907}" dt="2024-07-05T15:44:05.842" v="3071"/>
          <ac:spMkLst>
            <pc:docMk/>
            <pc:sldMk cId="4204094504" sldId="769"/>
            <ac:spMk id="17" creationId="{1E46F680-5B94-1ECD-E93F-19D258A7148E}"/>
          </ac:spMkLst>
        </pc:spChg>
        <pc:spChg chg="mod">
          <ac:chgData name="Sindija Kirsteine (LV)" userId="5f25501a-2215-4bb3-9d9c-8d1484ffa7c1" providerId="ADAL" clId="{8AAD7737-BE3D-48FE-A7A6-FB4F1E491907}" dt="2024-07-05T07:40:44.340" v="1417" actId="113"/>
          <ac:spMkLst>
            <pc:docMk/>
            <pc:sldMk cId="4204094504" sldId="769"/>
            <ac:spMk id="18" creationId="{0E1A1199-7305-2CEF-748D-6F5A22855534}"/>
          </ac:spMkLst>
        </pc:spChg>
        <pc:spChg chg="add del mod">
          <ac:chgData name="Sindija Kirsteine (LV)" userId="5f25501a-2215-4bb3-9d9c-8d1484ffa7c1" providerId="ADAL" clId="{8AAD7737-BE3D-48FE-A7A6-FB4F1E491907}" dt="2024-07-06T09:07:33.004" v="3413" actId="478"/>
          <ac:spMkLst>
            <pc:docMk/>
            <pc:sldMk cId="4204094504" sldId="769"/>
            <ac:spMk id="20" creationId="{A1B3DD91-67E5-B80F-FD3B-02872AA81503}"/>
          </ac:spMkLst>
        </pc:spChg>
        <pc:spChg chg="mod">
          <ac:chgData name="Sindija Kirsteine (LV)" userId="5f25501a-2215-4bb3-9d9c-8d1484ffa7c1" providerId="ADAL" clId="{8AAD7737-BE3D-48FE-A7A6-FB4F1E491907}" dt="2024-07-05T07:40:49.955" v="1418" actId="113"/>
          <ac:spMkLst>
            <pc:docMk/>
            <pc:sldMk cId="4204094504" sldId="769"/>
            <ac:spMk id="21" creationId="{D2B8CCD4-519B-DC9C-9476-0A79B896B75D}"/>
          </ac:spMkLst>
        </pc:spChg>
        <pc:spChg chg="mod">
          <ac:chgData name="Sindija Kirsteine (LV)" userId="5f25501a-2215-4bb3-9d9c-8d1484ffa7c1" providerId="ADAL" clId="{8AAD7737-BE3D-48FE-A7A6-FB4F1E491907}" dt="2024-07-05T07:40:53.910" v="1419" actId="113"/>
          <ac:spMkLst>
            <pc:docMk/>
            <pc:sldMk cId="4204094504" sldId="769"/>
            <ac:spMk id="22" creationId="{C2E2F87E-C09F-4B30-1919-F5E2A78F3541}"/>
          </ac:spMkLst>
        </pc:spChg>
        <pc:spChg chg="mod">
          <ac:chgData name="Sindija Kirsteine (LV)" userId="5f25501a-2215-4bb3-9d9c-8d1484ffa7c1" providerId="ADAL" clId="{8AAD7737-BE3D-48FE-A7A6-FB4F1E491907}" dt="2024-07-05T07:41:07.006" v="1421" actId="113"/>
          <ac:spMkLst>
            <pc:docMk/>
            <pc:sldMk cId="4204094504" sldId="769"/>
            <ac:spMk id="23" creationId="{B285B1A9-5FD7-D286-0263-BDDA47CD84FC}"/>
          </ac:spMkLst>
        </pc:spChg>
        <pc:spChg chg="mod">
          <ac:chgData name="Sindija Kirsteine (LV)" userId="5f25501a-2215-4bb3-9d9c-8d1484ffa7c1" providerId="ADAL" clId="{8AAD7737-BE3D-48FE-A7A6-FB4F1E491907}" dt="2024-07-05T07:41:17.738" v="1422" actId="113"/>
          <ac:spMkLst>
            <pc:docMk/>
            <pc:sldMk cId="4204094504" sldId="769"/>
            <ac:spMk id="24" creationId="{85A647CD-F728-A196-CBAF-3E4BB87AD2EB}"/>
          </ac:spMkLst>
        </pc:spChg>
        <pc:spChg chg="mod">
          <ac:chgData name="Sindija Kirsteine (LV)" userId="5f25501a-2215-4bb3-9d9c-8d1484ffa7c1" providerId="ADAL" clId="{8AAD7737-BE3D-48FE-A7A6-FB4F1E491907}" dt="2024-07-06T09:07:09.014" v="3405" actId="14100"/>
          <ac:spMkLst>
            <pc:docMk/>
            <pc:sldMk cId="4204094504" sldId="769"/>
            <ac:spMk id="36" creationId="{04C71625-7DF7-41E4-DA8A-3264225FDB5D}"/>
          </ac:spMkLst>
        </pc:spChg>
        <pc:spChg chg="mod">
          <ac:chgData name="Sindija Kirsteine (LV)" userId="5f25501a-2215-4bb3-9d9c-8d1484ffa7c1" providerId="ADAL" clId="{8AAD7737-BE3D-48FE-A7A6-FB4F1E491907}" dt="2024-07-06T09:07:20.823" v="3409" actId="207"/>
          <ac:spMkLst>
            <pc:docMk/>
            <pc:sldMk cId="4204094504" sldId="769"/>
            <ac:spMk id="38" creationId="{ED81CEB1-80E1-B817-014B-E0B1DC08E694}"/>
          </ac:spMkLst>
        </pc:spChg>
        <pc:spChg chg="mod">
          <ac:chgData name="Sindija Kirsteine (LV)" userId="5f25501a-2215-4bb3-9d9c-8d1484ffa7c1" providerId="ADAL" clId="{8AAD7737-BE3D-48FE-A7A6-FB4F1E491907}" dt="2024-07-05T07:41:24.428" v="1423" actId="113"/>
          <ac:spMkLst>
            <pc:docMk/>
            <pc:sldMk cId="4204094504" sldId="769"/>
            <ac:spMk id="52" creationId="{1A6F0133-A49C-46D0-BAE7-D428793C46FD}"/>
          </ac:spMkLst>
        </pc:spChg>
        <pc:spChg chg="mod">
          <ac:chgData name="Sindija Kirsteine (LV)" userId="5f25501a-2215-4bb3-9d9c-8d1484ffa7c1" providerId="ADAL" clId="{8AAD7737-BE3D-48FE-A7A6-FB4F1E491907}" dt="2024-07-05T07:41:44.125" v="1424" actId="113"/>
          <ac:spMkLst>
            <pc:docMk/>
            <pc:sldMk cId="4204094504" sldId="769"/>
            <ac:spMk id="56" creationId="{7AEA07A3-0C18-A843-A268-AC0CB6F31980}"/>
          </ac:spMkLst>
        </pc:spChg>
        <pc:spChg chg="mod">
          <ac:chgData name="Sindija Kirsteine (LV)" userId="5f25501a-2215-4bb3-9d9c-8d1484ffa7c1" providerId="ADAL" clId="{8AAD7737-BE3D-48FE-A7A6-FB4F1E491907}" dt="2024-07-05T07:41:53.368" v="1425" actId="113"/>
          <ac:spMkLst>
            <pc:docMk/>
            <pc:sldMk cId="4204094504" sldId="769"/>
            <ac:spMk id="57" creationId="{C2D01315-F971-7FFE-2E24-AD8D7102576E}"/>
          </ac:spMkLst>
        </pc:spChg>
        <pc:spChg chg="mod">
          <ac:chgData name="Sindija Kirsteine (LV)" userId="5f25501a-2215-4bb3-9d9c-8d1484ffa7c1" providerId="ADAL" clId="{8AAD7737-BE3D-48FE-A7A6-FB4F1E491907}" dt="2024-07-05T07:42:01.679" v="1426" actId="113"/>
          <ac:spMkLst>
            <pc:docMk/>
            <pc:sldMk cId="4204094504" sldId="769"/>
            <ac:spMk id="58" creationId="{6665E9AF-F625-24C7-85AC-71AFED4DC103}"/>
          </ac:spMkLst>
        </pc:spChg>
        <pc:spChg chg="mod">
          <ac:chgData name="Sindija Kirsteine (LV)" userId="5f25501a-2215-4bb3-9d9c-8d1484ffa7c1" providerId="ADAL" clId="{8AAD7737-BE3D-48FE-A7A6-FB4F1E491907}" dt="2024-07-05T07:42:12.307" v="1427" actId="113"/>
          <ac:spMkLst>
            <pc:docMk/>
            <pc:sldMk cId="4204094504" sldId="769"/>
            <ac:spMk id="59" creationId="{6B50B2CF-5150-1138-87C8-04385F2B498F}"/>
          </ac:spMkLst>
        </pc:spChg>
        <pc:grpChg chg="del">
          <ac:chgData name="Sindija Kirsteine (LV)" userId="5f25501a-2215-4bb3-9d9c-8d1484ffa7c1" providerId="ADAL" clId="{8AAD7737-BE3D-48FE-A7A6-FB4F1E491907}" dt="2024-07-05T15:44:05.109" v="3070" actId="478"/>
          <ac:grpSpMkLst>
            <pc:docMk/>
            <pc:sldMk cId="4204094504" sldId="769"/>
            <ac:grpSpMk id="2" creationId="{987B2D43-A164-4214-2A70-9BA216228796}"/>
          </ac:grpSpMkLst>
        </pc:grpChg>
        <pc:grpChg chg="add mod">
          <ac:chgData name="Sindija Kirsteine (LV)" userId="5f25501a-2215-4bb3-9d9c-8d1484ffa7c1" providerId="ADAL" clId="{8AAD7737-BE3D-48FE-A7A6-FB4F1E491907}" dt="2024-07-05T15:44:05.842" v="3071"/>
          <ac:grpSpMkLst>
            <pc:docMk/>
            <pc:sldMk cId="4204094504" sldId="769"/>
            <ac:grpSpMk id="3" creationId="{ECA53171-9750-4B9D-C449-25EA434BE78B}"/>
          </ac:grpSpMkLst>
        </pc:grpChg>
      </pc:sldChg>
      <pc:sldChg chg="addSp delSp modSp mod">
        <pc:chgData name="Sindija Kirsteine (LV)" userId="5f25501a-2215-4bb3-9d9c-8d1484ffa7c1" providerId="ADAL" clId="{8AAD7737-BE3D-48FE-A7A6-FB4F1E491907}" dt="2024-07-06T09:09:04.951" v="3427"/>
        <pc:sldMkLst>
          <pc:docMk/>
          <pc:sldMk cId="301651023" sldId="6887"/>
        </pc:sldMkLst>
        <pc:spChg chg="add del mod">
          <ac:chgData name="Sindija Kirsteine (LV)" userId="5f25501a-2215-4bb3-9d9c-8d1484ffa7c1" providerId="ADAL" clId="{8AAD7737-BE3D-48FE-A7A6-FB4F1E491907}" dt="2024-07-05T09:52:03.793" v="2559" actId="478"/>
          <ac:spMkLst>
            <pc:docMk/>
            <pc:sldMk cId="301651023" sldId="6887"/>
            <ac:spMk id="2" creationId="{227318BD-2EA6-A229-78D6-5BDBB8ACE08E}"/>
          </ac:spMkLst>
        </pc:spChg>
        <pc:spChg chg="add del mod">
          <ac:chgData name="Sindija Kirsteine (LV)" userId="5f25501a-2215-4bb3-9d9c-8d1484ffa7c1" providerId="ADAL" clId="{8AAD7737-BE3D-48FE-A7A6-FB4F1E491907}" dt="2024-07-05T15:44:24.022" v="3084" actId="478"/>
          <ac:spMkLst>
            <pc:docMk/>
            <pc:sldMk cId="301651023" sldId="6887"/>
            <ac:spMk id="2" creationId="{85DD028A-1CFD-4154-DE6A-E3B3A0854CCD}"/>
          </ac:spMkLst>
        </pc:spChg>
        <pc:spChg chg="mod">
          <ac:chgData name="Sindija Kirsteine (LV)" userId="5f25501a-2215-4bb3-9d9c-8d1484ffa7c1" providerId="ADAL" clId="{8AAD7737-BE3D-48FE-A7A6-FB4F1E491907}" dt="2024-07-05T15:44:21.867" v="3083"/>
          <ac:spMkLst>
            <pc:docMk/>
            <pc:sldMk cId="301651023" sldId="6887"/>
            <ac:spMk id="5" creationId="{564CD646-CAED-8E65-316E-6698540A261C}"/>
          </ac:spMkLst>
        </pc:spChg>
        <pc:spChg chg="mod">
          <ac:chgData name="Sindija Kirsteine (LV)" userId="5f25501a-2215-4bb3-9d9c-8d1484ffa7c1" providerId="ADAL" clId="{8AAD7737-BE3D-48FE-A7A6-FB4F1E491907}" dt="2024-07-05T15:44:21.867" v="3083"/>
          <ac:spMkLst>
            <pc:docMk/>
            <pc:sldMk cId="301651023" sldId="6887"/>
            <ac:spMk id="6" creationId="{DD64AF55-760E-F2B4-F8D3-38D349A5EDF9}"/>
          </ac:spMkLst>
        </pc:spChg>
        <pc:spChg chg="mod">
          <ac:chgData name="Sindija Kirsteine (LV)" userId="5f25501a-2215-4bb3-9d9c-8d1484ffa7c1" providerId="ADAL" clId="{8AAD7737-BE3D-48FE-A7A6-FB4F1E491907}" dt="2024-07-05T08:49:26.706" v="1990" actId="20577"/>
          <ac:spMkLst>
            <pc:docMk/>
            <pc:sldMk cId="301651023" sldId="6887"/>
            <ac:spMk id="7" creationId="{39A2BCF4-A012-B3B7-B096-6BC32E5F8F1C}"/>
          </ac:spMkLst>
        </pc:spChg>
        <pc:spChg chg="mod">
          <ac:chgData name="Sindija Kirsteine (LV)" userId="5f25501a-2215-4bb3-9d9c-8d1484ffa7c1" providerId="ADAL" clId="{8AAD7737-BE3D-48FE-A7A6-FB4F1E491907}" dt="2024-07-05T15:44:21.867" v="3083"/>
          <ac:spMkLst>
            <pc:docMk/>
            <pc:sldMk cId="301651023" sldId="6887"/>
            <ac:spMk id="9" creationId="{059FC09A-98A2-95C9-C691-1D9D5EA4FDD4}"/>
          </ac:spMkLst>
        </pc:spChg>
        <pc:spChg chg="mod">
          <ac:chgData name="Sindija Kirsteine (LV)" userId="5f25501a-2215-4bb3-9d9c-8d1484ffa7c1" providerId="ADAL" clId="{8AAD7737-BE3D-48FE-A7A6-FB4F1E491907}" dt="2024-07-05T09:39:46.768" v="2440"/>
          <ac:spMkLst>
            <pc:docMk/>
            <pc:sldMk cId="301651023" sldId="6887"/>
            <ac:spMk id="11" creationId="{779C3953-F620-10DF-7822-3768BDF2DA4B}"/>
          </ac:spMkLst>
        </pc:spChg>
        <pc:spChg chg="mod">
          <ac:chgData name="Sindija Kirsteine (LV)" userId="5f25501a-2215-4bb3-9d9c-8d1484ffa7c1" providerId="ADAL" clId="{8AAD7737-BE3D-48FE-A7A6-FB4F1E491907}" dt="2024-07-05T09:41:06.238" v="2449"/>
          <ac:spMkLst>
            <pc:docMk/>
            <pc:sldMk cId="301651023" sldId="6887"/>
            <ac:spMk id="13" creationId="{AC869997-F622-4670-534B-C7DC156104CF}"/>
          </ac:spMkLst>
        </pc:spChg>
        <pc:spChg chg="mod">
          <ac:chgData name="Sindija Kirsteine (LV)" userId="5f25501a-2215-4bb3-9d9c-8d1484ffa7c1" providerId="ADAL" clId="{8AAD7737-BE3D-48FE-A7A6-FB4F1E491907}" dt="2024-07-05T09:40:47.378" v="2447"/>
          <ac:spMkLst>
            <pc:docMk/>
            <pc:sldMk cId="301651023" sldId="6887"/>
            <ac:spMk id="17" creationId="{96E82AC1-C604-8D07-A614-F71829B19185}"/>
          </ac:spMkLst>
        </pc:spChg>
        <pc:spChg chg="mod">
          <ac:chgData name="Sindija Kirsteine (LV)" userId="5f25501a-2215-4bb3-9d9c-8d1484ffa7c1" providerId="ADAL" clId="{8AAD7737-BE3D-48FE-A7A6-FB4F1E491907}" dt="2024-07-05T15:44:21.867" v="3083"/>
          <ac:spMkLst>
            <pc:docMk/>
            <pc:sldMk cId="301651023" sldId="6887"/>
            <ac:spMk id="18" creationId="{C1F70528-36C2-CCA8-1C98-0BE82E9AEC6D}"/>
          </ac:spMkLst>
        </pc:spChg>
        <pc:spChg chg="mod">
          <ac:chgData name="Sindija Kirsteine (LV)" userId="5f25501a-2215-4bb3-9d9c-8d1484ffa7c1" providerId="ADAL" clId="{8AAD7737-BE3D-48FE-A7A6-FB4F1E491907}" dt="2024-07-05T15:44:21.867" v="3083"/>
          <ac:spMkLst>
            <pc:docMk/>
            <pc:sldMk cId="301651023" sldId="6887"/>
            <ac:spMk id="19" creationId="{A302BBC1-C1E5-8E92-C198-371C9A03C149}"/>
          </ac:spMkLst>
        </pc:spChg>
        <pc:spChg chg="add del mod">
          <ac:chgData name="Sindija Kirsteine (LV)" userId="5f25501a-2215-4bb3-9d9c-8d1484ffa7c1" providerId="ADAL" clId="{8AAD7737-BE3D-48FE-A7A6-FB4F1E491907}" dt="2024-07-05T09:44:39.370" v="2487" actId="11529"/>
          <ac:spMkLst>
            <pc:docMk/>
            <pc:sldMk cId="301651023" sldId="6887"/>
            <ac:spMk id="20" creationId="{62794023-505B-04E7-0AF0-D9D2F4B0EADF}"/>
          </ac:spMkLst>
        </pc:spChg>
        <pc:spChg chg="mod">
          <ac:chgData name="Sindija Kirsteine (LV)" userId="5f25501a-2215-4bb3-9d9c-8d1484ffa7c1" providerId="ADAL" clId="{8AAD7737-BE3D-48FE-A7A6-FB4F1E491907}" dt="2024-07-05T15:44:21.867" v="3083"/>
          <ac:spMkLst>
            <pc:docMk/>
            <pc:sldMk cId="301651023" sldId="6887"/>
            <ac:spMk id="21" creationId="{A3AE26B6-68C9-6B64-F285-966F9EB13CBC}"/>
          </ac:spMkLst>
        </pc:spChg>
        <pc:spChg chg="mod">
          <ac:chgData name="Sindija Kirsteine (LV)" userId="5f25501a-2215-4bb3-9d9c-8d1484ffa7c1" providerId="ADAL" clId="{8AAD7737-BE3D-48FE-A7A6-FB4F1E491907}" dt="2024-07-05T09:40:57.494" v="2448"/>
          <ac:spMkLst>
            <pc:docMk/>
            <pc:sldMk cId="301651023" sldId="6887"/>
            <ac:spMk id="23" creationId="{865A5097-EE5D-ABF9-3E1C-21456B2CD454}"/>
          </ac:spMkLst>
        </pc:spChg>
        <pc:spChg chg="add del">
          <ac:chgData name="Sindija Kirsteine (LV)" userId="5f25501a-2215-4bb3-9d9c-8d1484ffa7c1" providerId="ADAL" clId="{8AAD7737-BE3D-48FE-A7A6-FB4F1E491907}" dt="2024-07-05T09:44:50.153" v="2493" actId="478"/>
          <ac:spMkLst>
            <pc:docMk/>
            <pc:sldMk cId="301651023" sldId="6887"/>
            <ac:spMk id="28" creationId="{596E7FFA-B4D6-9F93-F75E-5BF16E60A083}"/>
          </ac:spMkLst>
        </pc:spChg>
        <pc:spChg chg="add del mod">
          <ac:chgData name="Sindija Kirsteine (LV)" userId="5f25501a-2215-4bb3-9d9c-8d1484ffa7c1" providerId="ADAL" clId="{8AAD7737-BE3D-48FE-A7A6-FB4F1E491907}" dt="2024-07-05T09:51:11.765" v="2551" actId="478"/>
          <ac:spMkLst>
            <pc:docMk/>
            <pc:sldMk cId="301651023" sldId="6887"/>
            <ac:spMk id="30" creationId="{E284B439-891D-542A-FE36-6F6D1441332E}"/>
          </ac:spMkLst>
        </pc:spChg>
        <pc:spChg chg="mod">
          <ac:chgData name="Sindija Kirsteine (LV)" userId="5f25501a-2215-4bb3-9d9c-8d1484ffa7c1" providerId="ADAL" clId="{8AAD7737-BE3D-48FE-A7A6-FB4F1E491907}" dt="2024-07-05T09:51:02.856" v="2550" actId="12789"/>
          <ac:spMkLst>
            <pc:docMk/>
            <pc:sldMk cId="301651023" sldId="6887"/>
            <ac:spMk id="36" creationId="{0E8CC5B0-4FA5-2BE8-F743-005DF962D7C9}"/>
          </ac:spMkLst>
        </pc:spChg>
        <pc:spChg chg="mod">
          <ac:chgData name="Sindija Kirsteine (LV)" userId="5f25501a-2215-4bb3-9d9c-8d1484ffa7c1" providerId="ADAL" clId="{8AAD7737-BE3D-48FE-A7A6-FB4F1E491907}" dt="2024-07-05T09:41:21.543" v="2451"/>
          <ac:spMkLst>
            <pc:docMk/>
            <pc:sldMk cId="301651023" sldId="6887"/>
            <ac:spMk id="37" creationId="{32162E6B-2E36-0CFA-B3AF-A60D2D9C580A}"/>
          </ac:spMkLst>
        </pc:spChg>
        <pc:spChg chg="mod">
          <ac:chgData name="Sindija Kirsteine (LV)" userId="5f25501a-2215-4bb3-9d9c-8d1484ffa7c1" providerId="ADAL" clId="{8AAD7737-BE3D-48FE-A7A6-FB4F1E491907}" dt="2024-07-05T09:48:47.192" v="2530" actId="554"/>
          <ac:spMkLst>
            <pc:docMk/>
            <pc:sldMk cId="301651023" sldId="6887"/>
            <ac:spMk id="39" creationId="{71F33C03-5033-9CBD-E45B-E91812DECF9C}"/>
          </ac:spMkLst>
        </pc:spChg>
        <pc:spChg chg="mod">
          <ac:chgData name="Sindija Kirsteine (LV)" userId="5f25501a-2215-4bb3-9d9c-8d1484ffa7c1" providerId="ADAL" clId="{8AAD7737-BE3D-48FE-A7A6-FB4F1E491907}" dt="2024-07-05T09:41:37.768" v="2453"/>
          <ac:spMkLst>
            <pc:docMk/>
            <pc:sldMk cId="301651023" sldId="6887"/>
            <ac:spMk id="40" creationId="{4416A52D-7C1D-1DAF-84A8-DDC8D9A30B48}"/>
          </ac:spMkLst>
        </pc:spChg>
        <pc:spChg chg="mod">
          <ac:chgData name="Sindija Kirsteine (LV)" userId="5f25501a-2215-4bb3-9d9c-8d1484ffa7c1" providerId="ADAL" clId="{8AAD7737-BE3D-48FE-A7A6-FB4F1E491907}" dt="2024-07-05T09:48:09.643" v="2523" actId="554"/>
          <ac:spMkLst>
            <pc:docMk/>
            <pc:sldMk cId="301651023" sldId="6887"/>
            <ac:spMk id="42" creationId="{3D9A8B35-A1F5-CDCF-A6F7-9A79D765C66D}"/>
          </ac:spMkLst>
        </pc:spChg>
        <pc:spChg chg="mod">
          <ac:chgData name="Sindija Kirsteine (LV)" userId="5f25501a-2215-4bb3-9d9c-8d1484ffa7c1" providerId="ADAL" clId="{8AAD7737-BE3D-48FE-A7A6-FB4F1E491907}" dt="2024-07-05T09:44:46.825" v="2491" actId="14100"/>
          <ac:spMkLst>
            <pc:docMk/>
            <pc:sldMk cId="301651023" sldId="6887"/>
            <ac:spMk id="43" creationId="{B248A7D2-F961-B7C1-6F32-6F141F3D8D30}"/>
          </ac:spMkLst>
        </pc:spChg>
        <pc:spChg chg="mod">
          <ac:chgData name="Sindija Kirsteine (LV)" userId="5f25501a-2215-4bb3-9d9c-8d1484ffa7c1" providerId="ADAL" clId="{8AAD7737-BE3D-48FE-A7A6-FB4F1E491907}" dt="2024-07-06T09:08:36.851" v="3423"/>
          <ac:spMkLst>
            <pc:docMk/>
            <pc:sldMk cId="301651023" sldId="6887"/>
            <ac:spMk id="45" creationId="{FD973CC9-7E88-EA3B-D55D-552350DB11DC}"/>
          </ac:spMkLst>
        </pc:spChg>
        <pc:spChg chg="mod">
          <ac:chgData name="Sindija Kirsteine (LV)" userId="5f25501a-2215-4bb3-9d9c-8d1484ffa7c1" providerId="ADAL" clId="{8AAD7737-BE3D-48FE-A7A6-FB4F1E491907}" dt="2024-07-06T09:08:44.731" v="3426" actId="20577"/>
          <ac:spMkLst>
            <pc:docMk/>
            <pc:sldMk cId="301651023" sldId="6887"/>
            <ac:spMk id="46" creationId="{E1B5312D-1B4F-6A17-4790-28066D72CBD0}"/>
          </ac:spMkLst>
        </pc:spChg>
        <pc:spChg chg="mod">
          <ac:chgData name="Sindija Kirsteine (LV)" userId="5f25501a-2215-4bb3-9d9c-8d1484ffa7c1" providerId="ADAL" clId="{8AAD7737-BE3D-48FE-A7A6-FB4F1E491907}" dt="2024-07-05T09:38:26.387" v="2431"/>
          <ac:spMkLst>
            <pc:docMk/>
            <pc:sldMk cId="301651023" sldId="6887"/>
            <ac:spMk id="49" creationId="{FC4B741B-2210-6530-619A-B168E7439628}"/>
          </ac:spMkLst>
        </pc:spChg>
        <pc:spChg chg="mod">
          <ac:chgData name="Sindija Kirsteine (LV)" userId="5f25501a-2215-4bb3-9d9c-8d1484ffa7c1" providerId="ADAL" clId="{8AAD7737-BE3D-48FE-A7A6-FB4F1E491907}" dt="2024-07-05T09:37:24.511" v="2426"/>
          <ac:spMkLst>
            <pc:docMk/>
            <pc:sldMk cId="301651023" sldId="6887"/>
            <ac:spMk id="54" creationId="{C621D0D4-EFB9-941F-BBD0-AEE7AF7C6F7A}"/>
          </ac:spMkLst>
        </pc:spChg>
        <pc:spChg chg="mod">
          <ac:chgData name="Sindija Kirsteine (LV)" userId="5f25501a-2215-4bb3-9d9c-8d1484ffa7c1" providerId="ADAL" clId="{8AAD7737-BE3D-48FE-A7A6-FB4F1E491907}" dt="2024-07-05T09:37:49.104" v="2427"/>
          <ac:spMkLst>
            <pc:docMk/>
            <pc:sldMk cId="301651023" sldId="6887"/>
            <ac:spMk id="55" creationId="{9B3F9703-6E55-E8A0-2A0D-7A1DFB1BA252}"/>
          </ac:spMkLst>
        </pc:spChg>
        <pc:spChg chg="mod">
          <ac:chgData name="Sindija Kirsteine (LV)" userId="5f25501a-2215-4bb3-9d9c-8d1484ffa7c1" providerId="ADAL" clId="{8AAD7737-BE3D-48FE-A7A6-FB4F1E491907}" dt="2024-07-05T09:37:56.643" v="2428"/>
          <ac:spMkLst>
            <pc:docMk/>
            <pc:sldMk cId="301651023" sldId="6887"/>
            <ac:spMk id="56" creationId="{0BB3A2EE-1FC8-B319-5738-B068DDF3BEF7}"/>
          </ac:spMkLst>
        </pc:spChg>
        <pc:spChg chg="mod">
          <ac:chgData name="Sindija Kirsteine (LV)" userId="5f25501a-2215-4bb3-9d9c-8d1484ffa7c1" providerId="ADAL" clId="{8AAD7737-BE3D-48FE-A7A6-FB4F1E491907}" dt="2024-07-05T09:43:17.727" v="2464"/>
          <ac:spMkLst>
            <pc:docMk/>
            <pc:sldMk cId="301651023" sldId="6887"/>
            <ac:spMk id="63" creationId="{361A3FCC-9B97-5E0E-E074-414EEDBE255D}"/>
          </ac:spMkLst>
        </pc:spChg>
        <pc:spChg chg="mod">
          <ac:chgData name="Sindija Kirsteine (LV)" userId="5f25501a-2215-4bb3-9d9c-8d1484ffa7c1" providerId="ADAL" clId="{8AAD7737-BE3D-48FE-A7A6-FB4F1E491907}" dt="2024-07-06T09:09:04.951" v="3427"/>
          <ac:spMkLst>
            <pc:docMk/>
            <pc:sldMk cId="301651023" sldId="6887"/>
            <ac:spMk id="71" creationId="{6F9B345C-A2B7-D774-AC43-B7970F38456E}"/>
          </ac:spMkLst>
        </pc:spChg>
        <pc:spChg chg="mod">
          <ac:chgData name="Sindija Kirsteine (LV)" userId="5f25501a-2215-4bb3-9d9c-8d1484ffa7c1" providerId="ADAL" clId="{8AAD7737-BE3D-48FE-A7A6-FB4F1E491907}" dt="2024-07-05T09:39:02.886" v="2435" actId="20577"/>
          <ac:spMkLst>
            <pc:docMk/>
            <pc:sldMk cId="301651023" sldId="6887"/>
            <ac:spMk id="73" creationId="{9C68CBB0-CF71-B2A5-D79C-AC689A0C74FB}"/>
          </ac:spMkLst>
        </pc:spChg>
        <pc:spChg chg="mod">
          <ac:chgData name="Sindija Kirsteine (LV)" userId="5f25501a-2215-4bb3-9d9c-8d1484ffa7c1" providerId="ADAL" clId="{8AAD7737-BE3D-48FE-A7A6-FB4F1E491907}" dt="2024-07-05T09:43:01.503" v="2461" actId="20577"/>
          <ac:spMkLst>
            <pc:docMk/>
            <pc:sldMk cId="301651023" sldId="6887"/>
            <ac:spMk id="79" creationId="{4A81787E-5AC3-6613-53E6-49E6F0A57B40}"/>
          </ac:spMkLst>
        </pc:spChg>
        <pc:spChg chg="mod">
          <ac:chgData name="Sindija Kirsteine (LV)" userId="5f25501a-2215-4bb3-9d9c-8d1484ffa7c1" providerId="ADAL" clId="{8AAD7737-BE3D-48FE-A7A6-FB4F1E491907}" dt="2024-07-05T09:51:02.856" v="2550" actId="12789"/>
          <ac:spMkLst>
            <pc:docMk/>
            <pc:sldMk cId="301651023" sldId="6887"/>
            <ac:spMk id="93" creationId="{43C4590C-01C0-631E-8EF9-095C17B37506}"/>
          </ac:spMkLst>
        </pc:spChg>
        <pc:spChg chg="mod">
          <ac:chgData name="Sindija Kirsteine (LV)" userId="5f25501a-2215-4bb3-9d9c-8d1484ffa7c1" providerId="ADAL" clId="{8AAD7737-BE3D-48FE-A7A6-FB4F1E491907}" dt="2024-07-05T09:48:47.192" v="2530" actId="554"/>
          <ac:spMkLst>
            <pc:docMk/>
            <pc:sldMk cId="301651023" sldId="6887"/>
            <ac:spMk id="94" creationId="{B8C5853B-84E3-0DE4-84D1-470F7DBF6DE3}"/>
          </ac:spMkLst>
        </pc:spChg>
        <pc:spChg chg="mod">
          <ac:chgData name="Sindija Kirsteine (LV)" userId="5f25501a-2215-4bb3-9d9c-8d1484ffa7c1" providerId="ADAL" clId="{8AAD7737-BE3D-48FE-A7A6-FB4F1E491907}" dt="2024-07-05T09:48:22.780" v="2525" actId="1076"/>
          <ac:spMkLst>
            <pc:docMk/>
            <pc:sldMk cId="301651023" sldId="6887"/>
            <ac:spMk id="95" creationId="{4D674C72-B2C7-8C09-C0B0-640D68164E73}"/>
          </ac:spMkLst>
        </pc:spChg>
        <pc:spChg chg="mod">
          <ac:chgData name="Sindija Kirsteine (LV)" userId="5f25501a-2215-4bb3-9d9c-8d1484ffa7c1" providerId="ADAL" clId="{8AAD7737-BE3D-48FE-A7A6-FB4F1E491907}" dt="2024-07-05T09:51:53.394" v="2558" actId="12789"/>
          <ac:spMkLst>
            <pc:docMk/>
            <pc:sldMk cId="301651023" sldId="6887"/>
            <ac:spMk id="96" creationId="{B5E80ACD-DBCD-5187-562C-41AB9660CC77}"/>
          </ac:spMkLst>
        </pc:spChg>
        <pc:grpChg chg="add mod">
          <ac:chgData name="Sindija Kirsteine (LV)" userId="5f25501a-2215-4bb3-9d9c-8d1484ffa7c1" providerId="ADAL" clId="{8AAD7737-BE3D-48FE-A7A6-FB4F1E491907}" dt="2024-07-05T15:44:21.867" v="3083"/>
          <ac:grpSpMkLst>
            <pc:docMk/>
            <pc:sldMk cId="301651023" sldId="6887"/>
            <ac:grpSpMk id="4" creationId="{9F870685-959B-2F52-BE5D-BB019CA6270F}"/>
          </ac:grpSpMkLst>
        </pc:grpChg>
        <pc:grpChg chg="del">
          <ac:chgData name="Sindija Kirsteine (LV)" userId="5f25501a-2215-4bb3-9d9c-8d1484ffa7c1" providerId="ADAL" clId="{8AAD7737-BE3D-48FE-A7A6-FB4F1E491907}" dt="2024-07-05T15:44:21.614" v="3082" actId="478"/>
          <ac:grpSpMkLst>
            <pc:docMk/>
            <pc:sldMk cId="301651023" sldId="6887"/>
            <ac:grpSpMk id="20" creationId="{C05572C5-75D2-A7A2-226A-88B5DC22778E}"/>
          </ac:grpSpMkLst>
        </pc:grpChg>
      </pc:sldChg>
      <pc:sldChg chg="modSp mod addCm delCm modCm">
        <pc:chgData name="Sindija Kirsteine (LV)" userId="5f25501a-2215-4bb3-9d9c-8d1484ffa7c1" providerId="ADAL" clId="{8AAD7737-BE3D-48FE-A7A6-FB4F1E491907}" dt="2024-07-06T07:00:03.172" v="3338" actId="20577"/>
        <pc:sldMkLst>
          <pc:docMk/>
          <pc:sldMk cId="192098022" sldId="2147481877"/>
        </pc:sldMkLst>
        <pc:spChg chg="mod">
          <ac:chgData name="Sindija Kirsteine (LV)" userId="5f25501a-2215-4bb3-9d9c-8d1484ffa7c1" providerId="ADAL" clId="{8AAD7737-BE3D-48FE-A7A6-FB4F1E491907}" dt="2024-07-06T07:00:03.172" v="3338" actId="20577"/>
          <ac:spMkLst>
            <pc:docMk/>
            <pc:sldMk cId="192098022" sldId="2147481877"/>
            <ac:spMk id="2" creationId="{44641C4F-F07F-7C71-88DD-EEFC9A9A1906}"/>
          </ac:spMkLst>
        </pc:spChg>
        <pc:spChg chg="mod">
          <ac:chgData name="Sindija Kirsteine (LV)" userId="5f25501a-2215-4bb3-9d9c-8d1484ffa7c1" providerId="ADAL" clId="{8AAD7737-BE3D-48FE-A7A6-FB4F1E491907}" dt="2024-07-05T15:39:53.305" v="2979" actId="20577"/>
          <ac:spMkLst>
            <pc:docMk/>
            <pc:sldMk cId="192098022" sldId="2147481877"/>
            <ac:spMk id="3" creationId="{6A355E03-E3D4-57E7-8E5C-EA6D87D67D07}"/>
          </ac:spMkLst>
        </pc:spChg>
        <pc:extLst>
          <p:ext xmlns:p="http://schemas.openxmlformats.org/presentationml/2006/main" uri="{D6D511B9-2390-475A-947B-AFAB55BFBCF1}">
            <pc226:cmChg xmlns:pc226="http://schemas.microsoft.com/office/powerpoint/2022/06/main/command" chg="add del mod">
              <pc226:chgData name="Sindija Kirsteine (LV)" userId="5f25501a-2215-4bb3-9d9c-8d1484ffa7c1" providerId="ADAL" clId="{8AAD7737-BE3D-48FE-A7A6-FB4F1E491907}" dt="2024-07-05T15:38:54.038" v="2931"/>
              <pc2:cmMkLst xmlns:pc2="http://schemas.microsoft.com/office/powerpoint/2019/9/main/command">
                <pc:docMk/>
                <pc:sldMk cId="192098022" sldId="2147481877"/>
                <pc2:cmMk id="{DB80AEB0-4760-48DC-A259-CC3133760D6B}"/>
              </pc2:cmMkLst>
            </pc226:cmChg>
          </p:ext>
        </pc:extLst>
      </pc:sldChg>
      <pc:sldChg chg="addSp delSp modSp mod">
        <pc:chgData name="Sindija Kirsteine (LV)" userId="5f25501a-2215-4bb3-9d9c-8d1484ffa7c1" providerId="ADAL" clId="{8AAD7737-BE3D-48FE-A7A6-FB4F1E491907}" dt="2024-07-06T09:07:59.589" v="3419" actId="20577"/>
        <pc:sldMkLst>
          <pc:docMk/>
          <pc:sldMk cId="839732171" sldId="2147481882"/>
        </pc:sldMkLst>
        <pc:spChg chg="mod">
          <ac:chgData name="Sindija Kirsteine (LV)" userId="5f25501a-2215-4bb3-9d9c-8d1484ffa7c1" providerId="ADAL" clId="{8AAD7737-BE3D-48FE-A7A6-FB4F1E491907}" dt="2024-07-04T13:31:14.243" v="97" actId="20577"/>
          <ac:spMkLst>
            <pc:docMk/>
            <pc:sldMk cId="839732171" sldId="2147481882"/>
            <ac:spMk id="3" creationId="{4EF6DB77-182C-C281-1C2F-C2E2D9AB6583}"/>
          </ac:spMkLst>
        </pc:spChg>
        <pc:spChg chg="mod">
          <ac:chgData name="Sindija Kirsteine (LV)" userId="5f25501a-2215-4bb3-9d9c-8d1484ffa7c1" providerId="ADAL" clId="{8AAD7737-BE3D-48FE-A7A6-FB4F1E491907}" dt="2024-07-06T09:07:59.589" v="3419" actId="20577"/>
          <ac:spMkLst>
            <pc:docMk/>
            <pc:sldMk cId="839732171" sldId="2147481882"/>
            <ac:spMk id="4" creationId="{DE559977-5422-3158-C786-2983A20A2674}"/>
          </ac:spMkLst>
        </pc:spChg>
        <pc:spChg chg="mod">
          <ac:chgData name="Sindija Kirsteine (LV)" userId="5f25501a-2215-4bb3-9d9c-8d1484ffa7c1" providerId="ADAL" clId="{8AAD7737-BE3D-48FE-A7A6-FB4F1E491907}" dt="2024-07-04T13:39:57.847" v="173" actId="20577"/>
          <ac:spMkLst>
            <pc:docMk/>
            <pc:sldMk cId="839732171" sldId="2147481882"/>
            <ac:spMk id="6" creationId="{2CB3F9F5-858C-1D21-4D13-EAEDABE2E74A}"/>
          </ac:spMkLst>
        </pc:spChg>
        <pc:spChg chg="add del mod">
          <ac:chgData name="Sindija Kirsteine (LV)" userId="5f25501a-2215-4bb3-9d9c-8d1484ffa7c1" providerId="ADAL" clId="{8AAD7737-BE3D-48FE-A7A6-FB4F1E491907}" dt="2024-07-05T15:38:41.067" v="2927" actId="478"/>
          <ac:spMkLst>
            <pc:docMk/>
            <pc:sldMk cId="839732171" sldId="2147481882"/>
            <ac:spMk id="7" creationId="{A888C8B2-08EF-AD1A-331D-84B1819E13EE}"/>
          </ac:spMkLst>
        </pc:spChg>
        <pc:cxnChg chg="add del">
          <ac:chgData name="Sindija Kirsteine (LV)" userId="5f25501a-2215-4bb3-9d9c-8d1484ffa7c1" providerId="ADAL" clId="{8AAD7737-BE3D-48FE-A7A6-FB4F1E491907}" dt="2024-07-05T15:38:42.156" v="2928" actId="478"/>
          <ac:cxnSpMkLst>
            <pc:docMk/>
            <pc:sldMk cId="839732171" sldId="2147481882"/>
            <ac:cxnSpMk id="11" creationId="{337C7D22-C572-ECD0-6E52-FA8A252E5593}"/>
          </ac:cxnSpMkLst>
        </pc:cxnChg>
      </pc:sldChg>
      <pc:sldChg chg="modSp mod">
        <pc:chgData name="Sindija Kirsteine (LV)" userId="5f25501a-2215-4bb3-9d9c-8d1484ffa7c1" providerId="ADAL" clId="{8AAD7737-BE3D-48FE-A7A6-FB4F1E491907}" dt="2024-07-05T15:45:33.435" v="3096" actId="20577"/>
        <pc:sldMkLst>
          <pc:docMk/>
          <pc:sldMk cId="1076096228" sldId="2147481883"/>
        </pc:sldMkLst>
        <pc:spChg chg="mod">
          <ac:chgData name="Sindija Kirsteine (LV)" userId="5f25501a-2215-4bb3-9d9c-8d1484ffa7c1" providerId="ADAL" clId="{8AAD7737-BE3D-48FE-A7A6-FB4F1E491907}" dt="2024-07-05T15:45:33.435" v="3096" actId="20577"/>
          <ac:spMkLst>
            <pc:docMk/>
            <pc:sldMk cId="1076096228" sldId="2147481883"/>
            <ac:spMk id="7" creationId="{8955B2C7-F22E-6F52-733B-63ECB21657CB}"/>
          </ac:spMkLst>
        </pc:spChg>
        <pc:spChg chg="mod">
          <ac:chgData name="Sindija Kirsteine (LV)" userId="5f25501a-2215-4bb3-9d9c-8d1484ffa7c1" providerId="ADAL" clId="{8AAD7737-BE3D-48FE-A7A6-FB4F1E491907}" dt="2024-07-04T13:37:30.095" v="153" actId="20577"/>
          <ac:spMkLst>
            <pc:docMk/>
            <pc:sldMk cId="1076096228" sldId="2147481883"/>
            <ac:spMk id="20" creationId="{D4BC4F3D-6634-58D4-2990-13297BD830D1}"/>
          </ac:spMkLst>
        </pc:spChg>
        <pc:spChg chg="mod">
          <ac:chgData name="Sindija Kirsteine (LV)" userId="5f25501a-2215-4bb3-9d9c-8d1484ffa7c1" providerId="ADAL" clId="{8AAD7737-BE3D-48FE-A7A6-FB4F1E491907}" dt="2024-07-04T13:38:52.259" v="158" actId="20577"/>
          <ac:spMkLst>
            <pc:docMk/>
            <pc:sldMk cId="1076096228" sldId="2147481883"/>
            <ac:spMk id="21" creationId="{A3DAE46C-43DB-A6F2-C680-13972AF27B1E}"/>
          </ac:spMkLst>
        </pc:spChg>
      </pc:sldChg>
      <pc:sldChg chg="modSp mod">
        <pc:chgData name="Sindija Kirsteine (LV)" userId="5f25501a-2215-4bb3-9d9c-8d1484ffa7c1" providerId="ADAL" clId="{8AAD7737-BE3D-48FE-A7A6-FB4F1E491907}" dt="2024-07-05T15:42:06.870" v="3019" actId="20577"/>
        <pc:sldMkLst>
          <pc:docMk/>
          <pc:sldMk cId="1498590892" sldId="2147481885"/>
        </pc:sldMkLst>
        <pc:spChg chg="mod">
          <ac:chgData name="Sindija Kirsteine (LV)" userId="5f25501a-2215-4bb3-9d9c-8d1484ffa7c1" providerId="ADAL" clId="{8AAD7737-BE3D-48FE-A7A6-FB4F1E491907}" dt="2024-07-05T15:42:06.870" v="3019" actId="20577"/>
          <ac:spMkLst>
            <pc:docMk/>
            <pc:sldMk cId="1498590892" sldId="2147481885"/>
            <ac:spMk id="4" creationId="{B1CBE399-95B1-4855-23E2-3019CA5A03DE}"/>
          </ac:spMkLst>
        </pc:spChg>
      </pc:sldChg>
      <pc:sldChg chg="modSp mod">
        <pc:chgData name="Sindija Kirsteine (LV)" userId="5f25501a-2215-4bb3-9d9c-8d1484ffa7c1" providerId="ADAL" clId="{8AAD7737-BE3D-48FE-A7A6-FB4F1E491907}" dt="2024-07-05T15:42:49.321" v="3040" actId="20577"/>
        <pc:sldMkLst>
          <pc:docMk/>
          <pc:sldMk cId="4260349440" sldId="2147481886"/>
        </pc:sldMkLst>
        <pc:spChg chg="mod">
          <ac:chgData name="Sindija Kirsteine (LV)" userId="5f25501a-2215-4bb3-9d9c-8d1484ffa7c1" providerId="ADAL" clId="{8AAD7737-BE3D-48FE-A7A6-FB4F1E491907}" dt="2024-07-05T15:42:49.321" v="3040" actId="20577"/>
          <ac:spMkLst>
            <pc:docMk/>
            <pc:sldMk cId="4260349440" sldId="2147481886"/>
            <ac:spMk id="4" creationId="{B1CBE399-95B1-4855-23E2-3019CA5A03DE}"/>
          </ac:spMkLst>
        </pc:spChg>
      </pc:sldChg>
      <pc:sldChg chg="modSp mod">
        <pc:chgData name="Sindija Kirsteine (LV)" userId="5f25501a-2215-4bb3-9d9c-8d1484ffa7c1" providerId="ADAL" clId="{8AAD7737-BE3D-48FE-A7A6-FB4F1E491907}" dt="2024-07-05T15:41:08.707" v="2997" actId="20577"/>
        <pc:sldMkLst>
          <pc:docMk/>
          <pc:sldMk cId="2647739992" sldId="2147481887"/>
        </pc:sldMkLst>
        <pc:spChg chg="mod">
          <ac:chgData name="Sindija Kirsteine (LV)" userId="5f25501a-2215-4bb3-9d9c-8d1484ffa7c1" providerId="ADAL" clId="{8AAD7737-BE3D-48FE-A7A6-FB4F1E491907}" dt="2024-07-05T15:41:08.707" v="2997" actId="20577"/>
          <ac:spMkLst>
            <pc:docMk/>
            <pc:sldMk cId="2647739992" sldId="2147481887"/>
            <ac:spMk id="4" creationId="{B1CBE399-95B1-4855-23E2-3019CA5A03DE}"/>
          </ac:spMkLst>
        </pc:spChg>
      </pc:sldChg>
      <pc:sldChg chg="modSp mod">
        <pc:chgData name="Sindija Kirsteine (LV)" userId="5f25501a-2215-4bb3-9d9c-8d1484ffa7c1" providerId="ADAL" clId="{8AAD7737-BE3D-48FE-A7A6-FB4F1E491907}" dt="2024-07-05T15:43:19.001" v="3059" actId="20577"/>
        <pc:sldMkLst>
          <pc:docMk/>
          <pc:sldMk cId="449992976" sldId="2147481889"/>
        </pc:sldMkLst>
        <pc:spChg chg="mod">
          <ac:chgData name="Sindija Kirsteine (LV)" userId="5f25501a-2215-4bb3-9d9c-8d1484ffa7c1" providerId="ADAL" clId="{8AAD7737-BE3D-48FE-A7A6-FB4F1E491907}" dt="2024-07-05T15:43:19.001" v="3059" actId="20577"/>
          <ac:spMkLst>
            <pc:docMk/>
            <pc:sldMk cId="449992976" sldId="2147481889"/>
            <ac:spMk id="4" creationId="{B1CBE399-95B1-4855-23E2-3019CA5A03DE}"/>
          </ac:spMkLst>
        </pc:spChg>
      </pc:sldChg>
      <pc:sldChg chg="modSp mod">
        <pc:chgData name="Sindija Kirsteine (LV)" userId="5f25501a-2215-4bb3-9d9c-8d1484ffa7c1" providerId="ADAL" clId="{8AAD7737-BE3D-48FE-A7A6-FB4F1E491907}" dt="2024-07-05T15:40:08.400" v="2984" actId="20577"/>
        <pc:sldMkLst>
          <pc:docMk/>
          <pc:sldMk cId="3901568867" sldId="2147481894"/>
        </pc:sldMkLst>
        <pc:spChg chg="mod">
          <ac:chgData name="Sindija Kirsteine (LV)" userId="5f25501a-2215-4bb3-9d9c-8d1484ffa7c1" providerId="ADAL" clId="{8AAD7737-BE3D-48FE-A7A6-FB4F1E491907}" dt="2024-07-05T15:40:08.400" v="2984" actId="20577"/>
          <ac:spMkLst>
            <pc:docMk/>
            <pc:sldMk cId="3901568867" sldId="2147481894"/>
            <ac:spMk id="2" creationId="{00000000-0000-0000-0000-000000000000}"/>
          </ac:spMkLst>
        </pc:spChg>
      </pc:sldChg>
      <pc:sldChg chg="addSp delSp modSp mod">
        <pc:chgData name="Sindija Kirsteine (LV)" userId="5f25501a-2215-4bb3-9d9c-8d1484ffa7c1" providerId="ADAL" clId="{8AAD7737-BE3D-48FE-A7A6-FB4F1E491907}" dt="2024-07-06T08:51:51.816" v="3399" actId="20577"/>
        <pc:sldMkLst>
          <pc:docMk/>
          <pc:sldMk cId="2731229360" sldId="2147481895"/>
        </pc:sldMkLst>
        <pc:spChg chg="mod">
          <ac:chgData name="Sindija Kirsteine (LV)" userId="5f25501a-2215-4bb3-9d9c-8d1484ffa7c1" providerId="ADAL" clId="{8AAD7737-BE3D-48FE-A7A6-FB4F1E491907}" dt="2024-07-05T15:42:29.214" v="3033"/>
          <ac:spMkLst>
            <pc:docMk/>
            <pc:sldMk cId="2731229360" sldId="2147481895"/>
            <ac:spMk id="4" creationId="{949F21B0-7628-E2A7-0F69-F575083F90EA}"/>
          </ac:spMkLst>
        </pc:spChg>
        <pc:spChg chg="add del mod">
          <ac:chgData name="Sindija Kirsteine (LV)" userId="5f25501a-2215-4bb3-9d9c-8d1484ffa7c1" providerId="ADAL" clId="{8AAD7737-BE3D-48FE-A7A6-FB4F1E491907}" dt="2024-07-05T09:35:27.512" v="2417" actId="478"/>
          <ac:spMkLst>
            <pc:docMk/>
            <pc:sldMk cId="2731229360" sldId="2147481895"/>
            <ac:spMk id="5" creationId="{4A2DC31D-6797-0235-2D14-D4F004155A5E}"/>
          </ac:spMkLst>
        </pc:spChg>
        <pc:spChg chg="mod">
          <ac:chgData name="Sindija Kirsteine (LV)" userId="5f25501a-2215-4bb3-9d9c-8d1484ffa7c1" providerId="ADAL" clId="{8AAD7737-BE3D-48FE-A7A6-FB4F1E491907}" dt="2024-07-05T09:35:14.396" v="2416" actId="20577"/>
          <ac:spMkLst>
            <pc:docMk/>
            <pc:sldMk cId="2731229360" sldId="2147481895"/>
            <ac:spMk id="10" creationId="{EEBF5786-2E6A-AE20-299C-B5EEE07894D2}"/>
          </ac:spMkLst>
        </pc:spChg>
        <pc:spChg chg="mod">
          <ac:chgData name="Sindija Kirsteine (LV)" userId="5f25501a-2215-4bb3-9d9c-8d1484ffa7c1" providerId="ADAL" clId="{8AAD7737-BE3D-48FE-A7A6-FB4F1E491907}" dt="2024-07-04T14:55:11.199" v="497"/>
          <ac:spMkLst>
            <pc:docMk/>
            <pc:sldMk cId="2731229360" sldId="2147481895"/>
            <ac:spMk id="11" creationId="{0F4C3BFD-4944-308A-CCCC-AD35FC363808}"/>
          </ac:spMkLst>
        </pc:spChg>
        <pc:spChg chg="mod">
          <ac:chgData name="Sindija Kirsteine (LV)" userId="5f25501a-2215-4bb3-9d9c-8d1484ffa7c1" providerId="ADAL" clId="{8AAD7737-BE3D-48FE-A7A6-FB4F1E491907}" dt="2024-07-06T08:51:51.816" v="3399" actId="20577"/>
          <ac:spMkLst>
            <pc:docMk/>
            <pc:sldMk cId="2731229360" sldId="2147481895"/>
            <ac:spMk id="14" creationId="{2578A2FB-B994-82A1-5B0D-947804EA88ED}"/>
          </ac:spMkLst>
        </pc:spChg>
        <pc:spChg chg="mod">
          <ac:chgData name="Sindija Kirsteine (LV)" userId="5f25501a-2215-4bb3-9d9c-8d1484ffa7c1" providerId="ADAL" clId="{8AAD7737-BE3D-48FE-A7A6-FB4F1E491907}" dt="2024-07-05T15:42:29.214" v="3033"/>
          <ac:spMkLst>
            <pc:docMk/>
            <pc:sldMk cId="2731229360" sldId="2147481895"/>
            <ac:spMk id="16" creationId="{FF5B1784-BF0C-9549-4A57-388C06BD3C9F}"/>
          </ac:spMkLst>
        </pc:spChg>
        <pc:spChg chg="mod">
          <ac:chgData name="Sindija Kirsteine (LV)" userId="5f25501a-2215-4bb3-9d9c-8d1484ffa7c1" providerId="ADAL" clId="{8AAD7737-BE3D-48FE-A7A6-FB4F1E491907}" dt="2024-07-05T15:42:29.214" v="3033"/>
          <ac:spMkLst>
            <pc:docMk/>
            <pc:sldMk cId="2731229360" sldId="2147481895"/>
            <ac:spMk id="17" creationId="{6076D1A6-16E7-0BBA-EB48-373D8798CFE7}"/>
          </ac:spMkLst>
        </pc:spChg>
        <pc:spChg chg="mod">
          <ac:chgData name="Sindija Kirsteine (LV)" userId="5f25501a-2215-4bb3-9d9c-8d1484ffa7c1" providerId="ADAL" clId="{8AAD7737-BE3D-48FE-A7A6-FB4F1E491907}" dt="2024-07-05T15:42:29.214" v="3033"/>
          <ac:spMkLst>
            <pc:docMk/>
            <pc:sldMk cId="2731229360" sldId="2147481895"/>
            <ac:spMk id="18" creationId="{05F8259D-E856-7FD0-49A6-03FD39CFADB7}"/>
          </ac:spMkLst>
        </pc:spChg>
        <pc:spChg chg="mod">
          <ac:chgData name="Sindija Kirsteine (LV)" userId="5f25501a-2215-4bb3-9d9c-8d1484ffa7c1" providerId="ADAL" clId="{8AAD7737-BE3D-48FE-A7A6-FB4F1E491907}" dt="2024-07-05T15:42:29.214" v="3033"/>
          <ac:spMkLst>
            <pc:docMk/>
            <pc:sldMk cId="2731229360" sldId="2147481895"/>
            <ac:spMk id="19" creationId="{91A75DB2-6B27-A20D-4A26-F1A713610259}"/>
          </ac:spMkLst>
        </pc:spChg>
        <pc:spChg chg="mod">
          <ac:chgData name="Sindija Kirsteine (LV)" userId="5f25501a-2215-4bb3-9d9c-8d1484ffa7c1" providerId="ADAL" clId="{8AAD7737-BE3D-48FE-A7A6-FB4F1E491907}" dt="2024-07-05T15:42:29.214" v="3033"/>
          <ac:spMkLst>
            <pc:docMk/>
            <pc:sldMk cId="2731229360" sldId="2147481895"/>
            <ac:spMk id="20" creationId="{C93B1233-0F90-7268-E689-067A4CA712DC}"/>
          </ac:spMkLst>
        </pc:spChg>
        <pc:spChg chg="mod">
          <ac:chgData name="Sindija Kirsteine (LV)" userId="5f25501a-2215-4bb3-9d9c-8d1484ffa7c1" providerId="ADAL" clId="{8AAD7737-BE3D-48FE-A7A6-FB4F1E491907}" dt="2024-07-05T09:33:06.508" v="2407"/>
          <ac:spMkLst>
            <pc:docMk/>
            <pc:sldMk cId="2731229360" sldId="2147481895"/>
            <ac:spMk id="39" creationId="{268E07CD-EFC2-C5A9-C76B-142425386EF4}"/>
          </ac:spMkLst>
        </pc:spChg>
        <pc:spChg chg="mod">
          <ac:chgData name="Sindija Kirsteine (LV)" userId="5f25501a-2215-4bb3-9d9c-8d1484ffa7c1" providerId="ADAL" clId="{8AAD7737-BE3D-48FE-A7A6-FB4F1E491907}" dt="2024-07-06T08:51:17.627" v="3390" actId="20577"/>
          <ac:spMkLst>
            <pc:docMk/>
            <pc:sldMk cId="2731229360" sldId="2147481895"/>
            <ac:spMk id="46" creationId="{FB80FA6E-FF4A-74ED-205A-C0D33D200D98}"/>
          </ac:spMkLst>
        </pc:spChg>
        <pc:grpChg chg="add mod">
          <ac:chgData name="Sindija Kirsteine (LV)" userId="5f25501a-2215-4bb3-9d9c-8d1484ffa7c1" providerId="ADAL" clId="{8AAD7737-BE3D-48FE-A7A6-FB4F1E491907}" dt="2024-07-05T15:42:29.214" v="3033"/>
          <ac:grpSpMkLst>
            <pc:docMk/>
            <pc:sldMk cId="2731229360" sldId="2147481895"/>
            <ac:grpSpMk id="3" creationId="{A9C5EE3E-4CEE-671E-1EA1-758CAE0A9275}"/>
          </ac:grpSpMkLst>
        </pc:grpChg>
        <pc:grpChg chg="del">
          <ac:chgData name="Sindija Kirsteine (LV)" userId="5f25501a-2215-4bb3-9d9c-8d1484ffa7c1" providerId="ADAL" clId="{8AAD7737-BE3D-48FE-A7A6-FB4F1E491907}" dt="2024-07-05T15:42:28.976" v="3032" actId="478"/>
          <ac:grpSpMkLst>
            <pc:docMk/>
            <pc:sldMk cId="2731229360" sldId="2147481895"/>
            <ac:grpSpMk id="5" creationId="{7FB143EA-D991-6E75-106E-C60FAEBDE682}"/>
          </ac:grpSpMkLst>
        </pc:grpChg>
      </pc:sldChg>
      <pc:sldChg chg="addSp delSp modSp mod">
        <pc:chgData name="Sindija Kirsteine (LV)" userId="5f25501a-2215-4bb3-9d9c-8d1484ffa7c1" providerId="ADAL" clId="{8AAD7737-BE3D-48FE-A7A6-FB4F1E491907}" dt="2024-07-06T08:46:49.278" v="3356" actId="478"/>
        <pc:sldMkLst>
          <pc:docMk/>
          <pc:sldMk cId="3817097256" sldId="2147481898"/>
        </pc:sldMkLst>
        <pc:spChg chg="mod">
          <ac:chgData name="Sindija Kirsteine (LV)" userId="5f25501a-2215-4bb3-9d9c-8d1484ffa7c1" providerId="ADAL" clId="{8AAD7737-BE3D-48FE-A7A6-FB4F1E491907}" dt="2024-07-05T15:42:18.039" v="3024"/>
          <ac:spMkLst>
            <pc:docMk/>
            <pc:sldMk cId="3817097256" sldId="2147481898"/>
            <ac:spMk id="6" creationId="{FB433AD8-4C4A-AEF0-45A5-11AE9CA1AB7D}"/>
          </ac:spMkLst>
        </pc:spChg>
        <pc:spChg chg="mod">
          <ac:chgData name="Sindija Kirsteine (LV)" userId="5f25501a-2215-4bb3-9d9c-8d1484ffa7c1" providerId="ADAL" clId="{8AAD7737-BE3D-48FE-A7A6-FB4F1E491907}" dt="2024-07-04T14:13:46.355" v="319" actId="20577"/>
          <ac:spMkLst>
            <pc:docMk/>
            <pc:sldMk cId="3817097256" sldId="2147481898"/>
            <ac:spMk id="9" creationId="{2D6D393C-6109-1B8D-48A9-6EE802818306}"/>
          </ac:spMkLst>
        </pc:spChg>
        <pc:spChg chg="mod">
          <ac:chgData name="Sindija Kirsteine (LV)" userId="5f25501a-2215-4bb3-9d9c-8d1484ffa7c1" providerId="ADAL" clId="{8AAD7737-BE3D-48FE-A7A6-FB4F1E491907}" dt="2024-07-05T09:32:04.804" v="2402"/>
          <ac:spMkLst>
            <pc:docMk/>
            <pc:sldMk cId="3817097256" sldId="2147481898"/>
            <ac:spMk id="10" creationId="{C35757ED-FC70-B0AE-E65B-7057D3F51EAB}"/>
          </ac:spMkLst>
        </pc:spChg>
        <pc:spChg chg="mod">
          <ac:chgData name="Sindija Kirsteine (LV)" userId="5f25501a-2215-4bb3-9d9c-8d1484ffa7c1" providerId="ADAL" clId="{8AAD7737-BE3D-48FE-A7A6-FB4F1E491907}" dt="2024-07-04T14:12:57.155" v="315" actId="13926"/>
          <ac:spMkLst>
            <pc:docMk/>
            <pc:sldMk cId="3817097256" sldId="2147481898"/>
            <ac:spMk id="11" creationId="{C23D0FB4-0A9B-8536-FE99-45D2D8414208}"/>
          </ac:spMkLst>
        </pc:spChg>
        <pc:spChg chg="mod">
          <ac:chgData name="Sindija Kirsteine (LV)" userId="5f25501a-2215-4bb3-9d9c-8d1484ffa7c1" providerId="ADAL" clId="{8AAD7737-BE3D-48FE-A7A6-FB4F1E491907}" dt="2024-07-04T14:06:42.968" v="306"/>
          <ac:spMkLst>
            <pc:docMk/>
            <pc:sldMk cId="3817097256" sldId="2147481898"/>
            <ac:spMk id="12" creationId="{91118138-80A1-0226-B9C9-1BDA45732D72}"/>
          </ac:spMkLst>
        </pc:spChg>
        <pc:spChg chg="mod">
          <ac:chgData name="Sindija Kirsteine (LV)" userId="5f25501a-2215-4bb3-9d9c-8d1484ffa7c1" providerId="ADAL" clId="{8AAD7737-BE3D-48FE-A7A6-FB4F1E491907}" dt="2024-07-06T08:46:35.522" v="3355"/>
          <ac:spMkLst>
            <pc:docMk/>
            <pc:sldMk cId="3817097256" sldId="2147481898"/>
            <ac:spMk id="14" creationId="{37473509-3FAA-6EB2-EAC7-404A2B8E2869}"/>
          </ac:spMkLst>
        </pc:spChg>
        <pc:spChg chg="mod">
          <ac:chgData name="Sindija Kirsteine (LV)" userId="5f25501a-2215-4bb3-9d9c-8d1484ffa7c1" providerId="ADAL" clId="{8AAD7737-BE3D-48FE-A7A6-FB4F1E491907}" dt="2024-07-04T14:16:23.105" v="338" actId="13926"/>
          <ac:spMkLst>
            <pc:docMk/>
            <pc:sldMk cId="3817097256" sldId="2147481898"/>
            <ac:spMk id="20" creationId="{2C6B7245-5BF9-D26D-0558-DF21878D9152}"/>
          </ac:spMkLst>
        </pc:spChg>
        <pc:spChg chg="mod">
          <ac:chgData name="Sindija Kirsteine (LV)" userId="5f25501a-2215-4bb3-9d9c-8d1484ffa7c1" providerId="ADAL" clId="{8AAD7737-BE3D-48FE-A7A6-FB4F1E491907}" dt="2024-07-04T14:17:02.087" v="339" actId="13926"/>
          <ac:spMkLst>
            <pc:docMk/>
            <pc:sldMk cId="3817097256" sldId="2147481898"/>
            <ac:spMk id="21" creationId="{2449F95B-E58F-BE24-C5FB-A5994EF02B3B}"/>
          </ac:spMkLst>
        </pc:spChg>
        <pc:spChg chg="mod">
          <ac:chgData name="Sindija Kirsteine (LV)" userId="5f25501a-2215-4bb3-9d9c-8d1484ffa7c1" providerId="ADAL" clId="{8AAD7737-BE3D-48FE-A7A6-FB4F1E491907}" dt="2024-07-05T15:42:18.039" v="3024"/>
          <ac:spMkLst>
            <pc:docMk/>
            <pc:sldMk cId="3817097256" sldId="2147481898"/>
            <ac:spMk id="25" creationId="{58E7A171-B043-97F1-D598-8EDE39D478CD}"/>
          </ac:spMkLst>
        </pc:spChg>
        <pc:spChg chg="mod">
          <ac:chgData name="Sindija Kirsteine (LV)" userId="5f25501a-2215-4bb3-9d9c-8d1484ffa7c1" providerId="ADAL" clId="{8AAD7737-BE3D-48FE-A7A6-FB4F1E491907}" dt="2024-07-05T15:42:18.039" v="3024"/>
          <ac:spMkLst>
            <pc:docMk/>
            <pc:sldMk cId="3817097256" sldId="2147481898"/>
            <ac:spMk id="33" creationId="{C9C0EF39-AF24-44DD-7A28-C5B6B061D88A}"/>
          </ac:spMkLst>
        </pc:spChg>
        <pc:spChg chg="mod">
          <ac:chgData name="Sindija Kirsteine (LV)" userId="5f25501a-2215-4bb3-9d9c-8d1484ffa7c1" providerId="ADAL" clId="{8AAD7737-BE3D-48FE-A7A6-FB4F1E491907}" dt="2024-07-05T15:42:18.039" v="3024"/>
          <ac:spMkLst>
            <pc:docMk/>
            <pc:sldMk cId="3817097256" sldId="2147481898"/>
            <ac:spMk id="34" creationId="{C8F9F267-3B6C-C0D8-06DF-513BA1FE3467}"/>
          </ac:spMkLst>
        </pc:spChg>
        <pc:spChg chg="mod">
          <ac:chgData name="Sindija Kirsteine (LV)" userId="5f25501a-2215-4bb3-9d9c-8d1484ffa7c1" providerId="ADAL" clId="{8AAD7737-BE3D-48FE-A7A6-FB4F1E491907}" dt="2024-07-05T15:42:18.039" v="3024"/>
          <ac:spMkLst>
            <pc:docMk/>
            <pc:sldMk cId="3817097256" sldId="2147481898"/>
            <ac:spMk id="35" creationId="{66EB6857-5952-EACB-F7D8-BBB9B19A5C33}"/>
          </ac:spMkLst>
        </pc:spChg>
        <pc:spChg chg="mod">
          <ac:chgData name="Sindija Kirsteine (LV)" userId="5f25501a-2215-4bb3-9d9c-8d1484ffa7c1" providerId="ADAL" clId="{8AAD7737-BE3D-48FE-A7A6-FB4F1E491907}" dt="2024-07-05T15:42:18.039" v="3024"/>
          <ac:spMkLst>
            <pc:docMk/>
            <pc:sldMk cId="3817097256" sldId="2147481898"/>
            <ac:spMk id="36" creationId="{4598B8F7-77D7-23A0-01E6-FBD9B46F7C76}"/>
          </ac:spMkLst>
        </pc:spChg>
        <pc:spChg chg="add del mod">
          <ac:chgData name="Sindija Kirsteine (LV)" userId="5f25501a-2215-4bb3-9d9c-8d1484ffa7c1" providerId="ADAL" clId="{8AAD7737-BE3D-48FE-A7A6-FB4F1E491907}" dt="2024-07-06T08:46:49.278" v="3356" actId="478"/>
          <ac:spMkLst>
            <pc:docMk/>
            <pc:sldMk cId="3817097256" sldId="2147481898"/>
            <ac:spMk id="37" creationId="{C8242BEF-A176-28E2-693E-0F00BE5AB5AB}"/>
          </ac:spMkLst>
        </pc:spChg>
        <pc:spChg chg="mod">
          <ac:chgData name="Sindija Kirsteine (LV)" userId="5f25501a-2215-4bb3-9d9c-8d1484ffa7c1" providerId="ADAL" clId="{8AAD7737-BE3D-48FE-A7A6-FB4F1E491907}" dt="2024-07-05T15:46:58.109" v="3172" actId="20577"/>
          <ac:spMkLst>
            <pc:docMk/>
            <pc:sldMk cId="3817097256" sldId="2147481898"/>
            <ac:spMk id="90167" creationId="{653B647E-E9C2-ADAB-D617-118E54CE7745}"/>
          </ac:spMkLst>
        </pc:spChg>
        <pc:grpChg chg="add mod">
          <ac:chgData name="Sindija Kirsteine (LV)" userId="5f25501a-2215-4bb3-9d9c-8d1484ffa7c1" providerId="ADAL" clId="{8AAD7737-BE3D-48FE-A7A6-FB4F1E491907}" dt="2024-07-05T15:42:18.039" v="3024"/>
          <ac:grpSpMkLst>
            <pc:docMk/>
            <pc:sldMk cId="3817097256" sldId="2147481898"/>
            <ac:grpSpMk id="4" creationId="{33FA5EAD-ACBC-F83D-6968-FFEE78A2B144}"/>
          </ac:grpSpMkLst>
        </pc:grpChg>
        <pc:grpChg chg="del">
          <ac:chgData name="Sindija Kirsteine (LV)" userId="5f25501a-2215-4bb3-9d9c-8d1484ffa7c1" providerId="ADAL" clId="{8AAD7737-BE3D-48FE-A7A6-FB4F1E491907}" dt="2024-07-05T15:42:17.775" v="3023" actId="478"/>
          <ac:grpSpMkLst>
            <pc:docMk/>
            <pc:sldMk cId="3817097256" sldId="2147481898"/>
            <ac:grpSpMk id="26" creationId="{ED46B1EE-AB35-8D22-B5E6-F8F6CC208837}"/>
          </ac:grpSpMkLst>
        </pc:grpChg>
      </pc:sldChg>
      <pc:sldChg chg="modSp mod">
        <pc:chgData name="Sindija Kirsteine (LV)" userId="5f25501a-2215-4bb3-9d9c-8d1484ffa7c1" providerId="ADAL" clId="{8AAD7737-BE3D-48FE-A7A6-FB4F1E491907}" dt="2024-07-05T15:46:20.306" v="3126" actId="20577"/>
        <pc:sldMkLst>
          <pc:docMk/>
          <pc:sldMk cId="365397333" sldId="2147481900"/>
        </pc:sldMkLst>
        <pc:spChg chg="mod">
          <ac:chgData name="Sindija Kirsteine (LV)" userId="5f25501a-2215-4bb3-9d9c-8d1484ffa7c1" providerId="ADAL" clId="{8AAD7737-BE3D-48FE-A7A6-FB4F1E491907}" dt="2024-07-05T15:41:28.574" v="3002" actId="948"/>
          <ac:spMkLst>
            <pc:docMk/>
            <pc:sldMk cId="365397333" sldId="2147481900"/>
            <ac:spMk id="9" creationId="{68FCCA4E-5399-0011-B276-61D5ADFBFE2C}"/>
          </ac:spMkLst>
        </pc:spChg>
        <pc:spChg chg="mod">
          <ac:chgData name="Sindija Kirsteine (LV)" userId="5f25501a-2215-4bb3-9d9c-8d1484ffa7c1" providerId="ADAL" clId="{8AAD7737-BE3D-48FE-A7A6-FB4F1E491907}" dt="2024-07-04T13:51:58.346" v="217" actId="20577"/>
          <ac:spMkLst>
            <pc:docMk/>
            <pc:sldMk cId="365397333" sldId="2147481900"/>
            <ac:spMk id="10" creationId="{6FF985DB-6086-437F-AF0E-F9C8ED4A19CB}"/>
          </ac:spMkLst>
        </pc:spChg>
        <pc:spChg chg="mod">
          <ac:chgData name="Sindija Kirsteine (LV)" userId="5f25501a-2215-4bb3-9d9c-8d1484ffa7c1" providerId="ADAL" clId="{8AAD7737-BE3D-48FE-A7A6-FB4F1E491907}" dt="2024-07-04T13:53:03.375" v="222" actId="20577"/>
          <ac:spMkLst>
            <pc:docMk/>
            <pc:sldMk cId="365397333" sldId="2147481900"/>
            <ac:spMk id="16" creationId="{5C5A71DF-F02C-D517-1E25-F9E18E4916BD}"/>
          </ac:spMkLst>
        </pc:spChg>
        <pc:spChg chg="mod">
          <ac:chgData name="Sindija Kirsteine (LV)" userId="5f25501a-2215-4bb3-9d9c-8d1484ffa7c1" providerId="ADAL" clId="{8AAD7737-BE3D-48FE-A7A6-FB4F1E491907}" dt="2024-07-05T15:46:20.306" v="3126" actId="20577"/>
          <ac:spMkLst>
            <pc:docMk/>
            <pc:sldMk cId="365397333" sldId="2147481900"/>
            <ac:spMk id="57346" creationId="{FCA19F51-1289-1EC9-1082-2616C6DFFA9F}"/>
          </ac:spMkLst>
        </pc:spChg>
      </pc:sldChg>
      <pc:sldChg chg="modSp mod addCm delCm modCm">
        <pc:chgData name="Sindija Kirsteine (LV)" userId="5f25501a-2215-4bb3-9d9c-8d1484ffa7c1" providerId="ADAL" clId="{8AAD7737-BE3D-48FE-A7A6-FB4F1E491907}" dt="2024-07-05T15:56:20.867" v="3321"/>
        <pc:sldMkLst>
          <pc:docMk/>
          <pc:sldMk cId="310194463" sldId="2147481903"/>
        </pc:sldMkLst>
        <pc:spChg chg="mod">
          <ac:chgData name="Sindija Kirsteine (LV)" userId="5f25501a-2215-4bb3-9d9c-8d1484ffa7c1" providerId="ADAL" clId="{8AAD7737-BE3D-48FE-A7A6-FB4F1E491907}" dt="2024-07-05T15:17:59.780" v="2914" actId="20577"/>
          <ac:spMkLst>
            <pc:docMk/>
            <pc:sldMk cId="310194463" sldId="2147481903"/>
            <ac:spMk id="12" creationId="{03235C0C-4E25-DCDB-7AAF-D34D32C9063E}"/>
          </ac:spMkLst>
        </pc:spChg>
        <pc:spChg chg="mod">
          <ac:chgData name="Sindija Kirsteine (LV)" userId="5f25501a-2215-4bb3-9d9c-8d1484ffa7c1" providerId="ADAL" clId="{8AAD7737-BE3D-48FE-A7A6-FB4F1E491907}" dt="2024-07-05T15:18:21.441" v="2917" actId="13926"/>
          <ac:spMkLst>
            <pc:docMk/>
            <pc:sldMk cId="310194463" sldId="2147481903"/>
            <ac:spMk id="18" creationId="{0F81DB05-A028-3DDF-3FCB-0CA6BDF56B0D}"/>
          </ac:spMkLst>
        </pc:spChg>
        <pc:spChg chg="mod">
          <ac:chgData name="Sindija Kirsteine (LV)" userId="5f25501a-2215-4bb3-9d9c-8d1484ffa7c1" providerId="ADAL" clId="{8AAD7737-BE3D-48FE-A7A6-FB4F1E491907}" dt="2024-07-05T15:18:27.265" v="2919" actId="13926"/>
          <ac:spMkLst>
            <pc:docMk/>
            <pc:sldMk cId="310194463" sldId="2147481903"/>
            <ac:spMk id="24" creationId="{07A81CED-435C-4318-7E98-64498C761362}"/>
          </ac:spMkLst>
        </pc:spChg>
        <pc:spChg chg="mod">
          <ac:chgData name="Sindija Kirsteine (LV)" userId="5f25501a-2215-4bb3-9d9c-8d1484ffa7c1" providerId="ADAL" clId="{8AAD7737-BE3D-48FE-A7A6-FB4F1E491907}" dt="2024-07-05T15:18:18.349" v="2916"/>
          <ac:spMkLst>
            <pc:docMk/>
            <pc:sldMk cId="310194463" sldId="2147481903"/>
            <ac:spMk id="25" creationId="{C5F92662-E52F-874B-DE9C-B6CFC65D240B}"/>
          </ac:spMkLst>
        </pc:spChg>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8AAD7737-BE3D-48FE-A7A6-FB4F1E491907}" dt="2024-07-05T15:56:20.867" v="3321"/>
              <pc2:cmMkLst xmlns:pc2="http://schemas.microsoft.com/office/powerpoint/2019/9/main/command">
                <pc:docMk/>
                <pc:sldMk cId="310194463" sldId="2147481903"/>
                <pc2:cmMk id="{0532D621-A8DA-441E-A1DD-2E048B8F4169}"/>
              </pc2:cmMkLst>
              <pc226:cmRplyChg chg="add">
                <pc226:chgData name="Sindija Kirsteine (LV)" userId="5f25501a-2215-4bb3-9d9c-8d1484ffa7c1" providerId="ADAL" clId="{8AAD7737-BE3D-48FE-A7A6-FB4F1E491907}" dt="2024-07-05T06:31:32.431" v="767"/>
                <pc2:cmRplyMkLst xmlns:pc2="http://schemas.microsoft.com/office/powerpoint/2019/9/main/command">
                  <pc:docMk/>
                  <pc:sldMk cId="310194463" sldId="2147481903"/>
                  <pc2:cmMk id="{0532D621-A8DA-441E-A1DD-2E048B8F4169}"/>
                  <pc2:cmRplyMk id="{A4A57F9A-013D-40F8-A3C0-F1E815203FA9}"/>
                </pc2:cmRplyMkLst>
              </pc226:cmRplyChg>
            </pc226:cmChg>
          </p:ext>
        </pc:extLst>
      </pc:sldChg>
      <pc:sldChg chg="addSp delSp modSp mod">
        <pc:chgData name="Sindija Kirsteine (LV)" userId="5f25501a-2215-4bb3-9d9c-8d1484ffa7c1" providerId="ADAL" clId="{8AAD7737-BE3D-48FE-A7A6-FB4F1E491907}" dt="2024-07-05T15:46:29.150" v="3133"/>
        <pc:sldMkLst>
          <pc:docMk/>
          <pc:sldMk cId="2785126703" sldId="2147481904"/>
        </pc:sldMkLst>
        <pc:spChg chg="mod">
          <ac:chgData name="Sindija Kirsteine (LV)" userId="5f25501a-2215-4bb3-9d9c-8d1484ffa7c1" providerId="ADAL" clId="{8AAD7737-BE3D-48FE-A7A6-FB4F1E491907}" dt="2024-07-04T13:54:55.264" v="235" actId="242"/>
          <ac:spMkLst>
            <pc:docMk/>
            <pc:sldMk cId="2785126703" sldId="2147481904"/>
            <ac:spMk id="5" creationId="{F2A86895-E746-0EF0-DFA0-62FD03AC488C}"/>
          </ac:spMkLst>
        </pc:spChg>
        <pc:spChg chg="mod">
          <ac:chgData name="Sindija Kirsteine (LV)" userId="5f25501a-2215-4bb3-9d9c-8d1484ffa7c1" providerId="ADAL" clId="{8AAD7737-BE3D-48FE-A7A6-FB4F1E491907}" dt="2024-07-05T09:54:47.006" v="2588" actId="14100"/>
          <ac:spMkLst>
            <pc:docMk/>
            <pc:sldMk cId="2785126703" sldId="2147481904"/>
            <ac:spMk id="27" creationId="{2D6405CD-2499-573E-A031-A68FA08F053E}"/>
          </ac:spMkLst>
        </pc:spChg>
        <pc:spChg chg="mod">
          <ac:chgData name="Sindija Kirsteine (LV)" userId="5f25501a-2215-4bb3-9d9c-8d1484ffa7c1" providerId="ADAL" clId="{8AAD7737-BE3D-48FE-A7A6-FB4F1E491907}" dt="2024-07-05T15:41:41.181" v="3008"/>
          <ac:spMkLst>
            <pc:docMk/>
            <pc:sldMk cId="2785126703" sldId="2147481904"/>
            <ac:spMk id="31" creationId="{2111FA30-164B-FE76-14B9-BA5382405179}"/>
          </ac:spMkLst>
        </pc:spChg>
        <pc:spChg chg="mod">
          <ac:chgData name="Sindija Kirsteine (LV)" userId="5f25501a-2215-4bb3-9d9c-8d1484ffa7c1" providerId="ADAL" clId="{8AAD7737-BE3D-48FE-A7A6-FB4F1E491907}" dt="2024-07-05T15:41:41.181" v="3008"/>
          <ac:spMkLst>
            <pc:docMk/>
            <pc:sldMk cId="2785126703" sldId="2147481904"/>
            <ac:spMk id="32" creationId="{E3F9BB97-E3D2-1B4C-89A5-641C04A74520}"/>
          </ac:spMkLst>
        </pc:spChg>
        <pc:spChg chg="mod">
          <ac:chgData name="Sindija Kirsteine (LV)" userId="5f25501a-2215-4bb3-9d9c-8d1484ffa7c1" providerId="ADAL" clId="{8AAD7737-BE3D-48FE-A7A6-FB4F1E491907}" dt="2024-07-05T15:41:41.181" v="3008"/>
          <ac:spMkLst>
            <pc:docMk/>
            <pc:sldMk cId="2785126703" sldId="2147481904"/>
            <ac:spMk id="33" creationId="{6C7BF1DF-DB3B-2BAA-3A30-35D4D578CAA6}"/>
          </ac:spMkLst>
        </pc:spChg>
        <pc:spChg chg="mod">
          <ac:chgData name="Sindija Kirsteine (LV)" userId="5f25501a-2215-4bb3-9d9c-8d1484ffa7c1" providerId="ADAL" clId="{8AAD7737-BE3D-48FE-A7A6-FB4F1E491907}" dt="2024-07-05T15:41:41.181" v="3008"/>
          <ac:spMkLst>
            <pc:docMk/>
            <pc:sldMk cId="2785126703" sldId="2147481904"/>
            <ac:spMk id="34" creationId="{769EC9E8-353E-2160-A493-0D8A7849E621}"/>
          </ac:spMkLst>
        </pc:spChg>
        <pc:spChg chg="mod">
          <ac:chgData name="Sindija Kirsteine (LV)" userId="5f25501a-2215-4bb3-9d9c-8d1484ffa7c1" providerId="ADAL" clId="{8AAD7737-BE3D-48FE-A7A6-FB4F1E491907}" dt="2024-07-05T15:41:41.181" v="3008"/>
          <ac:spMkLst>
            <pc:docMk/>
            <pc:sldMk cId="2785126703" sldId="2147481904"/>
            <ac:spMk id="35" creationId="{0A114792-63DF-5518-A7AC-70F1A8D9E554}"/>
          </ac:spMkLst>
        </pc:spChg>
        <pc:spChg chg="mod">
          <ac:chgData name="Sindija Kirsteine (LV)" userId="5f25501a-2215-4bb3-9d9c-8d1484ffa7c1" providerId="ADAL" clId="{8AAD7737-BE3D-48FE-A7A6-FB4F1E491907}" dt="2024-07-05T15:41:41.181" v="3008"/>
          <ac:spMkLst>
            <pc:docMk/>
            <pc:sldMk cId="2785126703" sldId="2147481904"/>
            <ac:spMk id="36" creationId="{A370DE2C-E7D1-50C2-F3BB-4AE9C450B8FC}"/>
          </ac:spMkLst>
        </pc:spChg>
        <pc:spChg chg="mod">
          <ac:chgData name="Sindija Kirsteine (LV)" userId="5f25501a-2215-4bb3-9d9c-8d1484ffa7c1" providerId="ADAL" clId="{8AAD7737-BE3D-48FE-A7A6-FB4F1E491907}" dt="2024-07-05T15:46:29.150" v="3133"/>
          <ac:spMkLst>
            <pc:docMk/>
            <pc:sldMk cId="2785126703" sldId="2147481904"/>
            <ac:spMk id="57346" creationId="{FCA19F51-1289-1EC9-1082-2616C6DFFA9F}"/>
          </ac:spMkLst>
        </pc:spChg>
        <pc:grpChg chg="add mod">
          <ac:chgData name="Sindija Kirsteine (LV)" userId="5f25501a-2215-4bb3-9d9c-8d1484ffa7c1" providerId="ADAL" clId="{8AAD7737-BE3D-48FE-A7A6-FB4F1E491907}" dt="2024-07-05T15:41:41.181" v="3008"/>
          <ac:grpSpMkLst>
            <pc:docMk/>
            <pc:sldMk cId="2785126703" sldId="2147481904"/>
            <ac:grpSpMk id="6" creationId="{DDDE3D41-5327-5565-14EB-5F2EE4FD335E}"/>
          </ac:grpSpMkLst>
        </pc:grpChg>
        <pc:grpChg chg="del">
          <ac:chgData name="Sindija Kirsteine (LV)" userId="5f25501a-2215-4bb3-9d9c-8d1484ffa7c1" providerId="ADAL" clId="{8AAD7737-BE3D-48FE-A7A6-FB4F1E491907}" dt="2024-07-05T15:41:40.913" v="3007" actId="478"/>
          <ac:grpSpMkLst>
            <pc:docMk/>
            <pc:sldMk cId="2785126703" sldId="2147481904"/>
            <ac:grpSpMk id="7" creationId="{1CD58C0E-86BD-156A-7AB4-EF7F45D9A7DD}"/>
          </ac:grpSpMkLst>
        </pc:grpChg>
      </pc:sldChg>
      <pc:sldChg chg="addSp delSp modSp mod">
        <pc:chgData name="Sindija Kirsteine (LV)" userId="5f25501a-2215-4bb3-9d9c-8d1484ffa7c1" providerId="ADAL" clId="{8AAD7737-BE3D-48FE-A7A6-FB4F1E491907}" dt="2024-07-06T08:49:10.359" v="3378" actId="313"/>
        <pc:sldMkLst>
          <pc:docMk/>
          <pc:sldMk cId="4233423074" sldId="2147481905"/>
        </pc:sldMkLst>
        <pc:spChg chg="mod">
          <ac:chgData name="Sindija Kirsteine (LV)" userId="5f25501a-2215-4bb3-9d9c-8d1484ffa7c1" providerId="ADAL" clId="{8AAD7737-BE3D-48FE-A7A6-FB4F1E491907}" dt="2024-07-04T13:55:52.198" v="242" actId="20577"/>
          <ac:spMkLst>
            <pc:docMk/>
            <pc:sldMk cId="4233423074" sldId="2147481905"/>
            <ac:spMk id="2" creationId="{27F43C28-AECB-FD5D-4993-0D32C4976748}"/>
          </ac:spMkLst>
        </pc:spChg>
        <pc:spChg chg="mod">
          <ac:chgData name="Sindija Kirsteine (LV)" userId="5f25501a-2215-4bb3-9d9c-8d1484ffa7c1" providerId="ADAL" clId="{8AAD7737-BE3D-48FE-A7A6-FB4F1E491907}" dt="2024-07-05T15:41:44.119" v="3011"/>
          <ac:spMkLst>
            <pc:docMk/>
            <pc:sldMk cId="4233423074" sldId="2147481905"/>
            <ac:spMk id="7" creationId="{812FC357-4D12-69C8-19BF-BE414CCD23CA}"/>
          </ac:spMkLst>
        </pc:spChg>
        <pc:spChg chg="mod">
          <ac:chgData name="Sindija Kirsteine (LV)" userId="5f25501a-2215-4bb3-9d9c-8d1484ffa7c1" providerId="ADAL" clId="{8AAD7737-BE3D-48FE-A7A6-FB4F1E491907}" dt="2024-07-05T15:41:44.119" v="3011"/>
          <ac:spMkLst>
            <pc:docMk/>
            <pc:sldMk cId="4233423074" sldId="2147481905"/>
            <ac:spMk id="9" creationId="{DB4585B1-8DFD-82BD-0533-201104F62DB9}"/>
          </ac:spMkLst>
        </pc:spChg>
        <pc:spChg chg="mod">
          <ac:chgData name="Sindija Kirsteine (LV)" userId="5f25501a-2215-4bb3-9d9c-8d1484ffa7c1" providerId="ADAL" clId="{8AAD7737-BE3D-48FE-A7A6-FB4F1E491907}" dt="2024-07-05T15:41:44.119" v="3011"/>
          <ac:spMkLst>
            <pc:docMk/>
            <pc:sldMk cId="4233423074" sldId="2147481905"/>
            <ac:spMk id="10" creationId="{F9E8B2A1-E3F2-D319-67C2-5BE488DB3AD9}"/>
          </ac:spMkLst>
        </pc:spChg>
        <pc:spChg chg="mod">
          <ac:chgData name="Sindija Kirsteine (LV)" userId="5f25501a-2215-4bb3-9d9c-8d1484ffa7c1" providerId="ADAL" clId="{8AAD7737-BE3D-48FE-A7A6-FB4F1E491907}" dt="2024-07-05T15:41:44.119" v="3011"/>
          <ac:spMkLst>
            <pc:docMk/>
            <pc:sldMk cId="4233423074" sldId="2147481905"/>
            <ac:spMk id="16" creationId="{74A8AFE9-0BE3-652E-1608-9B38D0F3F804}"/>
          </ac:spMkLst>
        </pc:spChg>
        <pc:spChg chg="mod">
          <ac:chgData name="Sindija Kirsteine (LV)" userId="5f25501a-2215-4bb3-9d9c-8d1484ffa7c1" providerId="ADAL" clId="{8AAD7737-BE3D-48FE-A7A6-FB4F1E491907}" dt="2024-07-05T15:41:44.119" v="3011"/>
          <ac:spMkLst>
            <pc:docMk/>
            <pc:sldMk cId="4233423074" sldId="2147481905"/>
            <ac:spMk id="22" creationId="{0153F8B2-7A26-EB20-7E3F-10523393623D}"/>
          </ac:spMkLst>
        </pc:spChg>
        <pc:spChg chg="mod">
          <ac:chgData name="Sindija Kirsteine (LV)" userId="5f25501a-2215-4bb3-9d9c-8d1484ffa7c1" providerId="ADAL" clId="{8AAD7737-BE3D-48FE-A7A6-FB4F1E491907}" dt="2024-07-06T08:49:10.359" v="3378" actId="313"/>
          <ac:spMkLst>
            <pc:docMk/>
            <pc:sldMk cId="4233423074" sldId="2147481905"/>
            <ac:spMk id="27" creationId="{2D6405CD-2499-573E-A031-A68FA08F053E}"/>
          </ac:spMkLst>
        </pc:spChg>
        <pc:spChg chg="mod">
          <ac:chgData name="Sindija Kirsteine (LV)" userId="5f25501a-2215-4bb3-9d9c-8d1484ffa7c1" providerId="ADAL" clId="{8AAD7737-BE3D-48FE-A7A6-FB4F1E491907}" dt="2024-07-05T15:41:44.119" v="3011"/>
          <ac:spMkLst>
            <pc:docMk/>
            <pc:sldMk cId="4233423074" sldId="2147481905"/>
            <ac:spMk id="29" creationId="{0AA68B0F-4A14-6803-53AA-CB9C0359060D}"/>
          </ac:spMkLst>
        </pc:spChg>
        <pc:spChg chg="mod">
          <ac:chgData name="Sindija Kirsteine (LV)" userId="5f25501a-2215-4bb3-9d9c-8d1484ffa7c1" providerId="ADAL" clId="{8AAD7737-BE3D-48FE-A7A6-FB4F1E491907}" dt="2024-07-05T15:46:31.894" v="3136"/>
          <ac:spMkLst>
            <pc:docMk/>
            <pc:sldMk cId="4233423074" sldId="2147481905"/>
            <ac:spMk id="57346" creationId="{FCA19F51-1289-1EC9-1082-2616C6DFFA9F}"/>
          </ac:spMkLst>
        </pc:spChg>
        <pc:grpChg chg="add mod">
          <ac:chgData name="Sindija Kirsteine (LV)" userId="5f25501a-2215-4bb3-9d9c-8d1484ffa7c1" providerId="ADAL" clId="{8AAD7737-BE3D-48FE-A7A6-FB4F1E491907}" dt="2024-07-05T15:41:44.119" v="3011"/>
          <ac:grpSpMkLst>
            <pc:docMk/>
            <pc:sldMk cId="4233423074" sldId="2147481905"/>
            <ac:grpSpMk id="5" creationId="{921B3E01-A5CC-2C28-36EE-13ECAFC0D1E5}"/>
          </ac:grpSpMkLst>
        </pc:grpChg>
        <pc:grpChg chg="del">
          <ac:chgData name="Sindija Kirsteine (LV)" userId="5f25501a-2215-4bb3-9d9c-8d1484ffa7c1" providerId="ADAL" clId="{8AAD7737-BE3D-48FE-A7A6-FB4F1E491907}" dt="2024-07-05T15:41:43.832" v="3010" actId="478"/>
          <ac:grpSpMkLst>
            <pc:docMk/>
            <pc:sldMk cId="4233423074" sldId="2147481905"/>
            <ac:grpSpMk id="6" creationId="{1EA8DF44-D351-9020-6ECD-CA21C851FCA3}"/>
          </ac:grpSpMkLst>
        </pc:grpChg>
      </pc:sldChg>
      <pc:sldChg chg="addSp delSp modSp mod">
        <pc:chgData name="Sindija Kirsteine (LV)" userId="5f25501a-2215-4bb3-9d9c-8d1484ffa7c1" providerId="ADAL" clId="{8AAD7737-BE3D-48FE-A7A6-FB4F1E491907}" dt="2024-07-06T08:50:17.052" v="3384" actId="20577"/>
        <pc:sldMkLst>
          <pc:docMk/>
          <pc:sldMk cId="3128847407" sldId="2147481907"/>
        </pc:sldMkLst>
        <pc:spChg chg="mod">
          <ac:chgData name="Sindija Kirsteine (LV)" userId="5f25501a-2215-4bb3-9d9c-8d1484ffa7c1" providerId="ADAL" clId="{8AAD7737-BE3D-48FE-A7A6-FB4F1E491907}" dt="2024-07-05T15:47:08.729" v="3182" actId="20577"/>
          <ac:spMkLst>
            <pc:docMk/>
            <pc:sldMk cId="3128847407" sldId="2147481907"/>
            <ac:spMk id="2" creationId="{00000000-0000-0000-0000-000000000000}"/>
          </ac:spMkLst>
        </pc:spChg>
        <pc:spChg chg="mod">
          <ac:chgData name="Sindija Kirsteine (LV)" userId="5f25501a-2215-4bb3-9d9c-8d1484ffa7c1" providerId="ADAL" clId="{8AAD7737-BE3D-48FE-A7A6-FB4F1E491907}" dt="2024-07-05T15:42:21.763" v="3027"/>
          <ac:spMkLst>
            <pc:docMk/>
            <pc:sldMk cId="3128847407" sldId="2147481907"/>
            <ac:spMk id="5" creationId="{6D4F17ED-F3C6-3EEB-FFC8-E5378F905956}"/>
          </ac:spMkLst>
        </pc:spChg>
        <pc:spChg chg="mod">
          <ac:chgData name="Sindija Kirsteine (LV)" userId="5f25501a-2215-4bb3-9d9c-8d1484ffa7c1" providerId="ADAL" clId="{8AAD7737-BE3D-48FE-A7A6-FB4F1E491907}" dt="2024-07-05T15:42:21.763" v="3027"/>
          <ac:spMkLst>
            <pc:docMk/>
            <pc:sldMk cId="3128847407" sldId="2147481907"/>
            <ac:spMk id="6" creationId="{BB1D69FE-CAA7-2385-02D6-1A7EAC2A5498}"/>
          </ac:spMkLst>
        </pc:spChg>
        <pc:spChg chg="mod">
          <ac:chgData name="Sindija Kirsteine (LV)" userId="5f25501a-2215-4bb3-9d9c-8d1484ffa7c1" providerId="ADAL" clId="{8AAD7737-BE3D-48FE-A7A6-FB4F1E491907}" dt="2024-07-05T15:42:21.763" v="3027"/>
          <ac:spMkLst>
            <pc:docMk/>
            <pc:sldMk cId="3128847407" sldId="2147481907"/>
            <ac:spMk id="7" creationId="{41773896-1F7A-1AAB-9F7B-C89D34FDB3C1}"/>
          </ac:spMkLst>
        </pc:spChg>
        <pc:spChg chg="mod">
          <ac:chgData name="Sindija Kirsteine (LV)" userId="5f25501a-2215-4bb3-9d9c-8d1484ffa7c1" providerId="ADAL" clId="{8AAD7737-BE3D-48FE-A7A6-FB4F1E491907}" dt="2024-07-05T15:42:21.763" v="3027"/>
          <ac:spMkLst>
            <pc:docMk/>
            <pc:sldMk cId="3128847407" sldId="2147481907"/>
            <ac:spMk id="8" creationId="{6F536CF0-5554-43E6-154B-640E27C96850}"/>
          </ac:spMkLst>
        </pc:spChg>
        <pc:spChg chg="mod">
          <ac:chgData name="Sindija Kirsteine (LV)" userId="5f25501a-2215-4bb3-9d9c-8d1484ffa7c1" providerId="ADAL" clId="{8AAD7737-BE3D-48FE-A7A6-FB4F1E491907}" dt="2024-07-05T15:42:21.763" v="3027"/>
          <ac:spMkLst>
            <pc:docMk/>
            <pc:sldMk cId="3128847407" sldId="2147481907"/>
            <ac:spMk id="9" creationId="{581B6AF9-C629-AC96-C8A6-CFA55B97B3A7}"/>
          </ac:spMkLst>
        </pc:spChg>
        <pc:spChg chg="mod">
          <ac:chgData name="Sindija Kirsteine (LV)" userId="5f25501a-2215-4bb3-9d9c-8d1484ffa7c1" providerId="ADAL" clId="{8AAD7737-BE3D-48FE-A7A6-FB4F1E491907}" dt="2024-07-05T15:42:21.763" v="3027"/>
          <ac:spMkLst>
            <pc:docMk/>
            <pc:sldMk cId="3128847407" sldId="2147481907"/>
            <ac:spMk id="10" creationId="{2EA28E3E-E83A-1D80-34C8-5E987BA29E51}"/>
          </ac:spMkLst>
        </pc:spChg>
        <pc:spChg chg="add del mod">
          <ac:chgData name="Sindija Kirsteine (LV)" userId="5f25501a-2215-4bb3-9d9c-8d1484ffa7c1" providerId="ADAL" clId="{8AAD7737-BE3D-48FE-A7A6-FB4F1E491907}" dt="2024-07-05T15:47:15.320" v="3183" actId="478"/>
          <ac:spMkLst>
            <pc:docMk/>
            <pc:sldMk cId="3128847407" sldId="2147481907"/>
            <ac:spMk id="12" creationId="{31B489AB-B63C-C230-6622-9D4AB850D8E4}"/>
          </ac:spMkLst>
        </pc:spChg>
        <pc:spChg chg="mod">
          <ac:chgData name="Sindija Kirsteine (LV)" userId="5f25501a-2215-4bb3-9d9c-8d1484ffa7c1" providerId="ADAL" clId="{8AAD7737-BE3D-48FE-A7A6-FB4F1E491907}" dt="2024-07-05T09:40:10.856" v="2442" actId="20577"/>
          <ac:spMkLst>
            <pc:docMk/>
            <pc:sldMk cId="3128847407" sldId="2147481907"/>
            <ac:spMk id="23" creationId="{E45F1F02-C964-720E-8F08-A32EE693FF61}"/>
          </ac:spMkLst>
        </pc:spChg>
        <pc:spChg chg="mod">
          <ac:chgData name="Sindija Kirsteine (LV)" userId="5f25501a-2215-4bb3-9d9c-8d1484ffa7c1" providerId="ADAL" clId="{8AAD7737-BE3D-48FE-A7A6-FB4F1E491907}" dt="2024-07-04T14:27:18.757" v="351" actId="20577"/>
          <ac:spMkLst>
            <pc:docMk/>
            <pc:sldMk cId="3128847407" sldId="2147481907"/>
            <ac:spMk id="25" creationId="{EE38E3C5-17C6-995C-2B10-DA6E76B744CF}"/>
          </ac:spMkLst>
        </pc:spChg>
        <pc:spChg chg="mod">
          <ac:chgData name="Sindija Kirsteine (LV)" userId="5f25501a-2215-4bb3-9d9c-8d1484ffa7c1" providerId="ADAL" clId="{8AAD7737-BE3D-48FE-A7A6-FB4F1E491907}" dt="2024-07-04T14:44:29.281" v="390" actId="20577"/>
          <ac:spMkLst>
            <pc:docMk/>
            <pc:sldMk cId="3128847407" sldId="2147481907"/>
            <ac:spMk id="28" creationId="{10FDC9F1-0062-43E8-295B-15266D46CB81}"/>
          </ac:spMkLst>
        </pc:spChg>
        <pc:spChg chg="mod">
          <ac:chgData name="Sindija Kirsteine (LV)" userId="5f25501a-2215-4bb3-9d9c-8d1484ffa7c1" providerId="ADAL" clId="{8AAD7737-BE3D-48FE-A7A6-FB4F1E491907}" dt="2024-07-05T09:26:12.857" v="2374" actId="20577"/>
          <ac:spMkLst>
            <pc:docMk/>
            <pc:sldMk cId="3128847407" sldId="2147481907"/>
            <ac:spMk id="51" creationId="{B4FD485E-F167-8AA9-CB6E-FE1259AA9522}"/>
          </ac:spMkLst>
        </pc:spChg>
        <pc:spChg chg="mod">
          <ac:chgData name="Sindija Kirsteine (LV)" userId="5f25501a-2215-4bb3-9d9c-8d1484ffa7c1" providerId="ADAL" clId="{8AAD7737-BE3D-48FE-A7A6-FB4F1E491907}" dt="2024-07-04T14:45:26.081" v="391"/>
          <ac:spMkLst>
            <pc:docMk/>
            <pc:sldMk cId="3128847407" sldId="2147481907"/>
            <ac:spMk id="53" creationId="{75992168-C230-8132-71E4-1A278C128433}"/>
          </ac:spMkLst>
        </pc:spChg>
        <pc:spChg chg="mod">
          <ac:chgData name="Sindija Kirsteine (LV)" userId="5f25501a-2215-4bb3-9d9c-8d1484ffa7c1" providerId="ADAL" clId="{8AAD7737-BE3D-48FE-A7A6-FB4F1E491907}" dt="2024-07-04T14:31:01.210" v="356"/>
          <ac:spMkLst>
            <pc:docMk/>
            <pc:sldMk cId="3128847407" sldId="2147481907"/>
            <ac:spMk id="54" creationId="{8E63A1AA-701B-5F45-B838-1BDFB0811BF3}"/>
          </ac:spMkLst>
        </pc:spChg>
        <pc:spChg chg="mod">
          <ac:chgData name="Sindija Kirsteine (LV)" userId="5f25501a-2215-4bb3-9d9c-8d1484ffa7c1" providerId="ADAL" clId="{8AAD7737-BE3D-48FE-A7A6-FB4F1E491907}" dt="2024-07-04T14:34:25.247" v="358" actId="20577"/>
          <ac:spMkLst>
            <pc:docMk/>
            <pc:sldMk cId="3128847407" sldId="2147481907"/>
            <ac:spMk id="55" creationId="{5829EF3D-2765-04A5-F92B-707E4ECA376A}"/>
          </ac:spMkLst>
        </pc:spChg>
        <pc:spChg chg="mod">
          <ac:chgData name="Sindija Kirsteine (LV)" userId="5f25501a-2215-4bb3-9d9c-8d1484ffa7c1" providerId="ADAL" clId="{8AAD7737-BE3D-48FE-A7A6-FB4F1E491907}" dt="2024-07-04T14:36:26.628" v="366" actId="20577"/>
          <ac:spMkLst>
            <pc:docMk/>
            <pc:sldMk cId="3128847407" sldId="2147481907"/>
            <ac:spMk id="56" creationId="{A9C4FCB5-6C8F-A789-CBA3-6C64ACB2C6A7}"/>
          </ac:spMkLst>
        </pc:spChg>
        <pc:spChg chg="mod">
          <ac:chgData name="Sindija Kirsteine (LV)" userId="5f25501a-2215-4bb3-9d9c-8d1484ffa7c1" providerId="ADAL" clId="{8AAD7737-BE3D-48FE-A7A6-FB4F1E491907}" dt="2024-07-06T08:50:17.052" v="3384" actId="20577"/>
          <ac:spMkLst>
            <pc:docMk/>
            <pc:sldMk cId="3128847407" sldId="2147481907"/>
            <ac:spMk id="58" creationId="{B44BA6E0-43A3-4DFC-7D97-393B65228ECB}"/>
          </ac:spMkLst>
        </pc:spChg>
        <pc:spChg chg="mod">
          <ac:chgData name="Sindija Kirsteine (LV)" userId="5f25501a-2215-4bb3-9d9c-8d1484ffa7c1" providerId="ADAL" clId="{8AAD7737-BE3D-48FE-A7A6-FB4F1E491907}" dt="2024-07-06T08:50:01.818" v="3381"/>
          <ac:spMkLst>
            <pc:docMk/>
            <pc:sldMk cId="3128847407" sldId="2147481907"/>
            <ac:spMk id="59" creationId="{6B444EF6-5BE0-7B70-8CD4-262B2EFDD437}"/>
          </ac:spMkLst>
        </pc:spChg>
        <pc:spChg chg="mod">
          <ac:chgData name="Sindija Kirsteine (LV)" userId="5f25501a-2215-4bb3-9d9c-8d1484ffa7c1" providerId="ADAL" clId="{8AAD7737-BE3D-48FE-A7A6-FB4F1E491907}" dt="2024-07-05T09:29:19.290" v="2383"/>
          <ac:spMkLst>
            <pc:docMk/>
            <pc:sldMk cId="3128847407" sldId="2147481907"/>
            <ac:spMk id="60" creationId="{EEFC052F-1E24-EE1F-2A55-AFB2ACA441EF}"/>
          </ac:spMkLst>
        </pc:spChg>
        <pc:grpChg chg="add mod">
          <ac:chgData name="Sindija Kirsteine (LV)" userId="5f25501a-2215-4bb3-9d9c-8d1484ffa7c1" providerId="ADAL" clId="{8AAD7737-BE3D-48FE-A7A6-FB4F1E491907}" dt="2024-07-05T15:42:21.763" v="3027"/>
          <ac:grpSpMkLst>
            <pc:docMk/>
            <pc:sldMk cId="3128847407" sldId="2147481907"/>
            <ac:grpSpMk id="3" creationId="{AE257426-4014-B52D-3C8F-D7B6EF73B785}"/>
          </ac:grpSpMkLst>
        </pc:grpChg>
        <pc:grpChg chg="del">
          <ac:chgData name="Sindija Kirsteine (LV)" userId="5f25501a-2215-4bb3-9d9c-8d1484ffa7c1" providerId="ADAL" clId="{8AAD7737-BE3D-48FE-A7A6-FB4F1E491907}" dt="2024-07-05T15:42:21.481" v="3026" actId="478"/>
          <ac:grpSpMkLst>
            <pc:docMk/>
            <pc:sldMk cId="3128847407" sldId="2147481907"/>
            <ac:grpSpMk id="13" creationId="{3E77A534-9B64-C05F-9C18-E393BDF20F2A}"/>
          </ac:grpSpMkLst>
        </pc:grpChg>
      </pc:sldChg>
      <pc:sldChg chg="addSp delSp modSp mod">
        <pc:chgData name="Sindija Kirsteine (LV)" userId="5f25501a-2215-4bb3-9d9c-8d1484ffa7c1" providerId="ADAL" clId="{8AAD7737-BE3D-48FE-A7A6-FB4F1E491907}" dt="2024-07-05T15:51:46.905" v="3276" actId="207"/>
        <pc:sldMkLst>
          <pc:docMk/>
          <pc:sldMk cId="372668532" sldId="2147481911"/>
        </pc:sldMkLst>
        <pc:spChg chg="mod">
          <ac:chgData name="Sindija Kirsteine (LV)" userId="5f25501a-2215-4bb3-9d9c-8d1484ffa7c1" providerId="ADAL" clId="{8AAD7737-BE3D-48FE-A7A6-FB4F1E491907}" dt="2024-07-05T07:53:53.477" v="1520" actId="20577"/>
          <ac:spMkLst>
            <pc:docMk/>
            <pc:sldMk cId="372668532" sldId="2147481911"/>
            <ac:spMk id="3" creationId="{1F0214FA-217F-A1F4-9E8B-DFF75B96BA2C}"/>
          </ac:spMkLst>
        </pc:spChg>
        <pc:spChg chg="mod">
          <ac:chgData name="Sindija Kirsteine (LV)" userId="5f25501a-2215-4bb3-9d9c-8d1484ffa7c1" providerId="ADAL" clId="{8AAD7737-BE3D-48FE-A7A6-FB4F1E491907}" dt="2024-07-05T07:49:29.822" v="1483" actId="20577"/>
          <ac:spMkLst>
            <pc:docMk/>
            <pc:sldMk cId="372668532" sldId="2147481911"/>
            <ac:spMk id="4" creationId="{3BA727F4-D622-2FE3-C89F-CAEDA9FEED47}"/>
          </ac:spMkLst>
        </pc:spChg>
        <pc:spChg chg="mod">
          <ac:chgData name="Sindija Kirsteine (LV)" userId="5f25501a-2215-4bb3-9d9c-8d1484ffa7c1" providerId="ADAL" clId="{8AAD7737-BE3D-48FE-A7A6-FB4F1E491907}" dt="2024-07-05T07:49:44.301" v="1485" actId="20577"/>
          <ac:spMkLst>
            <pc:docMk/>
            <pc:sldMk cId="372668532" sldId="2147481911"/>
            <ac:spMk id="6" creationId="{9917DBA6-24E2-6F47-2F29-AB73FE7DD9E3}"/>
          </ac:spMkLst>
        </pc:spChg>
        <pc:spChg chg="mod">
          <ac:chgData name="Sindija Kirsteine (LV)" userId="5f25501a-2215-4bb3-9d9c-8d1484ffa7c1" providerId="ADAL" clId="{8AAD7737-BE3D-48FE-A7A6-FB4F1E491907}" dt="2024-07-05T07:49:57.812" v="1486"/>
          <ac:spMkLst>
            <pc:docMk/>
            <pc:sldMk cId="372668532" sldId="2147481911"/>
            <ac:spMk id="10" creationId="{CC6738D2-EE44-4137-26D7-371FBB07D62E}"/>
          </ac:spMkLst>
        </pc:spChg>
        <pc:spChg chg="mod">
          <ac:chgData name="Sindija Kirsteine (LV)" userId="5f25501a-2215-4bb3-9d9c-8d1484ffa7c1" providerId="ADAL" clId="{8AAD7737-BE3D-48FE-A7A6-FB4F1E491907}" dt="2024-07-05T07:52:08.775" v="1513" actId="20577"/>
          <ac:spMkLst>
            <pc:docMk/>
            <pc:sldMk cId="372668532" sldId="2147481911"/>
            <ac:spMk id="11" creationId="{290F56A8-6522-E630-36BB-EDFB9FCA0E46}"/>
          </ac:spMkLst>
        </pc:spChg>
        <pc:spChg chg="mod">
          <ac:chgData name="Sindija Kirsteine (LV)" userId="5f25501a-2215-4bb3-9d9c-8d1484ffa7c1" providerId="ADAL" clId="{8AAD7737-BE3D-48FE-A7A6-FB4F1E491907}" dt="2024-07-05T15:44:08.261" v="3074"/>
          <ac:spMkLst>
            <pc:docMk/>
            <pc:sldMk cId="372668532" sldId="2147481911"/>
            <ac:spMk id="19" creationId="{6540BC75-6FF7-3EFB-611D-10057DCAFAEB}"/>
          </ac:spMkLst>
        </pc:spChg>
        <pc:spChg chg="mod">
          <ac:chgData name="Sindija Kirsteine (LV)" userId="5f25501a-2215-4bb3-9d9c-8d1484ffa7c1" providerId="ADAL" clId="{8AAD7737-BE3D-48FE-A7A6-FB4F1E491907}" dt="2024-07-05T15:44:08.261" v="3074"/>
          <ac:spMkLst>
            <pc:docMk/>
            <pc:sldMk cId="372668532" sldId="2147481911"/>
            <ac:spMk id="20" creationId="{075F95DD-FA9C-61A9-E434-976417153EBE}"/>
          </ac:spMkLst>
        </pc:spChg>
        <pc:spChg chg="mod">
          <ac:chgData name="Sindija Kirsteine (LV)" userId="5f25501a-2215-4bb3-9d9c-8d1484ffa7c1" providerId="ADAL" clId="{8AAD7737-BE3D-48FE-A7A6-FB4F1E491907}" dt="2024-07-05T15:44:08.261" v="3074"/>
          <ac:spMkLst>
            <pc:docMk/>
            <pc:sldMk cId="372668532" sldId="2147481911"/>
            <ac:spMk id="21" creationId="{1E6E76D9-CF47-F318-6E3F-3613BCFFD3C0}"/>
          </ac:spMkLst>
        </pc:spChg>
        <pc:spChg chg="mod">
          <ac:chgData name="Sindija Kirsteine (LV)" userId="5f25501a-2215-4bb3-9d9c-8d1484ffa7c1" providerId="ADAL" clId="{8AAD7737-BE3D-48FE-A7A6-FB4F1E491907}" dt="2024-07-05T15:44:08.261" v="3074"/>
          <ac:spMkLst>
            <pc:docMk/>
            <pc:sldMk cId="372668532" sldId="2147481911"/>
            <ac:spMk id="24" creationId="{A27EAEDA-314E-6AEF-979C-51A76F268962}"/>
          </ac:spMkLst>
        </pc:spChg>
        <pc:spChg chg="mod">
          <ac:chgData name="Sindija Kirsteine (LV)" userId="5f25501a-2215-4bb3-9d9c-8d1484ffa7c1" providerId="ADAL" clId="{8AAD7737-BE3D-48FE-A7A6-FB4F1E491907}" dt="2024-07-05T07:56:36.251" v="1563" actId="12789"/>
          <ac:spMkLst>
            <pc:docMk/>
            <pc:sldMk cId="372668532" sldId="2147481911"/>
            <ac:spMk id="26" creationId="{98DD969D-111B-B195-E250-0BF323A81EB3}"/>
          </ac:spMkLst>
        </pc:spChg>
        <pc:spChg chg="mod">
          <ac:chgData name="Sindija Kirsteine (LV)" userId="5f25501a-2215-4bb3-9d9c-8d1484ffa7c1" providerId="ADAL" clId="{8AAD7737-BE3D-48FE-A7A6-FB4F1E491907}" dt="2024-07-05T07:50:19.043" v="1488" actId="14100"/>
          <ac:spMkLst>
            <pc:docMk/>
            <pc:sldMk cId="372668532" sldId="2147481911"/>
            <ac:spMk id="27" creationId="{4D88B19E-A226-37FC-F0E8-28DFC633DFD5}"/>
          </ac:spMkLst>
        </pc:spChg>
        <pc:spChg chg="mod">
          <ac:chgData name="Sindija Kirsteine (LV)" userId="5f25501a-2215-4bb3-9d9c-8d1484ffa7c1" providerId="ADAL" clId="{8AAD7737-BE3D-48FE-A7A6-FB4F1E491907}" dt="2024-07-05T15:44:08.261" v="3074"/>
          <ac:spMkLst>
            <pc:docMk/>
            <pc:sldMk cId="372668532" sldId="2147481911"/>
            <ac:spMk id="29" creationId="{F481BF1B-B48D-C6A9-C64A-51138A41491A}"/>
          </ac:spMkLst>
        </pc:spChg>
        <pc:spChg chg="mod">
          <ac:chgData name="Sindija Kirsteine (LV)" userId="5f25501a-2215-4bb3-9d9c-8d1484ffa7c1" providerId="ADAL" clId="{8AAD7737-BE3D-48FE-A7A6-FB4F1E491907}" dt="2024-07-05T15:44:08.261" v="3074"/>
          <ac:spMkLst>
            <pc:docMk/>
            <pc:sldMk cId="372668532" sldId="2147481911"/>
            <ac:spMk id="30" creationId="{7D599F04-D05B-EA89-4ACC-3BF4BCEFA7B7}"/>
          </ac:spMkLst>
        </pc:spChg>
        <pc:spChg chg="mod">
          <ac:chgData name="Sindija Kirsteine (LV)" userId="5f25501a-2215-4bb3-9d9c-8d1484ffa7c1" providerId="ADAL" clId="{8AAD7737-BE3D-48FE-A7A6-FB4F1E491907}" dt="2024-07-05T07:44:11.245" v="1444"/>
          <ac:spMkLst>
            <pc:docMk/>
            <pc:sldMk cId="372668532" sldId="2147481911"/>
            <ac:spMk id="31" creationId="{AC1A8412-4F65-DDBA-F381-5226A1078715}"/>
          </ac:spMkLst>
        </pc:spChg>
        <pc:spChg chg="mod">
          <ac:chgData name="Sindija Kirsteine (LV)" userId="5f25501a-2215-4bb3-9d9c-8d1484ffa7c1" providerId="ADAL" clId="{8AAD7737-BE3D-48FE-A7A6-FB4F1E491907}" dt="2024-07-05T07:56:31.324" v="1561" actId="12789"/>
          <ac:spMkLst>
            <pc:docMk/>
            <pc:sldMk cId="372668532" sldId="2147481911"/>
            <ac:spMk id="43" creationId="{BE97B73E-E6E3-8CB0-904F-2A3F50EB3854}"/>
          </ac:spMkLst>
        </pc:spChg>
        <pc:spChg chg="mod">
          <ac:chgData name="Sindija Kirsteine (LV)" userId="5f25501a-2215-4bb3-9d9c-8d1484ffa7c1" providerId="ADAL" clId="{8AAD7737-BE3D-48FE-A7A6-FB4F1E491907}" dt="2024-07-05T07:57:05.325" v="1594" actId="1076"/>
          <ac:spMkLst>
            <pc:docMk/>
            <pc:sldMk cId="372668532" sldId="2147481911"/>
            <ac:spMk id="46" creationId="{E0ED3D26-C5F7-0348-C3E4-8D385519C31E}"/>
          </ac:spMkLst>
        </pc:spChg>
        <pc:spChg chg="mod">
          <ac:chgData name="Sindija Kirsteine (LV)" userId="5f25501a-2215-4bb3-9d9c-8d1484ffa7c1" providerId="ADAL" clId="{8AAD7737-BE3D-48FE-A7A6-FB4F1E491907}" dt="2024-07-05T07:57:05.325" v="1594" actId="1076"/>
          <ac:spMkLst>
            <pc:docMk/>
            <pc:sldMk cId="372668532" sldId="2147481911"/>
            <ac:spMk id="49" creationId="{868E726F-3512-6F2F-461B-217DCFDECD9B}"/>
          </ac:spMkLst>
        </pc:spChg>
        <pc:spChg chg="mod">
          <ac:chgData name="Sindija Kirsteine (LV)" userId="5f25501a-2215-4bb3-9d9c-8d1484ffa7c1" providerId="ADAL" clId="{8AAD7737-BE3D-48FE-A7A6-FB4F1E491907}" dt="2024-07-05T07:56:36.251" v="1563" actId="12789"/>
          <ac:spMkLst>
            <pc:docMk/>
            <pc:sldMk cId="372668532" sldId="2147481911"/>
            <ac:spMk id="4101" creationId="{03F1F4CB-D386-BC1E-505A-3B383D164A5F}"/>
          </ac:spMkLst>
        </pc:spChg>
        <pc:spChg chg="mod">
          <ac:chgData name="Sindija Kirsteine (LV)" userId="5f25501a-2215-4bb3-9d9c-8d1484ffa7c1" providerId="ADAL" clId="{8AAD7737-BE3D-48FE-A7A6-FB4F1E491907}" dt="2024-07-05T07:57:51.491" v="1607" actId="12789"/>
          <ac:spMkLst>
            <pc:docMk/>
            <pc:sldMk cId="372668532" sldId="2147481911"/>
            <ac:spMk id="4102" creationId="{832A24C4-E6FA-B24F-FED5-0D1601E6D48D}"/>
          </ac:spMkLst>
        </pc:spChg>
        <pc:spChg chg="mod">
          <ac:chgData name="Sindija Kirsteine (LV)" userId="5f25501a-2215-4bb3-9d9c-8d1484ffa7c1" providerId="ADAL" clId="{8AAD7737-BE3D-48FE-A7A6-FB4F1E491907}" dt="2024-07-05T07:59:12.650" v="1621" actId="12789"/>
          <ac:spMkLst>
            <pc:docMk/>
            <pc:sldMk cId="372668532" sldId="2147481911"/>
            <ac:spMk id="4103" creationId="{44A83C43-D18D-07D9-9D43-7338978140F3}"/>
          </ac:spMkLst>
        </pc:spChg>
        <pc:spChg chg="mod">
          <ac:chgData name="Sindija Kirsteine (LV)" userId="5f25501a-2215-4bb3-9d9c-8d1484ffa7c1" providerId="ADAL" clId="{8AAD7737-BE3D-48FE-A7A6-FB4F1E491907}" dt="2024-07-05T07:55:00.658" v="1533" actId="12789"/>
          <ac:spMkLst>
            <pc:docMk/>
            <pc:sldMk cId="372668532" sldId="2147481911"/>
            <ac:spMk id="4114" creationId="{F74E23CE-0B04-3AF6-ED5B-8AB02302EBB3}"/>
          </ac:spMkLst>
        </pc:spChg>
        <pc:spChg chg="mod">
          <ac:chgData name="Sindija Kirsteine (LV)" userId="5f25501a-2215-4bb3-9d9c-8d1484ffa7c1" providerId="ADAL" clId="{8AAD7737-BE3D-48FE-A7A6-FB4F1E491907}" dt="2024-07-05T07:57:51.491" v="1607" actId="12789"/>
          <ac:spMkLst>
            <pc:docMk/>
            <pc:sldMk cId="372668532" sldId="2147481911"/>
            <ac:spMk id="4115" creationId="{8A552A7C-C5C1-DBF9-CF87-8C87EA1ADE6F}"/>
          </ac:spMkLst>
        </pc:spChg>
        <pc:spChg chg="mod">
          <ac:chgData name="Sindija Kirsteine (LV)" userId="5f25501a-2215-4bb3-9d9c-8d1484ffa7c1" providerId="ADAL" clId="{8AAD7737-BE3D-48FE-A7A6-FB4F1E491907}" dt="2024-07-05T07:59:12.650" v="1621" actId="12789"/>
          <ac:spMkLst>
            <pc:docMk/>
            <pc:sldMk cId="372668532" sldId="2147481911"/>
            <ac:spMk id="4116" creationId="{61200748-FE47-40D4-9790-221D78895C3F}"/>
          </ac:spMkLst>
        </pc:spChg>
        <pc:spChg chg="mod">
          <ac:chgData name="Sindija Kirsteine (LV)" userId="5f25501a-2215-4bb3-9d9c-8d1484ffa7c1" providerId="ADAL" clId="{8AAD7737-BE3D-48FE-A7A6-FB4F1E491907}" dt="2024-07-05T15:51:46.905" v="3276" actId="207"/>
          <ac:spMkLst>
            <pc:docMk/>
            <pc:sldMk cId="372668532" sldId="2147481911"/>
            <ac:spMk id="4127" creationId="{C1B7A38B-5EF7-37FD-3C2B-2128B5F96EAD}"/>
          </ac:spMkLst>
        </pc:spChg>
        <pc:grpChg chg="add mod">
          <ac:chgData name="Sindija Kirsteine (LV)" userId="5f25501a-2215-4bb3-9d9c-8d1484ffa7c1" providerId="ADAL" clId="{8AAD7737-BE3D-48FE-A7A6-FB4F1E491907}" dt="2024-07-05T15:44:08.261" v="3074"/>
          <ac:grpSpMkLst>
            <pc:docMk/>
            <pc:sldMk cId="372668532" sldId="2147481911"/>
            <ac:grpSpMk id="2" creationId="{DE7D7BD3-8C6C-3C29-F081-62DC69667615}"/>
          </ac:grpSpMkLst>
        </pc:grpChg>
        <pc:grpChg chg="del">
          <ac:chgData name="Sindija Kirsteine (LV)" userId="5f25501a-2215-4bb3-9d9c-8d1484ffa7c1" providerId="ADAL" clId="{8AAD7737-BE3D-48FE-A7A6-FB4F1E491907}" dt="2024-07-05T15:44:08.018" v="3073" actId="478"/>
          <ac:grpSpMkLst>
            <pc:docMk/>
            <pc:sldMk cId="372668532" sldId="2147481911"/>
            <ac:grpSpMk id="9" creationId="{026AD003-7E1A-D7A7-E778-8D3F41A3621E}"/>
          </ac:grpSpMkLst>
        </pc:grpChg>
        <pc:grpChg chg="del">
          <ac:chgData name="Sindija Kirsteine (LV)" userId="5f25501a-2215-4bb3-9d9c-8d1484ffa7c1" providerId="ADAL" clId="{8AAD7737-BE3D-48FE-A7A6-FB4F1E491907}" dt="2024-07-05T07:56:06.366" v="1555" actId="478"/>
          <ac:grpSpMkLst>
            <pc:docMk/>
            <pc:sldMk cId="372668532" sldId="2147481911"/>
            <ac:grpSpMk id="9" creationId="{BD097CB1-ACBE-982B-690F-E52097072823}"/>
          </ac:grpSpMkLst>
        </pc:grpChg>
        <pc:grpChg chg="del">
          <ac:chgData name="Sindija Kirsteine (LV)" userId="5f25501a-2215-4bb3-9d9c-8d1484ffa7c1" providerId="ADAL" clId="{8AAD7737-BE3D-48FE-A7A6-FB4F1E491907}" dt="2024-07-05T07:55:57.126" v="1553" actId="478"/>
          <ac:grpSpMkLst>
            <pc:docMk/>
            <pc:sldMk cId="372668532" sldId="2147481911"/>
            <ac:grpSpMk id="14" creationId="{1B50D2D2-C2A1-F686-4448-B8B8B1DAFA21}"/>
          </ac:grpSpMkLst>
        </pc:grpChg>
        <pc:grpChg chg="del">
          <ac:chgData name="Sindija Kirsteine (LV)" userId="5f25501a-2215-4bb3-9d9c-8d1484ffa7c1" providerId="ADAL" clId="{8AAD7737-BE3D-48FE-A7A6-FB4F1E491907}" dt="2024-07-05T07:55:39.872" v="1546" actId="478"/>
          <ac:grpSpMkLst>
            <pc:docMk/>
            <pc:sldMk cId="372668532" sldId="2147481911"/>
            <ac:grpSpMk id="17" creationId="{54883E3E-97E0-4BCC-6B65-56E2A01DF8FE}"/>
          </ac:grpSpMkLst>
        </pc:grpChg>
        <pc:grpChg chg="del">
          <ac:chgData name="Sindija Kirsteine (LV)" userId="5f25501a-2215-4bb3-9d9c-8d1484ffa7c1" providerId="ADAL" clId="{8AAD7737-BE3D-48FE-A7A6-FB4F1E491907}" dt="2024-07-05T07:55:49.589" v="1550" actId="478"/>
          <ac:grpSpMkLst>
            <pc:docMk/>
            <pc:sldMk cId="372668532" sldId="2147481911"/>
            <ac:grpSpMk id="20" creationId="{1E05B710-B344-B067-C2CB-5BD63EF1CF8F}"/>
          </ac:grpSpMkLst>
        </pc:grpChg>
        <pc:grpChg chg="add mod">
          <ac:chgData name="Sindija Kirsteine (LV)" userId="5f25501a-2215-4bb3-9d9c-8d1484ffa7c1" providerId="ADAL" clId="{8AAD7737-BE3D-48FE-A7A6-FB4F1E491907}" dt="2024-07-05T07:56:36.251" v="1563" actId="12789"/>
          <ac:grpSpMkLst>
            <pc:docMk/>
            <pc:sldMk cId="372668532" sldId="2147481911"/>
            <ac:grpSpMk id="23" creationId="{B2A6F7E6-FBFF-1C8E-51D7-15C739E2BCD1}"/>
          </ac:grpSpMkLst>
        </pc:grpChg>
        <pc:grpChg chg="add mod">
          <ac:chgData name="Sindija Kirsteine (LV)" userId="5f25501a-2215-4bb3-9d9c-8d1484ffa7c1" providerId="ADAL" clId="{8AAD7737-BE3D-48FE-A7A6-FB4F1E491907}" dt="2024-07-05T07:56:31.324" v="1561" actId="12789"/>
          <ac:grpSpMkLst>
            <pc:docMk/>
            <pc:sldMk cId="372668532" sldId="2147481911"/>
            <ac:grpSpMk id="32" creationId="{C3090F34-AA5D-F1AA-6102-D6651C016735}"/>
          </ac:grpSpMkLst>
        </pc:grpChg>
        <pc:grpChg chg="add mod">
          <ac:chgData name="Sindija Kirsteine (LV)" userId="5f25501a-2215-4bb3-9d9c-8d1484ffa7c1" providerId="ADAL" clId="{8AAD7737-BE3D-48FE-A7A6-FB4F1E491907}" dt="2024-07-05T07:57:05.325" v="1594" actId="1076"/>
          <ac:grpSpMkLst>
            <pc:docMk/>
            <pc:sldMk cId="372668532" sldId="2147481911"/>
            <ac:grpSpMk id="44" creationId="{A245A56E-2DB6-34CA-45E1-8F0D387FE5FC}"/>
          </ac:grpSpMkLst>
        </pc:grpChg>
        <pc:grpChg chg="add mod">
          <ac:chgData name="Sindija Kirsteine (LV)" userId="5f25501a-2215-4bb3-9d9c-8d1484ffa7c1" providerId="ADAL" clId="{8AAD7737-BE3D-48FE-A7A6-FB4F1E491907}" dt="2024-07-05T07:57:05.325" v="1594" actId="1076"/>
          <ac:grpSpMkLst>
            <pc:docMk/>
            <pc:sldMk cId="372668532" sldId="2147481911"/>
            <ac:grpSpMk id="47" creationId="{4433626B-CD82-F867-50A6-9FE37955C272}"/>
          </ac:grpSpMkLst>
        </pc:grpChg>
        <pc:picChg chg="mod">
          <ac:chgData name="Sindija Kirsteine (LV)" userId="5f25501a-2215-4bb3-9d9c-8d1484ffa7c1" providerId="ADAL" clId="{8AAD7737-BE3D-48FE-A7A6-FB4F1E491907}" dt="2024-07-05T07:56:36.251" v="1563" actId="12789"/>
          <ac:picMkLst>
            <pc:docMk/>
            <pc:sldMk cId="372668532" sldId="2147481911"/>
            <ac:picMk id="25" creationId="{7524C0DA-F956-4D8D-C30C-B1A36D65FF80}"/>
          </ac:picMkLst>
        </pc:picChg>
        <pc:picChg chg="mod">
          <ac:chgData name="Sindija Kirsteine (LV)" userId="5f25501a-2215-4bb3-9d9c-8d1484ffa7c1" providerId="ADAL" clId="{8AAD7737-BE3D-48FE-A7A6-FB4F1E491907}" dt="2024-07-05T07:56:31.324" v="1561" actId="12789"/>
          <ac:picMkLst>
            <pc:docMk/>
            <pc:sldMk cId="372668532" sldId="2147481911"/>
            <ac:picMk id="33" creationId="{7C8B78CD-47F1-CD01-444E-0A3CF6A7562A}"/>
          </ac:picMkLst>
        </pc:picChg>
        <pc:picChg chg="mod">
          <ac:chgData name="Sindija Kirsteine (LV)" userId="5f25501a-2215-4bb3-9d9c-8d1484ffa7c1" providerId="ADAL" clId="{8AAD7737-BE3D-48FE-A7A6-FB4F1E491907}" dt="2024-07-05T07:57:05.325" v="1594" actId="1076"/>
          <ac:picMkLst>
            <pc:docMk/>
            <pc:sldMk cId="372668532" sldId="2147481911"/>
            <ac:picMk id="45" creationId="{7C4A95DC-602A-AA61-BF05-A26354DA15B3}"/>
          </ac:picMkLst>
        </pc:picChg>
        <pc:picChg chg="mod">
          <ac:chgData name="Sindija Kirsteine (LV)" userId="5f25501a-2215-4bb3-9d9c-8d1484ffa7c1" providerId="ADAL" clId="{8AAD7737-BE3D-48FE-A7A6-FB4F1E491907}" dt="2024-07-05T07:57:05.325" v="1594" actId="1076"/>
          <ac:picMkLst>
            <pc:docMk/>
            <pc:sldMk cId="372668532" sldId="2147481911"/>
            <ac:picMk id="48" creationId="{8734BACC-F903-C6C7-E0F5-A2A109DD968E}"/>
          </ac:picMkLst>
        </pc:picChg>
      </pc:sldChg>
      <pc:sldChg chg="addSp delSp modSp mod">
        <pc:chgData name="Sindija Kirsteine (LV)" userId="5f25501a-2215-4bb3-9d9c-8d1484ffa7c1" providerId="ADAL" clId="{8AAD7737-BE3D-48FE-A7A6-FB4F1E491907}" dt="2024-07-05T15:46:26.884" v="3131"/>
        <pc:sldMkLst>
          <pc:docMk/>
          <pc:sldMk cId="902380533" sldId="2147481912"/>
        </pc:sldMkLst>
        <pc:spChg chg="mod">
          <ac:chgData name="Sindija Kirsteine (LV)" userId="5f25501a-2215-4bb3-9d9c-8d1484ffa7c1" providerId="ADAL" clId="{8AAD7737-BE3D-48FE-A7A6-FB4F1E491907}" dt="2024-07-05T09:55:27.308" v="2619" actId="13926"/>
          <ac:spMkLst>
            <pc:docMk/>
            <pc:sldMk cId="902380533" sldId="2147481912"/>
            <ac:spMk id="27" creationId="{2D6405CD-2499-573E-A031-A68FA08F053E}"/>
          </ac:spMkLst>
        </pc:spChg>
        <pc:spChg chg="mod">
          <ac:chgData name="Sindija Kirsteine (LV)" userId="5f25501a-2215-4bb3-9d9c-8d1484ffa7c1" providerId="ADAL" clId="{8AAD7737-BE3D-48FE-A7A6-FB4F1E491907}" dt="2024-07-05T15:41:37.856" v="3005"/>
          <ac:spMkLst>
            <pc:docMk/>
            <pc:sldMk cId="902380533" sldId="2147481912"/>
            <ac:spMk id="31" creationId="{9308A5DF-8444-76E5-E420-E076B4918A55}"/>
          </ac:spMkLst>
        </pc:spChg>
        <pc:spChg chg="mod">
          <ac:chgData name="Sindija Kirsteine (LV)" userId="5f25501a-2215-4bb3-9d9c-8d1484ffa7c1" providerId="ADAL" clId="{8AAD7737-BE3D-48FE-A7A6-FB4F1E491907}" dt="2024-07-05T15:41:37.856" v="3005"/>
          <ac:spMkLst>
            <pc:docMk/>
            <pc:sldMk cId="902380533" sldId="2147481912"/>
            <ac:spMk id="32" creationId="{C6A9AE66-04A2-EAB1-5B4E-70687A9E7FA6}"/>
          </ac:spMkLst>
        </pc:spChg>
        <pc:spChg chg="mod">
          <ac:chgData name="Sindija Kirsteine (LV)" userId="5f25501a-2215-4bb3-9d9c-8d1484ffa7c1" providerId="ADAL" clId="{8AAD7737-BE3D-48FE-A7A6-FB4F1E491907}" dt="2024-07-05T15:41:37.856" v="3005"/>
          <ac:spMkLst>
            <pc:docMk/>
            <pc:sldMk cId="902380533" sldId="2147481912"/>
            <ac:spMk id="33" creationId="{437CEBD3-13FE-CF14-5FE8-4EBFB659F02D}"/>
          </ac:spMkLst>
        </pc:spChg>
        <pc:spChg chg="mod">
          <ac:chgData name="Sindija Kirsteine (LV)" userId="5f25501a-2215-4bb3-9d9c-8d1484ffa7c1" providerId="ADAL" clId="{8AAD7737-BE3D-48FE-A7A6-FB4F1E491907}" dt="2024-07-05T15:41:37.856" v="3005"/>
          <ac:spMkLst>
            <pc:docMk/>
            <pc:sldMk cId="902380533" sldId="2147481912"/>
            <ac:spMk id="34" creationId="{93FE8064-DCEF-1397-8F47-98E796BF399A}"/>
          </ac:spMkLst>
        </pc:spChg>
        <pc:spChg chg="mod">
          <ac:chgData name="Sindija Kirsteine (LV)" userId="5f25501a-2215-4bb3-9d9c-8d1484ffa7c1" providerId="ADAL" clId="{8AAD7737-BE3D-48FE-A7A6-FB4F1E491907}" dt="2024-07-05T15:41:37.856" v="3005"/>
          <ac:spMkLst>
            <pc:docMk/>
            <pc:sldMk cId="902380533" sldId="2147481912"/>
            <ac:spMk id="35" creationId="{702BD927-854C-A313-EDED-049D01E533FC}"/>
          </ac:spMkLst>
        </pc:spChg>
        <pc:spChg chg="mod">
          <ac:chgData name="Sindija Kirsteine (LV)" userId="5f25501a-2215-4bb3-9d9c-8d1484ffa7c1" providerId="ADAL" clId="{8AAD7737-BE3D-48FE-A7A6-FB4F1E491907}" dt="2024-07-05T15:41:37.856" v="3005"/>
          <ac:spMkLst>
            <pc:docMk/>
            <pc:sldMk cId="902380533" sldId="2147481912"/>
            <ac:spMk id="36" creationId="{CAFBD6C8-869B-C8DF-4E51-76FABD99542F}"/>
          </ac:spMkLst>
        </pc:spChg>
        <pc:spChg chg="mod">
          <ac:chgData name="Sindija Kirsteine (LV)" userId="5f25501a-2215-4bb3-9d9c-8d1484ffa7c1" providerId="ADAL" clId="{8AAD7737-BE3D-48FE-A7A6-FB4F1E491907}" dt="2024-07-05T15:46:26.884" v="3131"/>
          <ac:spMkLst>
            <pc:docMk/>
            <pc:sldMk cId="902380533" sldId="2147481912"/>
            <ac:spMk id="57346" creationId="{FCA19F51-1289-1EC9-1082-2616C6DFFA9F}"/>
          </ac:spMkLst>
        </pc:spChg>
        <pc:grpChg chg="add mod">
          <ac:chgData name="Sindija Kirsteine (LV)" userId="5f25501a-2215-4bb3-9d9c-8d1484ffa7c1" providerId="ADAL" clId="{8AAD7737-BE3D-48FE-A7A6-FB4F1E491907}" dt="2024-07-05T15:41:37.856" v="3005"/>
          <ac:grpSpMkLst>
            <pc:docMk/>
            <pc:sldMk cId="902380533" sldId="2147481912"/>
            <ac:grpSpMk id="2" creationId="{05800914-89A2-5B2C-BACA-8B9D721BACBF}"/>
          </ac:grpSpMkLst>
        </pc:grpChg>
        <pc:grpChg chg="del">
          <ac:chgData name="Sindija Kirsteine (LV)" userId="5f25501a-2215-4bb3-9d9c-8d1484ffa7c1" providerId="ADAL" clId="{8AAD7737-BE3D-48FE-A7A6-FB4F1E491907}" dt="2024-07-05T15:41:37.507" v="3004" actId="478"/>
          <ac:grpSpMkLst>
            <pc:docMk/>
            <pc:sldMk cId="902380533" sldId="2147481912"/>
            <ac:grpSpMk id="3" creationId="{9585B227-8C56-F79A-D635-01816587A2C6}"/>
          </ac:grpSpMkLst>
        </pc:grpChg>
      </pc:sldChg>
      <pc:sldChg chg="addSp delSp modSp mod">
        <pc:chgData name="Sindija Kirsteine (LV)" userId="5f25501a-2215-4bb3-9d9c-8d1484ffa7c1" providerId="ADAL" clId="{8AAD7737-BE3D-48FE-A7A6-FB4F1E491907}" dt="2024-07-05T15:51:28.991" v="3272"/>
        <pc:sldMkLst>
          <pc:docMk/>
          <pc:sldMk cId="2494049098" sldId="2147481919"/>
        </pc:sldMkLst>
        <pc:spChg chg="mod">
          <ac:chgData name="Sindija Kirsteine (LV)" userId="5f25501a-2215-4bb3-9d9c-8d1484ffa7c1" providerId="ADAL" clId="{8AAD7737-BE3D-48FE-A7A6-FB4F1E491907}" dt="2024-07-05T08:40:39.260" v="1950" actId="790"/>
          <ac:spMkLst>
            <pc:docMk/>
            <pc:sldMk cId="2494049098" sldId="2147481919"/>
            <ac:spMk id="2" creationId="{BEC6511E-C33A-6752-120D-B54808D54898}"/>
          </ac:spMkLst>
        </pc:spChg>
        <pc:spChg chg="mod">
          <ac:chgData name="Sindija Kirsteine (LV)" userId="5f25501a-2215-4bb3-9d9c-8d1484ffa7c1" providerId="ADAL" clId="{8AAD7737-BE3D-48FE-A7A6-FB4F1E491907}" dt="2024-07-05T15:49:49.984" v="3255" actId="20577"/>
          <ac:spMkLst>
            <pc:docMk/>
            <pc:sldMk cId="2494049098" sldId="2147481919"/>
            <ac:spMk id="5" creationId="{DA56ABBE-808E-2B50-2746-01A9549F0243}"/>
          </ac:spMkLst>
        </pc:spChg>
        <pc:spChg chg="mod">
          <ac:chgData name="Sindija Kirsteine (LV)" userId="5f25501a-2215-4bb3-9d9c-8d1484ffa7c1" providerId="ADAL" clId="{8AAD7737-BE3D-48FE-A7A6-FB4F1E491907}" dt="2024-07-05T15:44:11.443" v="3077"/>
          <ac:spMkLst>
            <pc:docMk/>
            <pc:sldMk cId="2494049098" sldId="2147481919"/>
            <ac:spMk id="12" creationId="{15FDC97C-D638-92D9-AD68-2E46A3644755}"/>
          </ac:spMkLst>
        </pc:spChg>
        <pc:spChg chg="mod">
          <ac:chgData name="Sindija Kirsteine (LV)" userId="5f25501a-2215-4bb3-9d9c-8d1484ffa7c1" providerId="ADAL" clId="{8AAD7737-BE3D-48FE-A7A6-FB4F1E491907}" dt="2024-07-05T08:42:40.519" v="1968" actId="20577"/>
          <ac:spMkLst>
            <pc:docMk/>
            <pc:sldMk cId="2494049098" sldId="2147481919"/>
            <ac:spMk id="13" creationId="{2FCB9AE2-6ABC-1153-E4E3-060E6F1E3AAF}"/>
          </ac:spMkLst>
        </pc:spChg>
        <pc:spChg chg="mod">
          <ac:chgData name="Sindija Kirsteine (LV)" userId="5f25501a-2215-4bb3-9d9c-8d1484ffa7c1" providerId="ADAL" clId="{8AAD7737-BE3D-48FE-A7A6-FB4F1E491907}" dt="2024-07-05T15:44:11.443" v="3077"/>
          <ac:spMkLst>
            <pc:docMk/>
            <pc:sldMk cId="2494049098" sldId="2147481919"/>
            <ac:spMk id="14" creationId="{F0A65A1F-E8D0-5730-6E72-F6FFC2566A90}"/>
          </ac:spMkLst>
        </pc:spChg>
        <pc:spChg chg="mod">
          <ac:chgData name="Sindija Kirsteine (LV)" userId="5f25501a-2215-4bb3-9d9c-8d1484ffa7c1" providerId="ADAL" clId="{8AAD7737-BE3D-48FE-A7A6-FB4F1E491907}" dt="2024-07-05T15:44:11.443" v="3077"/>
          <ac:spMkLst>
            <pc:docMk/>
            <pc:sldMk cId="2494049098" sldId="2147481919"/>
            <ac:spMk id="15" creationId="{AC2162F6-FAA5-AF58-22B9-96285E0171F9}"/>
          </ac:spMkLst>
        </pc:spChg>
        <pc:spChg chg="mod">
          <ac:chgData name="Sindija Kirsteine (LV)" userId="5f25501a-2215-4bb3-9d9c-8d1484ffa7c1" providerId="ADAL" clId="{8AAD7737-BE3D-48FE-A7A6-FB4F1E491907}" dt="2024-07-05T08:40:39.260" v="1950" actId="790"/>
          <ac:spMkLst>
            <pc:docMk/>
            <pc:sldMk cId="2494049098" sldId="2147481919"/>
            <ac:spMk id="16" creationId="{2643E0A1-87FF-2791-3660-8C7F224D3E0F}"/>
          </ac:spMkLst>
        </pc:spChg>
        <pc:spChg chg="mod">
          <ac:chgData name="Sindija Kirsteine (LV)" userId="5f25501a-2215-4bb3-9d9c-8d1484ffa7c1" providerId="ADAL" clId="{8AAD7737-BE3D-48FE-A7A6-FB4F1E491907}" dt="2024-07-05T15:44:11.443" v="3077"/>
          <ac:spMkLst>
            <pc:docMk/>
            <pc:sldMk cId="2494049098" sldId="2147481919"/>
            <ac:spMk id="17" creationId="{B52B13BE-EC74-7D1A-CC85-444AB84DFCF8}"/>
          </ac:spMkLst>
        </pc:spChg>
        <pc:spChg chg="mod">
          <ac:chgData name="Sindija Kirsteine (LV)" userId="5f25501a-2215-4bb3-9d9c-8d1484ffa7c1" providerId="ADAL" clId="{8AAD7737-BE3D-48FE-A7A6-FB4F1E491907}" dt="2024-07-05T08:40:56.111" v="1952" actId="113"/>
          <ac:spMkLst>
            <pc:docMk/>
            <pc:sldMk cId="2494049098" sldId="2147481919"/>
            <ac:spMk id="18" creationId="{0E1A1199-7305-2CEF-748D-6F5A22855534}"/>
          </ac:spMkLst>
        </pc:spChg>
        <pc:spChg chg="mod">
          <ac:chgData name="Sindija Kirsteine (LV)" userId="5f25501a-2215-4bb3-9d9c-8d1484ffa7c1" providerId="ADAL" clId="{8AAD7737-BE3D-48FE-A7A6-FB4F1E491907}" dt="2024-07-05T08:40:39.260" v="1950" actId="790"/>
          <ac:spMkLst>
            <pc:docMk/>
            <pc:sldMk cId="2494049098" sldId="2147481919"/>
            <ac:spMk id="19" creationId="{9B029BEC-72B3-C1E2-7AFC-D65ACADC991B}"/>
          </ac:spMkLst>
        </pc:spChg>
        <pc:spChg chg="mod">
          <ac:chgData name="Sindija Kirsteine (LV)" userId="5f25501a-2215-4bb3-9d9c-8d1484ffa7c1" providerId="ADAL" clId="{8AAD7737-BE3D-48FE-A7A6-FB4F1E491907}" dt="2024-07-05T15:44:11.443" v="3077"/>
          <ac:spMkLst>
            <pc:docMk/>
            <pc:sldMk cId="2494049098" sldId="2147481919"/>
            <ac:spMk id="20" creationId="{B7B9FD5B-B44E-760F-4D56-5A44F7C3BEE8}"/>
          </ac:spMkLst>
        </pc:spChg>
        <pc:spChg chg="mod">
          <ac:chgData name="Sindija Kirsteine (LV)" userId="5f25501a-2215-4bb3-9d9c-8d1484ffa7c1" providerId="ADAL" clId="{8AAD7737-BE3D-48FE-A7A6-FB4F1E491907}" dt="2024-07-05T08:41:00.671" v="1953" actId="113"/>
          <ac:spMkLst>
            <pc:docMk/>
            <pc:sldMk cId="2494049098" sldId="2147481919"/>
            <ac:spMk id="21" creationId="{D2B8CCD4-519B-DC9C-9476-0A79B896B75D}"/>
          </ac:spMkLst>
        </pc:spChg>
        <pc:spChg chg="mod">
          <ac:chgData name="Sindija Kirsteine (LV)" userId="5f25501a-2215-4bb3-9d9c-8d1484ffa7c1" providerId="ADAL" clId="{8AAD7737-BE3D-48FE-A7A6-FB4F1E491907}" dt="2024-07-05T08:41:11.165" v="1955" actId="113"/>
          <ac:spMkLst>
            <pc:docMk/>
            <pc:sldMk cId="2494049098" sldId="2147481919"/>
            <ac:spMk id="22" creationId="{C2E2F87E-C09F-4B30-1919-F5E2A78F3541}"/>
          </ac:spMkLst>
        </pc:spChg>
        <pc:spChg chg="mod">
          <ac:chgData name="Sindija Kirsteine (LV)" userId="5f25501a-2215-4bb3-9d9c-8d1484ffa7c1" providerId="ADAL" clId="{8AAD7737-BE3D-48FE-A7A6-FB4F1E491907}" dt="2024-07-05T08:41:55.006" v="1961" actId="113"/>
          <ac:spMkLst>
            <pc:docMk/>
            <pc:sldMk cId="2494049098" sldId="2147481919"/>
            <ac:spMk id="23" creationId="{B285B1A9-5FD7-D286-0263-BDDA47CD84FC}"/>
          </ac:spMkLst>
        </pc:spChg>
        <pc:spChg chg="mod">
          <ac:chgData name="Sindija Kirsteine (LV)" userId="5f25501a-2215-4bb3-9d9c-8d1484ffa7c1" providerId="ADAL" clId="{8AAD7737-BE3D-48FE-A7A6-FB4F1E491907}" dt="2024-07-05T08:41:45.609" v="1959" actId="113"/>
          <ac:spMkLst>
            <pc:docMk/>
            <pc:sldMk cId="2494049098" sldId="2147481919"/>
            <ac:spMk id="24" creationId="{85A647CD-F728-A196-CBAF-3E4BB87AD2EB}"/>
          </ac:spMkLst>
        </pc:spChg>
        <pc:spChg chg="mod">
          <ac:chgData name="Sindija Kirsteine (LV)" userId="5f25501a-2215-4bb3-9d9c-8d1484ffa7c1" providerId="ADAL" clId="{8AAD7737-BE3D-48FE-A7A6-FB4F1E491907}" dt="2024-07-05T15:44:11.443" v="3077"/>
          <ac:spMkLst>
            <pc:docMk/>
            <pc:sldMk cId="2494049098" sldId="2147481919"/>
            <ac:spMk id="25" creationId="{BB8209BB-91D2-4916-A4D9-B29C53529057}"/>
          </ac:spMkLst>
        </pc:spChg>
        <pc:spChg chg="add mod">
          <ac:chgData name="Sindija Kirsteine (LV)" userId="5f25501a-2215-4bb3-9d9c-8d1484ffa7c1" providerId="ADAL" clId="{8AAD7737-BE3D-48FE-A7A6-FB4F1E491907}" dt="2024-07-05T15:51:28.991" v="3272"/>
          <ac:spMkLst>
            <pc:docMk/>
            <pc:sldMk cId="2494049098" sldId="2147481919"/>
            <ac:spMk id="26" creationId="{63A28258-EFFA-C4A1-1F75-24C0E03553D9}"/>
          </ac:spMkLst>
        </pc:spChg>
        <pc:spChg chg="add mod">
          <ac:chgData name="Sindija Kirsteine (LV)" userId="5f25501a-2215-4bb3-9d9c-8d1484ffa7c1" providerId="ADAL" clId="{8AAD7737-BE3D-48FE-A7A6-FB4F1E491907}" dt="2024-07-05T15:51:28.991" v="3272"/>
          <ac:spMkLst>
            <pc:docMk/>
            <pc:sldMk cId="2494049098" sldId="2147481919"/>
            <ac:spMk id="27" creationId="{65E4C235-9070-DCDB-4F52-32CB7FE60EBC}"/>
          </ac:spMkLst>
        </pc:spChg>
        <pc:spChg chg="mod">
          <ac:chgData name="Sindija Kirsteine (LV)" userId="5f25501a-2215-4bb3-9d9c-8d1484ffa7c1" providerId="ADAL" clId="{8AAD7737-BE3D-48FE-A7A6-FB4F1E491907}" dt="2024-07-05T08:42:52.151" v="1969" actId="113"/>
          <ac:spMkLst>
            <pc:docMk/>
            <pc:sldMk cId="2494049098" sldId="2147481919"/>
            <ac:spMk id="28" creationId="{A8479FCA-91DD-67F0-9AFB-B095F10CA66F}"/>
          </ac:spMkLst>
        </pc:spChg>
        <pc:spChg chg="mod">
          <ac:chgData name="Sindija Kirsteine (LV)" userId="5f25501a-2215-4bb3-9d9c-8d1484ffa7c1" providerId="ADAL" clId="{8AAD7737-BE3D-48FE-A7A6-FB4F1E491907}" dt="2024-07-05T08:40:39.260" v="1950" actId="790"/>
          <ac:spMkLst>
            <pc:docMk/>
            <pc:sldMk cId="2494049098" sldId="2147481919"/>
            <ac:spMk id="29" creationId="{DA982DD2-60F8-7B32-275E-AD24B7F6D9B8}"/>
          </ac:spMkLst>
        </pc:spChg>
        <pc:spChg chg="add mod">
          <ac:chgData name="Sindija Kirsteine (LV)" userId="5f25501a-2215-4bb3-9d9c-8d1484ffa7c1" providerId="ADAL" clId="{8AAD7737-BE3D-48FE-A7A6-FB4F1E491907}" dt="2024-07-05T15:51:28.991" v="3272"/>
          <ac:spMkLst>
            <pc:docMk/>
            <pc:sldMk cId="2494049098" sldId="2147481919"/>
            <ac:spMk id="30" creationId="{8D962113-5767-BC1F-1204-A71C9A6F057A}"/>
          </ac:spMkLst>
        </pc:spChg>
        <pc:spChg chg="mod">
          <ac:chgData name="Sindija Kirsteine (LV)" userId="5f25501a-2215-4bb3-9d9c-8d1484ffa7c1" providerId="ADAL" clId="{8AAD7737-BE3D-48FE-A7A6-FB4F1E491907}" dt="2024-07-05T08:40:39.260" v="1950" actId="790"/>
          <ac:spMkLst>
            <pc:docMk/>
            <pc:sldMk cId="2494049098" sldId="2147481919"/>
            <ac:spMk id="31" creationId="{4C45F5D8-454F-D1DA-B888-BD8393D29AB2}"/>
          </ac:spMkLst>
        </pc:spChg>
        <pc:spChg chg="mod">
          <ac:chgData name="Sindija Kirsteine (LV)" userId="5f25501a-2215-4bb3-9d9c-8d1484ffa7c1" providerId="ADAL" clId="{8AAD7737-BE3D-48FE-A7A6-FB4F1E491907}" dt="2024-07-05T08:40:39.260" v="1950" actId="790"/>
          <ac:spMkLst>
            <pc:docMk/>
            <pc:sldMk cId="2494049098" sldId="2147481919"/>
            <ac:spMk id="32" creationId="{962A0AB5-1528-1FA1-7ABB-354ECFC14075}"/>
          </ac:spMkLst>
        </pc:spChg>
        <pc:spChg chg="mod">
          <ac:chgData name="Sindija Kirsteine (LV)" userId="5f25501a-2215-4bb3-9d9c-8d1484ffa7c1" providerId="ADAL" clId="{8AAD7737-BE3D-48FE-A7A6-FB4F1E491907}" dt="2024-07-05T08:40:39.260" v="1950" actId="790"/>
          <ac:spMkLst>
            <pc:docMk/>
            <pc:sldMk cId="2494049098" sldId="2147481919"/>
            <ac:spMk id="33" creationId="{87243747-3691-E1B8-E4CC-AC56B9D9AEEA}"/>
          </ac:spMkLst>
        </pc:spChg>
        <pc:spChg chg="mod">
          <ac:chgData name="Sindija Kirsteine (LV)" userId="5f25501a-2215-4bb3-9d9c-8d1484ffa7c1" providerId="ADAL" clId="{8AAD7737-BE3D-48FE-A7A6-FB4F1E491907}" dt="2024-07-05T08:40:39.260" v="1950" actId="790"/>
          <ac:spMkLst>
            <pc:docMk/>
            <pc:sldMk cId="2494049098" sldId="2147481919"/>
            <ac:spMk id="34" creationId="{172B24E9-2DE6-54FF-CC86-EBD4DD341CC9}"/>
          </ac:spMkLst>
        </pc:spChg>
        <pc:spChg chg="mod">
          <ac:chgData name="Sindija Kirsteine (LV)" userId="5f25501a-2215-4bb3-9d9c-8d1484ffa7c1" providerId="ADAL" clId="{8AAD7737-BE3D-48FE-A7A6-FB4F1E491907}" dt="2024-07-05T08:40:39.260" v="1950" actId="790"/>
          <ac:spMkLst>
            <pc:docMk/>
            <pc:sldMk cId="2494049098" sldId="2147481919"/>
            <ac:spMk id="35" creationId="{73279EE3-62F3-EEBA-1971-F53D30C665CB}"/>
          </ac:spMkLst>
        </pc:spChg>
        <pc:spChg chg="mod">
          <ac:chgData name="Sindija Kirsteine (LV)" userId="5f25501a-2215-4bb3-9d9c-8d1484ffa7c1" providerId="ADAL" clId="{8AAD7737-BE3D-48FE-A7A6-FB4F1E491907}" dt="2024-07-05T08:40:39.260" v="1950" actId="790"/>
          <ac:spMkLst>
            <pc:docMk/>
            <pc:sldMk cId="2494049098" sldId="2147481919"/>
            <ac:spMk id="36" creationId="{90222B69-B079-36F9-6C24-D4EAEEAFF689}"/>
          </ac:spMkLst>
        </pc:spChg>
        <pc:spChg chg="mod">
          <ac:chgData name="Sindija Kirsteine (LV)" userId="5f25501a-2215-4bb3-9d9c-8d1484ffa7c1" providerId="ADAL" clId="{8AAD7737-BE3D-48FE-A7A6-FB4F1E491907}" dt="2024-07-05T08:40:39.260" v="1950" actId="790"/>
          <ac:spMkLst>
            <pc:docMk/>
            <pc:sldMk cId="2494049098" sldId="2147481919"/>
            <ac:spMk id="41" creationId="{FE9D8B49-4A0A-7A7F-FD0C-28B19FB420B0}"/>
          </ac:spMkLst>
        </pc:spChg>
        <pc:spChg chg="mod">
          <ac:chgData name="Sindija Kirsteine (LV)" userId="5f25501a-2215-4bb3-9d9c-8d1484ffa7c1" providerId="ADAL" clId="{8AAD7737-BE3D-48FE-A7A6-FB4F1E491907}" dt="2024-07-05T08:40:39.260" v="1950" actId="790"/>
          <ac:spMkLst>
            <pc:docMk/>
            <pc:sldMk cId="2494049098" sldId="2147481919"/>
            <ac:spMk id="44" creationId="{3059FFBF-6C6A-4892-2611-202B20CDF34F}"/>
          </ac:spMkLst>
        </pc:spChg>
        <pc:spChg chg="mod">
          <ac:chgData name="Sindija Kirsteine (LV)" userId="5f25501a-2215-4bb3-9d9c-8d1484ffa7c1" providerId="ADAL" clId="{8AAD7737-BE3D-48FE-A7A6-FB4F1E491907}" dt="2024-07-05T08:40:39.260" v="1950" actId="790"/>
          <ac:spMkLst>
            <pc:docMk/>
            <pc:sldMk cId="2494049098" sldId="2147481919"/>
            <ac:spMk id="47" creationId="{7CC6E599-8343-DBA8-C499-038C17FC9A02}"/>
          </ac:spMkLst>
        </pc:spChg>
        <pc:spChg chg="mod">
          <ac:chgData name="Sindija Kirsteine (LV)" userId="5f25501a-2215-4bb3-9d9c-8d1484ffa7c1" providerId="ADAL" clId="{8AAD7737-BE3D-48FE-A7A6-FB4F1E491907}" dt="2024-07-05T08:40:39.260" v="1950" actId="790"/>
          <ac:spMkLst>
            <pc:docMk/>
            <pc:sldMk cId="2494049098" sldId="2147481919"/>
            <ac:spMk id="50" creationId="{5C8EF04C-E54F-0070-5E45-D8BA791CF7BE}"/>
          </ac:spMkLst>
        </pc:spChg>
        <pc:spChg chg="mod">
          <ac:chgData name="Sindija Kirsteine (LV)" userId="5f25501a-2215-4bb3-9d9c-8d1484ffa7c1" providerId="ADAL" clId="{8AAD7737-BE3D-48FE-A7A6-FB4F1E491907}" dt="2024-07-05T08:42:07.204" v="1962" actId="113"/>
          <ac:spMkLst>
            <pc:docMk/>
            <pc:sldMk cId="2494049098" sldId="2147481919"/>
            <ac:spMk id="56" creationId="{7AEA07A3-0C18-A843-A268-AC0CB6F31980}"/>
          </ac:spMkLst>
        </pc:spChg>
        <pc:spChg chg="mod">
          <ac:chgData name="Sindija Kirsteine (LV)" userId="5f25501a-2215-4bb3-9d9c-8d1484ffa7c1" providerId="ADAL" clId="{8AAD7737-BE3D-48FE-A7A6-FB4F1E491907}" dt="2024-07-05T08:42:17.805" v="1963" actId="113"/>
          <ac:spMkLst>
            <pc:docMk/>
            <pc:sldMk cId="2494049098" sldId="2147481919"/>
            <ac:spMk id="57" creationId="{C2D01315-F971-7FFE-2E24-AD8D7102576E}"/>
          </ac:spMkLst>
        </pc:spChg>
        <pc:spChg chg="del mod">
          <ac:chgData name="Sindija Kirsteine (LV)" userId="5f25501a-2215-4bb3-9d9c-8d1484ffa7c1" providerId="ADAL" clId="{8AAD7737-BE3D-48FE-A7A6-FB4F1E491907}" dt="2024-07-05T15:51:28.757" v="3271" actId="478"/>
          <ac:spMkLst>
            <pc:docMk/>
            <pc:sldMk cId="2494049098" sldId="2147481919"/>
            <ac:spMk id="60" creationId="{4B18C935-8881-CA66-88AA-26C6C95D9B4D}"/>
          </ac:spMkLst>
        </pc:spChg>
        <pc:spChg chg="mod">
          <ac:chgData name="Sindija Kirsteine (LV)" userId="5f25501a-2215-4bb3-9d9c-8d1484ffa7c1" providerId="ADAL" clId="{8AAD7737-BE3D-48FE-A7A6-FB4F1E491907}" dt="2024-07-05T08:40:39.260" v="1950" actId="790"/>
          <ac:spMkLst>
            <pc:docMk/>
            <pc:sldMk cId="2494049098" sldId="2147481919"/>
            <ac:spMk id="61" creationId="{57317571-1017-A381-336C-D567569D729C}"/>
          </ac:spMkLst>
        </pc:spChg>
        <pc:spChg chg="del mod">
          <ac:chgData name="Sindija Kirsteine (LV)" userId="5f25501a-2215-4bb3-9d9c-8d1484ffa7c1" providerId="ADAL" clId="{8AAD7737-BE3D-48FE-A7A6-FB4F1E491907}" dt="2024-07-05T15:51:28.757" v="3271" actId="478"/>
          <ac:spMkLst>
            <pc:docMk/>
            <pc:sldMk cId="2494049098" sldId="2147481919"/>
            <ac:spMk id="63" creationId="{18DE640C-9DE8-C937-0C8B-A7FD4B5DEB7B}"/>
          </ac:spMkLst>
        </pc:spChg>
        <pc:spChg chg="mod">
          <ac:chgData name="Sindija Kirsteine (LV)" userId="5f25501a-2215-4bb3-9d9c-8d1484ffa7c1" providerId="ADAL" clId="{8AAD7737-BE3D-48FE-A7A6-FB4F1E491907}" dt="2024-07-05T08:40:39.260" v="1950" actId="790"/>
          <ac:spMkLst>
            <pc:docMk/>
            <pc:sldMk cId="2494049098" sldId="2147481919"/>
            <ac:spMk id="64" creationId="{5FF56CE1-3337-0CBD-A7C2-65C83CA6DA2E}"/>
          </ac:spMkLst>
        </pc:spChg>
        <pc:spChg chg="del mod">
          <ac:chgData name="Sindija Kirsteine (LV)" userId="5f25501a-2215-4bb3-9d9c-8d1484ffa7c1" providerId="ADAL" clId="{8AAD7737-BE3D-48FE-A7A6-FB4F1E491907}" dt="2024-07-05T15:51:28.757" v="3271" actId="478"/>
          <ac:spMkLst>
            <pc:docMk/>
            <pc:sldMk cId="2494049098" sldId="2147481919"/>
            <ac:spMk id="66" creationId="{9268F77E-B7CD-EFE8-34CF-FD97C9102130}"/>
          </ac:spMkLst>
        </pc:spChg>
        <pc:spChg chg="mod">
          <ac:chgData name="Sindija Kirsteine (LV)" userId="5f25501a-2215-4bb3-9d9c-8d1484ffa7c1" providerId="ADAL" clId="{8AAD7737-BE3D-48FE-A7A6-FB4F1E491907}" dt="2024-07-05T08:43:05.309" v="1970" actId="113"/>
          <ac:spMkLst>
            <pc:docMk/>
            <pc:sldMk cId="2494049098" sldId="2147481919"/>
            <ac:spMk id="69" creationId="{77BC55D2-854D-6882-B684-BAE9F3538AE5}"/>
          </ac:spMkLst>
        </pc:spChg>
        <pc:spChg chg="mod">
          <ac:chgData name="Sindija Kirsteine (LV)" userId="5f25501a-2215-4bb3-9d9c-8d1484ffa7c1" providerId="ADAL" clId="{8AAD7737-BE3D-48FE-A7A6-FB4F1E491907}" dt="2024-07-05T08:40:39.260" v="1950" actId="790"/>
          <ac:spMkLst>
            <pc:docMk/>
            <pc:sldMk cId="2494049098" sldId="2147481919"/>
            <ac:spMk id="72" creationId="{A91771DC-D1A3-5745-DF45-3AC32AB1D932}"/>
          </ac:spMkLst>
        </pc:spChg>
        <pc:spChg chg="mod">
          <ac:chgData name="Sindija Kirsteine (LV)" userId="5f25501a-2215-4bb3-9d9c-8d1484ffa7c1" providerId="ADAL" clId="{8AAD7737-BE3D-48FE-A7A6-FB4F1E491907}" dt="2024-07-05T08:40:39.260" v="1950" actId="790"/>
          <ac:spMkLst>
            <pc:docMk/>
            <pc:sldMk cId="2494049098" sldId="2147481919"/>
            <ac:spMk id="73" creationId="{A5EFBFB2-518C-14CB-52B4-CCC2FBCEC9B5}"/>
          </ac:spMkLst>
        </pc:spChg>
        <pc:grpChg chg="add mod">
          <ac:chgData name="Sindija Kirsteine (LV)" userId="5f25501a-2215-4bb3-9d9c-8d1484ffa7c1" providerId="ADAL" clId="{8AAD7737-BE3D-48FE-A7A6-FB4F1E491907}" dt="2024-07-05T15:44:11.443" v="3077"/>
          <ac:grpSpMkLst>
            <pc:docMk/>
            <pc:sldMk cId="2494049098" sldId="2147481919"/>
            <ac:grpSpMk id="2" creationId="{31B84D6C-9B30-841E-AC70-A9457D422BE7}"/>
          </ac:grpSpMkLst>
        </pc:grpChg>
        <pc:grpChg chg="del">
          <ac:chgData name="Sindija Kirsteine (LV)" userId="5f25501a-2215-4bb3-9d9c-8d1484ffa7c1" providerId="ADAL" clId="{8AAD7737-BE3D-48FE-A7A6-FB4F1E491907}" dt="2024-07-05T15:44:11.172" v="3076" actId="478"/>
          <ac:grpSpMkLst>
            <pc:docMk/>
            <pc:sldMk cId="2494049098" sldId="2147481919"/>
            <ac:grpSpMk id="3" creationId="{0044053A-C95C-B3CD-8CB7-AA8C508AFC18}"/>
          </ac:grpSpMkLst>
        </pc:grpChg>
      </pc:sldChg>
      <pc:sldChg chg="addSp delSp modSp mod modNotesTx">
        <pc:chgData name="Sindija Kirsteine (LV)" userId="5f25501a-2215-4bb3-9d9c-8d1484ffa7c1" providerId="ADAL" clId="{8AAD7737-BE3D-48FE-A7A6-FB4F1E491907}" dt="2024-07-05T15:51:18.749" v="3267" actId="14100"/>
        <pc:sldMkLst>
          <pc:docMk/>
          <pc:sldMk cId="1622579242" sldId="2147481920"/>
        </pc:sldMkLst>
        <pc:spChg chg="mod">
          <ac:chgData name="Sindija Kirsteine (LV)" userId="5f25501a-2215-4bb3-9d9c-8d1484ffa7c1" providerId="ADAL" clId="{8AAD7737-BE3D-48FE-A7A6-FB4F1E491907}" dt="2024-07-05T08:40:23.323" v="1948" actId="790"/>
          <ac:spMkLst>
            <pc:docMk/>
            <pc:sldMk cId="1622579242" sldId="2147481920"/>
            <ac:spMk id="2" creationId="{55F28B99-E68D-1546-7DDE-E49FDAF4A7EA}"/>
          </ac:spMkLst>
        </pc:spChg>
        <pc:spChg chg="mod">
          <ac:chgData name="Sindija Kirsteine (LV)" userId="5f25501a-2215-4bb3-9d9c-8d1484ffa7c1" providerId="ADAL" clId="{8AAD7737-BE3D-48FE-A7A6-FB4F1E491907}" dt="2024-07-05T08:40:23.323" v="1948" actId="790"/>
          <ac:spMkLst>
            <pc:docMk/>
            <pc:sldMk cId="1622579242" sldId="2147481920"/>
            <ac:spMk id="3" creationId="{A810622E-1DC6-3A6A-4471-12536EFD6CD5}"/>
          </ac:spMkLst>
        </pc:spChg>
        <pc:spChg chg="mod">
          <ac:chgData name="Sindija Kirsteine (LV)" userId="5f25501a-2215-4bb3-9d9c-8d1484ffa7c1" providerId="ADAL" clId="{8AAD7737-BE3D-48FE-A7A6-FB4F1E491907}" dt="2024-07-05T15:50:04.644" v="3261" actId="20577"/>
          <ac:spMkLst>
            <pc:docMk/>
            <pc:sldMk cId="1622579242" sldId="2147481920"/>
            <ac:spMk id="5" creationId="{DA56ABBE-808E-2B50-2746-01A9549F0243}"/>
          </ac:spMkLst>
        </pc:spChg>
        <pc:spChg chg="mod">
          <ac:chgData name="Sindija Kirsteine (LV)" userId="5f25501a-2215-4bb3-9d9c-8d1484ffa7c1" providerId="ADAL" clId="{8AAD7737-BE3D-48FE-A7A6-FB4F1E491907}" dt="2024-07-05T15:44:15.136" v="3080"/>
          <ac:spMkLst>
            <pc:docMk/>
            <pc:sldMk cId="1622579242" sldId="2147481920"/>
            <ac:spMk id="13" creationId="{8C6C3D3C-2812-B499-6F0C-DF6DB67E3A9F}"/>
          </ac:spMkLst>
        </pc:spChg>
        <pc:spChg chg="mod">
          <ac:chgData name="Sindija Kirsteine (LV)" userId="5f25501a-2215-4bb3-9d9c-8d1484ffa7c1" providerId="ADAL" clId="{8AAD7737-BE3D-48FE-A7A6-FB4F1E491907}" dt="2024-07-05T15:44:15.136" v="3080"/>
          <ac:spMkLst>
            <pc:docMk/>
            <pc:sldMk cId="1622579242" sldId="2147481920"/>
            <ac:spMk id="14" creationId="{5E9711FA-3C54-B156-2D2F-6BBF2202D092}"/>
          </ac:spMkLst>
        </pc:spChg>
        <pc:spChg chg="mod">
          <ac:chgData name="Sindija Kirsteine (LV)" userId="5f25501a-2215-4bb3-9d9c-8d1484ffa7c1" providerId="ADAL" clId="{8AAD7737-BE3D-48FE-A7A6-FB4F1E491907}" dt="2024-07-05T15:44:15.136" v="3080"/>
          <ac:spMkLst>
            <pc:docMk/>
            <pc:sldMk cId="1622579242" sldId="2147481920"/>
            <ac:spMk id="15" creationId="{70F3A529-B9C2-E566-2ECD-E11468AAFE0F}"/>
          </ac:spMkLst>
        </pc:spChg>
        <pc:spChg chg="mod">
          <ac:chgData name="Sindija Kirsteine (LV)" userId="5f25501a-2215-4bb3-9d9c-8d1484ffa7c1" providerId="ADAL" clId="{8AAD7737-BE3D-48FE-A7A6-FB4F1E491907}" dt="2024-07-05T15:44:15.136" v="3080"/>
          <ac:spMkLst>
            <pc:docMk/>
            <pc:sldMk cId="1622579242" sldId="2147481920"/>
            <ac:spMk id="16" creationId="{C5189704-03E5-66C0-508A-B51C1784BCBF}"/>
          </ac:spMkLst>
        </pc:spChg>
        <pc:spChg chg="mod">
          <ac:chgData name="Sindija Kirsteine (LV)" userId="5f25501a-2215-4bb3-9d9c-8d1484ffa7c1" providerId="ADAL" clId="{8AAD7737-BE3D-48FE-A7A6-FB4F1E491907}" dt="2024-07-05T15:44:15.136" v="3080"/>
          <ac:spMkLst>
            <pc:docMk/>
            <pc:sldMk cId="1622579242" sldId="2147481920"/>
            <ac:spMk id="17" creationId="{70BE4181-A681-AEB2-ED49-51110BBD2C56}"/>
          </ac:spMkLst>
        </pc:spChg>
        <pc:spChg chg="mod">
          <ac:chgData name="Sindija Kirsteine (LV)" userId="5f25501a-2215-4bb3-9d9c-8d1484ffa7c1" providerId="ADAL" clId="{8AAD7737-BE3D-48FE-A7A6-FB4F1E491907}" dt="2024-07-05T08:43:26.267" v="1972" actId="113"/>
          <ac:spMkLst>
            <pc:docMk/>
            <pc:sldMk cId="1622579242" sldId="2147481920"/>
            <ac:spMk id="18" creationId="{0E1A1199-7305-2CEF-748D-6F5A22855534}"/>
          </ac:spMkLst>
        </pc:spChg>
        <pc:spChg chg="mod">
          <ac:chgData name="Sindija Kirsteine (LV)" userId="5f25501a-2215-4bb3-9d9c-8d1484ffa7c1" providerId="ADAL" clId="{8AAD7737-BE3D-48FE-A7A6-FB4F1E491907}" dt="2024-07-05T08:40:23.323" v="1948" actId="790"/>
          <ac:spMkLst>
            <pc:docMk/>
            <pc:sldMk cId="1622579242" sldId="2147481920"/>
            <ac:spMk id="19" creationId="{9B029BEC-72B3-C1E2-7AFC-D65ACADC991B}"/>
          </ac:spMkLst>
        </pc:spChg>
        <pc:spChg chg="mod">
          <ac:chgData name="Sindija Kirsteine (LV)" userId="5f25501a-2215-4bb3-9d9c-8d1484ffa7c1" providerId="ADAL" clId="{8AAD7737-BE3D-48FE-A7A6-FB4F1E491907}" dt="2024-07-05T15:44:15.136" v="3080"/>
          <ac:spMkLst>
            <pc:docMk/>
            <pc:sldMk cId="1622579242" sldId="2147481920"/>
            <ac:spMk id="20" creationId="{FC236838-809D-A7F5-5F84-87E19152CA19}"/>
          </ac:spMkLst>
        </pc:spChg>
        <pc:spChg chg="mod">
          <ac:chgData name="Sindija Kirsteine (LV)" userId="5f25501a-2215-4bb3-9d9c-8d1484ffa7c1" providerId="ADAL" clId="{8AAD7737-BE3D-48FE-A7A6-FB4F1E491907}" dt="2024-07-05T08:47:36.757" v="1977" actId="20577"/>
          <ac:spMkLst>
            <pc:docMk/>
            <pc:sldMk cId="1622579242" sldId="2147481920"/>
            <ac:spMk id="21" creationId="{D2B8CCD4-519B-DC9C-9476-0A79B896B75D}"/>
          </ac:spMkLst>
        </pc:spChg>
        <pc:spChg chg="mod">
          <ac:chgData name="Sindija Kirsteine (LV)" userId="5f25501a-2215-4bb3-9d9c-8d1484ffa7c1" providerId="ADAL" clId="{8AAD7737-BE3D-48FE-A7A6-FB4F1E491907}" dt="2024-07-05T08:47:55.510" v="1978" actId="113"/>
          <ac:spMkLst>
            <pc:docMk/>
            <pc:sldMk cId="1622579242" sldId="2147481920"/>
            <ac:spMk id="22" creationId="{C2E2F87E-C09F-4B30-1919-F5E2A78F3541}"/>
          </ac:spMkLst>
        </pc:spChg>
        <pc:spChg chg="mod">
          <ac:chgData name="Sindija Kirsteine (LV)" userId="5f25501a-2215-4bb3-9d9c-8d1484ffa7c1" providerId="ADAL" clId="{8AAD7737-BE3D-48FE-A7A6-FB4F1E491907}" dt="2024-07-05T08:48:25.770" v="1980" actId="113"/>
          <ac:spMkLst>
            <pc:docMk/>
            <pc:sldMk cId="1622579242" sldId="2147481920"/>
            <ac:spMk id="23" creationId="{B285B1A9-5FD7-D286-0263-BDDA47CD84FC}"/>
          </ac:spMkLst>
        </pc:spChg>
        <pc:spChg chg="mod">
          <ac:chgData name="Sindija Kirsteine (LV)" userId="5f25501a-2215-4bb3-9d9c-8d1484ffa7c1" providerId="ADAL" clId="{8AAD7737-BE3D-48FE-A7A6-FB4F1E491907}" dt="2024-07-05T08:48:46.893" v="1982" actId="113"/>
          <ac:spMkLst>
            <pc:docMk/>
            <pc:sldMk cId="1622579242" sldId="2147481920"/>
            <ac:spMk id="24" creationId="{85A647CD-F728-A196-CBAF-3E4BB87AD2EB}"/>
          </ac:spMkLst>
        </pc:spChg>
        <pc:spChg chg="mod">
          <ac:chgData name="Sindija Kirsteine (LV)" userId="5f25501a-2215-4bb3-9d9c-8d1484ffa7c1" providerId="ADAL" clId="{8AAD7737-BE3D-48FE-A7A6-FB4F1E491907}" dt="2024-07-05T15:51:15.287" v="3266" actId="14100"/>
          <ac:spMkLst>
            <pc:docMk/>
            <pc:sldMk cId="1622579242" sldId="2147481920"/>
            <ac:spMk id="25" creationId="{8263F4B8-DB9A-0390-0ECF-685526E04FB3}"/>
          </ac:spMkLst>
        </pc:spChg>
        <pc:spChg chg="mod">
          <ac:chgData name="Sindija Kirsteine (LV)" userId="5f25501a-2215-4bb3-9d9c-8d1484ffa7c1" providerId="ADAL" clId="{8AAD7737-BE3D-48FE-A7A6-FB4F1E491907}" dt="2024-07-05T08:40:23.323" v="1948" actId="790"/>
          <ac:spMkLst>
            <pc:docMk/>
            <pc:sldMk cId="1622579242" sldId="2147481920"/>
            <ac:spMk id="26" creationId="{1F1E8CAE-0601-F0E1-1011-65537AC625DE}"/>
          </ac:spMkLst>
        </pc:spChg>
        <pc:spChg chg="mod">
          <ac:chgData name="Sindija Kirsteine (LV)" userId="5f25501a-2215-4bb3-9d9c-8d1484ffa7c1" providerId="ADAL" clId="{8AAD7737-BE3D-48FE-A7A6-FB4F1E491907}" dt="2024-07-05T15:51:18.749" v="3267" actId="14100"/>
          <ac:spMkLst>
            <pc:docMk/>
            <pc:sldMk cId="1622579242" sldId="2147481920"/>
            <ac:spMk id="27" creationId="{8D2DE23E-069C-E84C-3D1F-DC6A7ABF8E13}"/>
          </ac:spMkLst>
        </pc:spChg>
        <pc:spChg chg="mod">
          <ac:chgData name="Sindija Kirsteine (LV)" userId="5f25501a-2215-4bb3-9d9c-8d1484ffa7c1" providerId="ADAL" clId="{8AAD7737-BE3D-48FE-A7A6-FB4F1E491907}" dt="2024-07-05T08:40:23.323" v="1948" actId="790"/>
          <ac:spMkLst>
            <pc:docMk/>
            <pc:sldMk cId="1622579242" sldId="2147481920"/>
            <ac:spMk id="38" creationId="{9074AD20-73C5-2CE3-FA1E-B97E942D70DE}"/>
          </ac:spMkLst>
        </pc:spChg>
        <pc:spChg chg="mod">
          <ac:chgData name="Sindija Kirsteine (LV)" userId="5f25501a-2215-4bb3-9d9c-8d1484ffa7c1" providerId="ADAL" clId="{8AAD7737-BE3D-48FE-A7A6-FB4F1E491907}" dt="2024-07-05T08:40:23.323" v="1948" actId="790"/>
          <ac:spMkLst>
            <pc:docMk/>
            <pc:sldMk cId="1622579242" sldId="2147481920"/>
            <ac:spMk id="39" creationId="{69E8B370-1EDC-0830-FF9D-356549120B5C}"/>
          </ac:spMkLst>
        </pc:spChg>
        <pc:spChg chg="mod">
          <ac:chgData name="Sindija Kirsteine (LV)" userId="5f25501a-2215-4bb3-9d9c-8d1484ffa7c1" providerId="ADAL" clId="{8AAD7737-BE3D-48FE-A7A6-FB4F1E491907}" dt="2024-07-05T08:40:23.323" v="1948" actId="790"/>
          <ac:spMkLst>
            <pc:docMk/>
            <pc:sldMk cId="1622579242" sldId="2147481920"/>
            <ac:spMk id="40" creationId="{7BC96139-71A1-962D-7F03-F84C05AF0B1F}"/>
          </ac:spMkLst>
        </pc:spChg>
        <pc:spChg chg="mod">
          <ac:chgData name="Sindija Kirsteine (LV)" userId="5f25501a-2215-4bb3-9d9c-8d1484ffa7c1" providerId="ADAL" clId="{8AAD7737-BE3D-48FE-A7A6-FB4F1E491907}" dt="2024-07-05T08:40:23.323" v="1948" actId="790"/>
          <ac:spMkLst>
            <pc:docMk/>
            <pc:sldMk cId="1622579242" sldId="2147481920"/>
            <ac:spMk id="41" creationId="{FE9D8B49-4A0A-7A7F-FD0C-28B19FB420B0}"/>
          </ac:spMkLst>
        </pc:spChg>
        <pc:spChg chg="mod">
          <ac:chgData name="Sindija Kirsteine (LV)" userId="5f25501a-2215-4bb3-9d9c-8d1484ffa7c1" providerId="ADAL" clId="{8AAD7737-BE3D-48FE-A7A6-FB4F1E491907}" dt="2024-07-05T08:40:23.323" v="1948" actId="790"/>
          <ac:spMkLst>
            <pc:docMk/>
            <pc:sldMk cId="1622579242" sldId="2147481920"/>
            <ac:spMk id="42" creationId="{3E808E45-D5F2-1A47-6C48-CDF0032D2FF0}"/>
          </ac:spMkLst>
        </pc:spChg>
        <pc:spChg chg="mod">
          <ac:chgData name="Sindija Kirsteine (LV)" userId="5f25501a-2215-4bb3-9d9c-8d1484ffa7c1" providerId="ADAL" clId="{8AAD7737-BE3D-48FE-A7A6-FB4F1E491907}" dt="2024-07-05T08:40:23.323" v="1948" actId="790"/>
          <ac:spMkLst>
            <pc:docMk/>
            <pc:sldMk cId="1622579242" sldId="2147481920"/>
            <ac:spMk id="43" creationId="{C852C49E-205D-91AF-8DA0-8C8D58BF8213}"/>
          </ac:spMkLst>
        </pc:spChg>
        <pc:spChg chg="mod">
          <ac:chgData name="Sindija Kirsteine (LV)" userId="5f25501a-2215-4bb3-9d9c-8d1484ffa7c1" providerId="ADAL" clId="{8AAD7737-BE3D-48FE-A7A6-FB4F1E491907}" dt="2024-07-05T08:40:23.323" v="1948" actId="790"/>
          <ac:spMkLst>
            <pc:docMk/>
            <pc:sldMk cId="1622579242" sldId="2147481920"/>
            <ac:spMk id="44" creationId="{3059FFBF-6C6A-4892-2611-202B20CDF34F}"/>
          </ac:spMkLst>
        </pc:spChg>
        <pc:spChg chg="mod">
          <ac:chgData name="Sindija Kirsteine (LV)" userId="5f25501a-2215-4bb3-9d9c-8d1484ffa7c1" providerId="ADAL" clId="{8AAD7737-BE3D-48FE-A7A6-FB4F1E491907}" dt="2024-07-05T08:40:23.323" v="1948" actId="790"/>
          <ac:spMkLst>
            <pc:docMk/>
            <pc:sldMk cId="1622579242" sldId="2147481920"/>
            <ac:spMk id="45" creationId="{A42BEDEE-E30F-046B-0715-FC740ECB3B10}"/>
          </ac:spMkLst>
        </pc:spChg>
        <pc:spChg chg="mod">
          <ac:chgData name="Sindija Kirsteine (LV)" userId="5f25501a-2215-4bb3-9d9c-8d1484ffa7c1" providerId="ADAL" clId="{8AAD7737-BE3D-48FE-A7A6-FB4F1E491907}" dt="2024-07-05T08:40:23.323" v="1948" actId="790"/>
          <ac:spMkLst>
            <pc:docMk/>
            <pc:sldMk cId="1622579242" sldId="2147481920"/>
            <ac:spMk id="47" creationId="{7CC6E599-8343-DBA8-C499-038C17FC9A02}"/>
          </ac:spMkLst>
        </pc:spChg>
        <pc:spChg chg="mod">
          <ac:chgData name="Sindija Kirsteine (LV)" userId="5f25501a-2215-4bb3-9d9c-8d1484ffa7c1" providerId="ADAL" clId="{8AAD7737-BE3D-48FE-A7A6-FB4F1E491907}" dt="2024-07-05T08:40:23.323" v="1948" actId="790"/>
          <ac:spMkLst>
            <pc:docMk/>
            <pc:sldMk cId="1622579242" sldId="2147481920"/>
            <ac:spMk id="50" creationId="{5C8EF04C-E54F-0070-5E45-D8BA791CF7BE}"/>
          </ac:spMkLst>
        </pc:spChg>
        <pc:spChg chg="mod">
          <ac:chgData name="Sindija Kirsteine (LV)" userId="5f25501a-2215-4bb3-9d9c-8d1484ffa7c1" providerId="ADAL" clId="{8AAD7737-BE3D-48FE-A7A6-FB4F1E491907}" dt="2024-07-05T08:40:23.323" v="1948" actId="790"/>
          <ac:spMkLst>
            <pc:docMk/>
            <pc:sldMk cId="1622579242" sldId="2147481920"/>
            <ac:spMk id="72" creationId="{A91771DC-D1A3-5745-DF45-3AC32AB1D932}"/>
          </ac:spMkLst>
        </pc:spChg>
        <pc:grpChg chg="add mod">
          <ac:chgData name="Sindija Kirsteine (LV)" userId="5f25501a-2215-4bb3-9d9c-8d1484ffa7c1" providerId="ADAL" clId="{8AAD7737-BE3D-48FE-A7A6-FB4F1E491907}" dt="2024-07-05T15:44:15.136" v="3080"/>
          <ac:grpSpMkLst>
            <pc:docMk/>
            <pc:sldMk cId="1622579242" sldId="2147481920"/>
            <ac:grpSpMk id="3" creationId="{55F35D32-EFA9-7F77-63E8-A64CAA7B9CC0}"/>
          </ac:grpSpMkLst>
        </pc:grpChg>
        <pc:grpChg chg="del">
          <ac:chgData name="Sindija Kirsteine (LV)" userId="5f25501a-2215-4bb3-9d9c-8d1484ffa7c1" providerId="ADAL" clId="{8AAD7737-BE3D-48FE-A7A6-FB4F1E491907}" dt="2024-07-05T15:44:14.893" v="3079" actId="478"/>
          <ac:grpSpMkLst>
            <pc:docMk/>
            <pc:sldMk cId="1622579242" sldId="2147481920"/>
            <ac:grpSpMk id="4" creationId="{475F6135-C375-7D30-1089-5B7153387518}"/>
          </ac:grpSpMkLst>
        </pc:grpChg>
      </pc:sldChg>
      <pc:sldChg chg="addSp delSp modSp mod">
        <pc:chgData name="Sindija Kirsteine (LV)" userId="5f25501a-2215-4bb3-9d9c-8d1484ffa7c1" providerId="ADAL" clId="{8AAD7737-BE3D-48FE-A7A6-FB4F1E491907}" dt="2024-07-06T09:12:37.806" v="3440" actId="20577"/>
        <pc:sldMkLst>
          <pc:docMk/>
          <pc:sldMk cId="4049782693" sldId="2147481949"/>
        </pc:sldMkLst>
        <pc:spChg chg="mod">
          <ac:chgData name="Sindija Kirsteine (LV)" userId="5f25501a-2215-4bb3-9d9c-8d1484ffa7c1" providerId="ADAL" clId="{8AAD7737-BE3D-48FE-A7A6-FB4F1E491907}" dt="2024-07-06T09:09:38.519" v="3436"/>
          <ac:spMkLst>
            <pc:docMk/>
            <pc:sldMk cId="4049782693" sldId="2147481949"/>
            <ac:spMk id="6" creationId="{D2062633-92A0-8A70-37D6-9AEE832B563D}"/>
          </ac:spMkLst>
        </pc:spChg>
        <pc:spChg chg="mod">
          <ac:chgData name="Sindija Kirsteine (LV)" userId="5f25501a-2215-4bb3-9d9c-8d1484ffa7c1" providerId="ADAL" clId="{8AAD7737-BE3D-48FE-A7A6-FB4F1E491907}" dt="2024-07-05T07:03:56.176" v="1059" actId="20577"/>
          <ac:spMkLst>
            <pc:docMk/>
            <pc:sldMk cId="4049782693" sldId="2147481949"/>
            <ac:spMk id="7" creationId="{8961976B-EF35-6606-985F-A22667F84A79}"/>
          </ac:spMkLst>
        </pc:spChg>
        <pc:spChg chg="add del mod">
          <ac:chgData name="Sindija Kirsteine (LV)" userId="5f25501a-2215-4bb3-9d9c-8d1484ffa7c1" providerId="ADAL" clId="{8AAD7737-BE3D-48FE-A7A6-FB4F1E491907}" dt="2024-07-05T06:23:17.569" v="712" actId="478"/>
          <ac:spMkLst>
            <pc:docMk/>
            <pc:sldMk cId="4049782693" sldId="2147481949"/>
            <ac:spMk id="8" creationId="{516DD1B4-007B-46DC-F4DC-3BEB8758BC46}"/>
          </ac:spMkLst>
        </pc:spChg>
        <pc:spChg chg="mod">
          <ac:chgData name="Sindija Kirsteine (LV)" userId="5f25501a-2215-4bb3-9d9c-8d1484ffa7c1" providerId="ADAL" clId="{8AAD7737-BE3D-48FE-A7A6-FB4F1E491907}" dt="2024-07-05T06:16:49.130" v="650" actId="20577"/>
          <ac:spMkLst>
            <pc:docMk/>
            <pc:sldMk cId="4049782693" sldId="2147481949"/>
            <ac:spMk id="9" creationId="{19DB7956-0AA1-251B-6E22-F79FD32A6B25}"/>
          </ac:spMkLst>
        </pc:spChg>
        <pc:spChg chg="mod">
          <ac:chgData name="Sindija Kirsteine (LV)" userId="5f25501a-2215-4bb3-9d9c-8d1484ffa7c1" providerId="ADAL" clId="{8AAD7737-BE3D-48FE-A7A6-FB4F1E491907}" dt="2024-07-05T06:16:42.251" v="646" actId="20577"/>
          <ac:spMkLst>
            <pc:docMk/>
            <pc:sldMk cId="4049782693" sldId="2147481949"/>
            <ac:spMk id="10" creationId="{A8BB9E36-BDA4-E644-92C0-7E95FD88D3F0}"/>
          </ac:spMkLst>
        </pc:spChg>
        <pc:spChg chg="mod">
          <ac:chgData name="Sindija Kirsteine (LV)" userId="5f25501a-2215-4bb3-9d9c-8d1484ffa7c1" providerId="ADAL" clId="{8AAD7737-BE3D-48FE-A7A6-FB4F1E491907}" dt="2024-07-05T06:21:01.180" v="691" actId="20577"/>
          <ac:spMkLst>
            <pc:docMk/>
            <pc:sldMk cId="4049782693" sldId="2147481949"/>
            <ac:spMk id="11" creationId="{9AB0BC82-6EDF-14C5-7CD5-6F5243DAB025}"/>
          </ac:spMkLst>
        </pc:spChg>
        <pc:spChg chg="mod">
          <ac:chgData name="Sindija Kirsteine (LV)" userId="5f25501a-2215-4bb3-9d9c-8d1484ffa7c1" providerId="ADAL" clId="{8AAD7737-BE3D-48FE-A7A6-FB4F1E491907}" dt="2024-07-06T09:12:37.806" v="3440" actId="20577"/>
          <ac:spMkLst>
            <pc:docMk/>
            <pc:sldMk cId="4049782693" sldId="2147481949"/>
            <ac:spMk id="12" creationId="{3661166F-289F-2205-5CEF-3BF7DDFE0314}"/>
          </ac:spMkLst>
        </pc:spChg>
        <pc:spChg chg="mod">
          <ac:chgData name="Sindija Kirsteine (LV)" userId="5f25501a-2215-4bb3-9d9c-8d1484ffa7c1" providerId="ADAL" clId="{8AAD7737-BE3D-48FE-A7A6-FB4F1E491907}" dt="2024-07-05T06:17:38.598" v="659" actId="14100"/>
          <ac:spMkLst>
            <pc:docMk/>
            <pc:sldMk cId="4049782693" sldId="2147481949"/>
            <ac:spMk id="13" creationId="{A8786237-280D-456E-82F0-1F2FC1172089}"/>
          </ac:spMkLst>
        </pc:spChg>
        <pc:spChg chg="mod">
          <ac:chgData name="Sindija Kirsteine (LV)" userId="5f25501a-2215-4bb3-9d9c-8d1484ffa7c1" providerId="ADAL" clId="{8AAD7737-BE3D-48FE-A7A6-FB4F1E491907}" dt="2024-07-05T06:48:31.101" v="923" actId="20577"/>
          <ac:spMkLst>
            <pc:docMk/>
            <pc:sldMk cId="4049782693" sldId="2147481949"/>
            <ac:spMk id="22" creationId="{80428542-5D63-2988-7216-41474822B4F7}"/>
          </ac:spMkLst>
        </pc:spChg>
        <pc:spChg chg="mod">
          <ac:chgData name="Sindija Kirsteine (LV)" userId="5f25501a-2215-4bb3-9d9c-8d1484ffa7c1" providerId="ADAL" clId="{8AAD7737-BE3D-48FE-A7A6-FB4F1E491907}" dt="2024-07-05T06:17:38.598" v="659" actId="14100"/>
          <ac:spMkLst>
            <pc:docMk/>
            <pc:sldMk cId="4049782693" sldId="2147481949"/>
            <ac:spMk id="24" creationId="{718CA143-3104-09A7-16C0-C6AEE7D3610F}"/>
          </ac:spMkLst>
        </pc:spChg>
        <pc:spChg chg="mod">
          <ac:chgData name="Sindija Kirsteine (LV)" userId="5f25501a-2215-4bb3-9d9c-8d1484ffa7c1" providerId="ADAL" clId="{8AAD7737-BE3D-48FE-A7A6-FB4F1E491907}" dt="2024-07-05T06:23:12.675" v="711" actId="20577"/>
          <ac:spMkLst>
            <pc:docMk/>
            <pc:sldMk cId="4049782693" sldId="2147481949"/>
            <ac:spMk id="34" creationId="{ECEDAD9A-CD66-6898-0D26-64B05645AF09}"/>
          </ac:spMkLst>
        </pc:spChg>
        <pc:spChg chg="mod">
          <ac:chgData name="Sindija Kirsteine (LV)" userId="5f25501a-2215-4bb3-9d9c-8d1484ffa7c1" providerId="ADAL" clId="{8AAD7737-BE3D-48FE-A7A6-FB4F1E491907}" dt="2024-07-05T15:42:58.573" v="3042"/>
          <ac:spMkLst>
            <pc:docMk/>
            <pc:sldMk cId="4049782693" sldId="2147481949"/>
            <ac:spMk id="60" creationId="{A020183F-52C9-D25D-2C4B-4BD1566A8C62}"/>
          </ac:spMkLst>
        </pc:spChg>
        <pc:cxnChg chg="mod">
          <ac:chgData name="Sindija Kirsteine (LV)" userId="5f25501a-2215-4bb3-9d9c-8d1484ffa7c1" providerId="ADAL" clId="{8AAD7737-BE3D-48FE-A7A6-FB4F1E491907}" dt="2024-07-05T06:17:38.598" v="659" actId="14100"/>
          <ac:cxnSpMkLst>
            <pc:docMk/>
            <pc:sldMk cId="4049782693" sldId="2147481949"/>
            <ac:cxnSpMk id="28" creationId="{357EC6F2-1635-70B7-5B7F-BB128477D3E0}"/>
          </ac:cxnSpMkLst>
        </pc:cxnChg>
        <pc:cxnChg chg="mod">
          <ac:chgData name="Sindija Kirsteine (LV)" userId="5f25501a-2215-4bb3-9d9c-8d1484ffa7c1" providerId="ADAL" clId="{8AAD7737-BE3D-48FE-A7A6-FB4F1E491907}" dt="2024-07-05T06:17:38.598" v="659" actId="14100"/>
          <ac:cxnSpMkLst>
            <pc:docMk/>
            <pc:sldMk cId="4049782693" sldId="2147481949"/>
            <ac:cxnSpMk id="29" creationId="{20E7F01A-0296-CA40-67E8-3AD150E4A711}"/>
          </ac:cxnSpMkLst>
        </pc:cxnChg>
        <pc:cxnChg chg="mod">
          <ac:chgData name="Sindija Kirsteine (LV)" userId="5f25501a-2215-4bb3-9d9c-8d1484ffa7c1" providerId="ADAL" clId="{8AAD7737-BE3D-48FE-A7A6-FB4F1E491907}" dt="2024-07-05T06:17:38.598" v="659" actId="14100"/>
          <ac:cxnSpMkLst>
            <pc:docMk/>
            <pc:sldMk cId="4049782693" sldId="2147481949"/>
            <ac:cxnSpMk id="32" creationId="{8E2E4806-19A1-F115-8D19-90D1F1623135}"/>
          </ac:cxnSpMkLst>
        </pc:cxnChg>
      </pc:sldChg>
      <pc:sldChg chg="addSp delSp modSp mod">
        <pc:chgData name="Sindija Kirsteine (LV)" userId="5f25501a-2215-4bb3-9d9c-8d1484ffa7c1" providerId="ADAL" clId="{8AAD7737-BE3D-48FE-A7A6-FB4F1E491907}" dt="2024-07-05T15:43:03.483" v="3045"/>
        <pc:sldMkLst>
          <pc:docMk/>
          <pc:sldMk cId="3702537864" sldId="2147481950"/>
        </pc:sldMkLst>
        <pc:spChg chg="mod">
          <ac:chgData name="Sindija Kirsteine (LV)" userId="5f25501a-2215-4bb3-9d9c-8d1484ffa7c1" providerId="ADAL" clId="{8AAD7737-BE3D-48FE-A7A6-FB4F1E491907}" dt="2024-07-05T15:43:03.483" v="3045"/>
          <ac:spMkLst>
            <pc:docMk/>
            <pc:sldMk cId="3702537864" sldId="2147481950"/>
            <ac:spMk id="3" creationId="{45015D78-332E-27DA-4F6C-D984E3F27BD7}"/>
          </ac:spMkLst>
        </pc:spChg>
        <pc:spChg chg="mod">
          <ac:chgData name="Sindija Kirsteine (LV)" userId="5f25501a-2215-4bb3-9d9c-8d1484ffa7c1" providerId="ADAL" clId="{8AAD7737-BE3D-48FE-A7A6-FB4F1E491907}" dt="2024-07-05T15:43:03.483" v="3045"/>
          <ac:spMkLst>
            <pc:docMk/>
            <pc:sldMk cId="3702537864" sldId="2147481950"/>
            <ac:spMk id="5" creationId="{67FC939E-253A-29BF-7F0D-716B8C4ECFB6}"/>
          </ac:spMkLst>
        </pc:spChg>
        <pc:spChg chg="mod">
          <ac:chgData name="Sindija Kirsteine (LV)" userId="5f25501a-2215-4bb3-9d9c-8d1484ffa7c1" providerId="ADAL" clId="{8AAD7737-BE3D-48FE-A7A6-FB4F1E491907}" dt="2024-07-05T15:43:03.483" v="3045"/>
          <ac:spMkLst>
            <pc:docMk/>
            <pc:sldMk cId="3702537864" sldId="2147481950"/>
            <ac:spMk id="6" creationId="{B79645C8-1287-0DCA-5F4D-89650ACFFD4D}"/>
          </ac:spMkLst>
        </pc:spChg>
        <pc:spChg chg="mod">
          <ac:chgData name="Sindija Kirsteine (LV)" userId="5f25501a-2215-4bb3-9d9c-8d1484ffa7c1" providerId="ADAL" clId="{8AAD7737-BE3D-48FE-A7A6-FB4F1E491907}" dt="2024-07-05T15:43:03.483" v="3045"/>
          <ac:spMkLst>
            <pc:docMk/>
            <pc:sldMk cId="3702537864" sldId="2147481950"/>
            <ac:spMk id="7" creationId="{18AEDA7A-C255-94D0-8468-ACC51EB2E545}"/>
          </ac:spMkLst>
        </pc:spChg>
        <pc:spChg chg="mod">
          <ac:chgData name="Sindija Kirsteine (LV)" userId="5f25501a-2215-4bb3-9d9c-8d1484ffa7c1" providerId="ADAL" clId="{8AAD7737-BE3D-48FE-A7A6-FB4F1E491907}" dt="2024-07-05T15:43:03.483" v="3045"/>
          <ac:spMkLst>
            <pc:docMk/>
            <pc:sldMk cId="3702537864" sldId="2147481950"/>
            <ac:spMk id="8" creationId="{93BF3648-97DF-72B3-636B-C9485745E8D3}"/>
          </ac:spMkLst>
        </pc:spChg>
        <pc:spChg chg="mod">
          <ac:chgData name="Sindija Kirsteine (LV)" userId="5f25501a-2215-4bb3-9d9c-8d1484ffa7c1" providerId="ADAL" clId="{8AAD7737-BE3D-48FE-A7A6-FB4F1E491907}" dt="2024-07-05T15:43:03.483" v="3045"/>
          <ac:spMkLst>
            <pc:docMk/>
            <pc:sldMk cId="3702537864" sldId="2147481950"/>
            <ac:spMk id="9" creationId="{87790F38-BBA0-EA70-DFA3-C9EEA7FFC814}"/>
          </ac:spMkLst>
        </pc:spChg>
        <pc:spChg chg="mod">
          <ac:chgData name="Sindija Kirsteine (LV)" userId="5f25501a-2215-4bb3-9d9c-8d1484ffa7c1" providerId="ADAL" clId="{8AAD7737-BE3D-48FE-A7A6-FB4F1E491907}" dt="2024-07-05T06:23:48.168" v="728" actId="20577"/>
          <ac:spMkLst>
            <pc:docMk/>
            <pc:sldMk cId="3702537864" sldId="2147481950"/>
            <ac:spMk id="10" creationId="{A3E5090C-AF99-94CB-5AAF-F486CA901BC7}"/>
          </ac:spMkLst>
        </pc:spChg>
        <pc:spChg chg="mod">
          <ac:chgData name="Sindija Kirsteine (LV)" userId="5f25501a-2215-4bb3-9d9c-8d1484ffa7c1" providerId="ADAL" clId="{8AAD7737-BE3D-48FE-A7A6-FB4F1E491907}" dt="2024-07-05T15:43:03.483" v="3045"/>
          <ac:spMkLst>
            <pc:docMk/>
            <pc:sldMk cId="3702537864" sldId="2147481950"/>
            <ac:spMk id="11" creationId="{80166C27-97B3-5C54-A436-09C7E63799D7}"/>
          </ac:spMkLst>
        </pc:spChg>
        <pc:spChg chg="mod">
          <ac:chgData name="Sindija Kirsteine (LV)" userId="5f25501a-2215-4bb3-9d9c-8d1484ffa7c1" providerId="ADAL" clId="{8AAD7737-BE3D-48FE-A7A6-FB4F1E491907}" dt="2024-07-05T06:25:45.427" v="745" actId="20577"/>
          <ac:spMkLst>
            <pc:docMk/>
            <pc:sldMk cId="3702537864" sldId="2147481950"/>
            <ac:spMk id="15" creationId="{EEAA3E35-7EFC-21DD-686B-8EEE9B94F976}"/>
          </ac:spMkLst>
        </pc:spChg>
        <pc:spChg chg="mod">
          <ac:chgData name="Sindija Kirsteine (LV)" userId="5f25501a-2215-4bb3-9d9c-8d1484ffa7c1" providerId="ADAL" clId="{8AAD7737-BE3D-48FE-A7A6-FB4F1E491907}" dt="2024-07-05T06:30:23.268" v="761" actId="20577"/>
          <ac:spMkLst>
            <pc:docMk/>
            <pc:sldMk cId="3702537864" sldId="2147481950"/>
            <ac:spMk id="19" creationId="{9F3EBC83-A7A4-E7C4-B983-A5553B5614B6}"/>
          </ac:spMkLst>
        </pc:spChg>
        <pc:spChg chg="mod">
          <ac:chgData name="Sindija Kirsteine (LV)" userId="5f25501a-2215-4bb3-9d9c-8d1484ffa7c1" providerId="ADAL" clId="{8AAD7737-BE3D-48FE-A7A6-FB4F1E491907}" dt="2024-07-05T06:31:00.987" v="765" actId="20577"/>
          <ac:spMkLst>
            <pc:docMk/>
            <pc:sldMk cId="3702537864" sldId="2147481950"/>
            <ac:spMk id="20" creationId="{6909AAC6-C011-6E40-568E-B038D8727A6C}"/>
          </ac:spMkLst>
        </pc:spChg>
        <pc:spChg chg="mod">
          <ac:chgData name="Sindija Kirsteine (LV)" userId="5f25501a-2215-4bb3-9d9c-8d1484ffa7c1" providerId="ADAL" clId="{8AAD7737-BE3D-48FE-A7A6-FB4F1E491907}" dt="2024-07-05T06:26:09.917" v="749" actId="20577"/>
          <ac:spMkLst>
            <pc:docMk/>
            <pc:sldMk cId="3702537864" sldId="2147481950"/>
            <ac:spMk id="22" creationId="{523C5D9C-8E80-D01D-BEDE-19F8887E2911}"/>
          </ac:spMkLst>
        </pc:spChg>
        <pc:grpChg chg="add mod">
          <ac:chgData name="Sindija Kirsteine (LV)" userId="5f25501a-2215-4bb3-9d9c-8d1484ffa7c1" providerId="ADAL" clId="{8AAD7737-BE3D-48FE-A7A6-FB4F1E491907}" dt="2024-07-05T15:43:03.483" v="3045"/>
          <ac:grpSpMkLst>
            <pc:docMk/>
            <pc:sldMk cId="3702537864" sldId="2147481950"/>
            <ac:grpSpMk id="2" creationId="{E2FDC91A-D0EA-CE4B-D986-0A096C81FF2E}"/>
          </ac:grpSpMkLst>
        </pc:grpChg>
        <pc:grpChg chg="del">
          <ac:chgData name="Sindija Kirsteine (LV)" userId="5f25501a-2215-4bb3-9d9c-8d1484ffa7c1" providerId="ADAL" clId="{8AAD7737-BE3D-48FE-A7A6-FB4F1E491907}" dt="2024-07-05T15:43:03.230" v="3044" actId="478"/>
          <ac:grpSpMkLst>
            <pc:docMk/>
            <pc:sldMk cId="3702537864" sldId="2147481950"/>
            <ac:grpSpMk id="43" creationId="{AFF619D9-9BEE-6766-0161-D8FF3AEF7C5A}"/>
          </ac:grpSpMkLst>
        </pc:grpChg>
      </pc:sldChg>
      <pc:sldChg chg="addSp delSp modSp mod addCm delCm">
        <pc:chgData name="Sindija Kirsteine (LV)" userId="5f25501a-2215-4bb3-9d9c-8d1484ffa7c1" providerId="ADAL" clId="{8AAD7737-BE3D-48FE-A7A6-FB4F1E491907}" dt="2024-07-06T07:01:56.027" v="3343" actId="478"/>
        <pc:sldMkLst>
          <pc:docMk/>
          <pc:sldMk cId="329214126" sldId="2147481959"/>
        </pc:sldMkLst>
        <pc:spChg chg="mod">
          <ac:chgData name="Sindija Kirsteine (LV)" userId="5f25501a-2215-4bb3-9d9c-8d1484ffa7c1" providerId="ADAL" clId="{8AAD7737-BE3D-48FE-A7A6-FB4F1E491907}" dt="2024-07-04T13:41:30.523" v="192" actId="20577"/>
          <ac:spMkLst>
            <pc:docMk/>
            <pc:sldMk cId="329214126" sldId="2147481959"/>
            <ac:spMk id="5" creationId="{4698077E-5F06-B355-0606-A7F29A25D317}"/>
          </ac:spMkLst>
        </pc:spChg>
        <pc:spChg chg="add del mod">
          <ac:chgData name="Sindija Kirsteine (LV)" userId="5f25501a-2215-4bb3-9d9c-8d1484ffa7c1" providerId="ADAL" clId="{8AAD7737-BE3D-48FE-A7A6-FB4F1E491907}" dt="2024-07-06T07:01:56.027" v="3343" actId="478"/>
          <ac:spMkLst>
            <pc:docMk/>
            <pc:sldMk cId="329214126" sldId="2147481959"/>
            <ac:spMk id="6" creationId="{4D302956-B2C5-9F0B-E8B6-F29438476CCC}"/>
          </ac:spMkLst>
        </pc:spChg>
        <pc:spChg chg="add del mod">
          <ac:chgData name="Sindija Kirsteine (LV)" userId="5f25501a-2215-4bb3-9d9c-8d1484ffa7c1" providerId="ADAL" clId="{8AAD7737-BE3D-48FE-A7A6-FB4F1E491907}" dt="2024-07-05T15:40:12.664" v="2986" actId="478"/>
          <ac:spMkLst>
            <pc:docMk/>
            <pc:sldMk cId="329214126" sldId="2147481959"/>
            <ac:spMk id="7" creationId="{2EC177FB-CA36-CB6F-F8FB-2945381F657F}"/>
          </ac:spMkLst>
        </pc:spChg>
        <pc:spChg chg="mod">
          <ac:chgData name="Sindija Kirsteine (LV)" userId="5f25501a-2215-4bb3-9d9c-8d1484ffa7c1" providerId="ADAL" clId="{8AAD7737-BE3D-48FE-A7A6-FB4F1E491907}" dt="2024-07-05T15:40:41.518" v="2992" actId="948"/>
          <ac:spMkLst>
            <pc:docMk/>
            <pc:sldMk cId="329214126" sldId="2147481959"/>
            <ac:spMk id="10" creationId="{E7620417-CA25-4C85-685A-F9654D084E1A}"/>
          </ac:spMkLst>
        </pc:spChg>
        <pc:spChg chg="mod">
          <ac:chgData name="Sindija Kirsteine (LV)" userId="5f25501a-2215-4bb3-9d9c-8d1484ffa7c1" providerId="ADAL" clId="{8AAD7737-BE3D-48FE-A7A6-FB4F1E491907}" dt="2024-07-04T13:48:22.454" v="203"/>
          <ac:spMkLst>
            <pc:docMk/>
            <pc:sldMk cId="329214126" sldId="2147481959"/>
            <ac:spMk id="15" creationId="{59122A1E-8BC3-09F4-97FB-705F528E5398}"/>
          </ac:spMkLst>
        </pc:spChg>
        <pc:spChg chg="mod">
          <ac:chgData name="Sindija Kirsteine (LV)" userId="5f25501a-2215-4bb3-9d9c-8d1484ffa7c1" providerId="ADAL" clId="{8AAD7737-BE3D-48FE-A7A6-FB4F1E491907}" dt="2024-07-05T08:57:04.967" v="2037" actId="13926"/>
          <ac:spMkLst>
            <pc:docMk/>
            <pc:sldMk cId="329214126" sldId="2147481959"/>
            <ac:spMk id="17" creationId="{D67163D0-AFF2-0F5B-BEF8-713B9C5550B9}"/>
          </ac:spMkLst>
        </pc:spChg>
        <pc:spChg chg="mod">
          <ac:chgData name="Sindija Kirsteine (LV)" userId="5f25501a-2215-4bb3-9d9c-8d1484ffa7c1" providerId="ADAL" clId="{8AAD7737-BE3D-48FE-A7A6-FB4F1E491907}" dt="2024-07-05T08:58:00.393" v="2041" actId="13926"/>
          <ac:spMkLst>
            <pc:docMk/>
            <pc:sldMk cId="329214126" sldId="2147481959"/>
            <ac:spMk id="19" creationId="{106AC05F-A272-513E-EF01-E89A9509C706}"/>
          </ac:spMkLst>
        </pc:spChg>
        <pc:spChg chg="mod">
          <ac:chgData name="Sindija Kirsteine (LV)" userId="5f25501a-2215-4bb3-9d9c-8d1484ffa7c1" providerId="ADAL" clId="{8AAD7737-BE3D-48FE-A7A6-FB4F1E491907}" dt="2024-07-05T15:55:58.673" v="3301" actId="207"/>
          <ac:spMkLst>
            <pc:docMk/>
            <pc:sldMk cId="329214126" sldId="2147481959"/>
            <ac:spMk id="22" creationId="{5945FFC4-B564-FA15-EA24-EE9B63FADFEC}"/>
          </ac:spMkLst>
        </pc:spChg>
        <pc:spChg chg="mod">
          <ac:chgData name="Sindija Kirsteine (LV)" userId="5f25501a-2215-4bb3-9d9c-8d1484ffa7c1" providerId="ADAL" clId="{8AAD7737-BE3D-48FE-A7A6-FB4F1E491907}" dt="2024-07-05T15:45:58.836" v="3112" actId="20577"/>
          <ac:spMkLst>
            <pc:docMk/>
            <pc:sldMk cId="329214126" sldId="2147481959"/>
            <ac:spMk id="27" creationId="{32BEDB9C-EB44-3430-B207-FA719672649E}"/>
          </ac:spMkLst>
        </pc:spChg>
        <pc:spChg chg="mod">
          <ac:chgData name="Sindija Kirsteine (LV)" userId="5f25501a-2215-4bb3-9d9c-8d1484ffa7c1" providerId="ADAL" clId="{8AAD7737-BE3D-48FE-A7A6-FB4F1E491907}" dt="2024-07-05T08:56:21.254" v="2029"/>
          <ac:spMkLst>
            <pc:docMk/>
            <pc:sldMk cId="329214126" sldId="2147481959"/>
            <ac:spMk id="33" creationId="{5B2A4D2C-CD75-341E-580A-957F809C2018}"/>
          </ac:spMkLst>
        </pc:spChg>
        <pc:spChg chg="mod">
          <ac:chgData name="Sindija Kirsteine (LV)" userId="5f25501a-2215-4bb3-9d9c-8d1484ffa7c1" providerId="ADAL" clId="{8AAD7737-BE3D-48FE-A7A6-FB4F1E491907}" dt="2024-07-04T13:44:52.112" v="196"/>
          <ac:spMkLst>
            <pc:docMk/>
            <pc:sldMk cId="329214126" sldId="2147481959"/>
            <ac:spMk id="37" creationId="{16C10275-D1DB-BDFC-B1ED-A4402FA73250}"/>
          </ac:spMkLst>
        </pc:spChg>
        <pc:spChg chg="mod">
          <ac:chgData name="Sindija Kirsteine (LV)" userId="5f25501a-2215-4bb3-9d9c-8d1484ffa7c1" providerId="ADAL" clId="{8AAD7737-BE3D-48FE-A7A6-FB4F1E491907}" dt="2024-07-06T07:01:54.316" v="3342" actId="207"/>
          <ac:spMkLst>
            <pc:docMk/>
            <pc:sldMk cId="329214126" sldId="2147481959"/>
            <ac:spMk id="66" creationId="{8D4E5B49-05F7-6DC9-B647-FEF3369AD289}"/>
          </ac:spMkLst>
        </pc:spChg>
        <pc:cxnChg chg="add del">
          <ac:chgData name="Sindija Kirsteine (LV)" userId="5f25501a-2215-4bb3-9d9c-8d1484ffa7c1" providerId="ADAL" clId="{8AAD7737-BE3D-48FE-A7A6-FB4F1E491907}" dt="2024-07-05T15:40:13.632" v="2987" actId="478"/>
          <ac:cxnSpMkLst>
            <pc:docMk/>
            <pc:sldMk cId="329214126" sldId="2147481959"/>
            <ac:cxnSpMk id="26" creationId="{55B27AD5-D36A-0ADB-CDAD-6A5506582305}"/>
          </ac:cxnSpMkLst>
        </pc:cxnChg>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8AAD7737-BE3D-48FE-A7A6-FB4F1E491907}" dt="2024-07-05T08:58:21.051" v="2042"/>
              <pc2:cmMkLst xmlns:pc2="http://schemas.microsoft.com/office/powerpoint/2019/9/main/command">
                <pc:docMk/>
                <pc:sldMk cId="329214126" sldId="2147481959"/>
                <pc2:cmMk id="{C806E2E5-5E30-4EA5-A865-F1F0B42CC6EC}"/>
              </pc2:cmMkLst>
            </pc226:cmChg>
          </p:ext>
        </pc:extLst>
      </pc:sldChg>
      <pc:sldChg chg="addSp delSp modSp mod">
        <pc:chgData name="Sindija Kirsteine (LV)" userId="5f25501a-2215-4bb3-9d9c-8d1484ffa7c1" providerId="ADAL" clId="{8AAD7737-BE3D-48FE-A7A6-FB4F1E491907}" dt="2024-07-05T15:48:04.440" v="3212" actId="20577"/>
        <pc:sldMkLst>
          <pc:docMk/>
          <pc:sldMk cId="3061079320" sldId="2147481966"/>
        </pc:sldMkLst>
        <pc:spChg chg="mod">
          <ac:chgData name="Sindija Kirsteine (LV)" userId="5f25501a-2215-4bb3-9d9c-8d1484ffa7c1" providerId="ADAL" clId="{8AAD7737-BE3D-48FE-A7A6-FB4F1E491907}" dt="2024-07-05T15:48:04.440" v="3212" actId="20577"/>
          <ac:spMkLst>
            <pc:docMk/>
            <pc:sldMk cId="3061079320" sldId="2147481966"/>
            <ac:spMk id="2" creationId="{A25D6607-36FE-CCD1-92AE-34D0595FAF6F}"/>
          </ac:spMkLst>
        </pc:spChg>
        <pc:spChg chg="mod">
          <ac:chgData name="Sindija Kirsteine (LV)" userId="5f25501a-2215-4bb3-9d9c-8d1484ffa7c1" providerId="ADAL" clId="{8AAD7737-BE3D-48FE-A7A6-FB4F1E491907}" dt="2024-07-05T15:43:06.352" v="3048"/>
          <ac:spMkLst>
            <pc:docMk/>
            <pc:sldMk cId="3061079320" sldId="2147481966"/>
            <ac:spMk id="5" creationId="{3CBB85AE-0C46-805C-F547-31D810C2F98A}"/>
          </ac:spMkLst>
        </pc:spChg>
        <pc:spChg chg="mod">
          <ac:chgData name="Sindija Kirsteine (LV)" userId="5f25501a-2215-4bb3-9d9c-8d1484ffa7c1" providerId="ADAL" clId="{8AAD7737-BE3D-48FE-A7A6-FB4F1E491907}" dt="2024-07-05T15:43:06.352" v="3048"/>
          <ac:spMkLst>
            <pc:docMk/>
            <pc:sldMk cId="3061079320" sldId="2147481966"/>
            <ac:spMk id="6" creationId="{6560D5BF-B031-285A-B253-4C6BC56DBCB5}"/>
          </ac:spMkLst>
        </pc:spChg>
        <pc:spChg chg="mod">
          <ac:chgData name="Sindija Kirsteine (LV)" userId="5f25501a-2215-4bb3-9d9c-8d1484ffa7c1" providerId="ADAL" clId="{8AAD7737-BE3D-48FE-A7A6-FB4F1E491907}" dt="2024-07-05T15:43:06.352" v="3048"/>
          <ac:spMkLst>
            <pc:docMk/>
            <pc:sldMk cId="3061079320" sldId="2147481966"/>
            <ac:spMk id="13" creationId="{84EC30D3-23C1-E8FF-1FE0-5F1CF9303B6E}"/>
          </ac:spMkLst>
        </pc:spChg>
        <pc:spChg chg="mod">
          <ac:chgData name="Sindija Kirsteine (LV)" userId="5f25501a-2215-4bb3-9d9c-8d1484ffa7c1" providerId="ADAL" clId="{8AAD7737-BE3D-48FE-A7A6-FB4F1E491907}" dt="2024-07-05T15:43:06.352" v="3048"/>
          <ac:spMkLst>
            <pc:docMk/>
            <pc:sldMk cId="3061079320" sldId="2147481966"/>
            <ac:spMk id="14" creationId="{690710C4-A1FC-4E17-8EB6-C8118DA432F0}"/>
          </ac:spMkLst>
        </pc:spChg>
        <pc:spChg chg="mod">
          <ac:chgData name="Sindija Kirsteine (LV)" userId="5f25501a-2215-4bb3-9d9c-8d1484ffa7c1" providerId="ADAL" clId="{8AAD7737-BE3D-48FE-A7A6-FB4F1E491907}" dt="2024-07-05T15:43:06.352" v="3048"/>
          <ac:spMkLst>
            <pc:docMk/>
            <pc:sldMk cId="3061079320" sldId="2147481966"/>
            <ac:spMk id="17" creationId="{296412A4-3163-103C-2B1B-A31E825301F5}"/>
          </ac:spMkLst>
        </pc:spChg>
        <pc:spChg chg="mod">
          <ac:chgData name="Sindija Kirsteine (LV)" userId="5f25501a-2215-4bb3-9d9c-8d1484ffa7c1" providerId="ADAL" clId="{8AAD7737-BE3D-48FE-A7A6-FB4F1E491907}" dt="2024-07-05T15:43:06.352" v="3048"/>
          <ac:spMkLst>
            <pc:docMk/>
            <pc:sldMk cId="3061079320" sldId="2147481966"/>
            <ac:spMk id="18" creationId="{6C20DB05-8F81-0F5C-B9C8-5300E03DAB0D}"/>
          </ac:spMkLst>
        </pc:spChg>
        <pc:spChg chg="mod">
          <ac:chgData name="Sindija Kirsteine (LV)" userId="5f25501a-2215-4bb3-9d9c-8d1484ffa7c1" providerId="ADAL" clId="{8AAD7737-BE3D-48FE-A7A6-FB4F1E491907}" dt="2024-07-05T15:43:06.352" v="3048"/>
          <ac:spMkLst>
            <pc:docMk/>
            <pc:sldMk cId="3061079320" sldId="2147481966"/>
            <ac:spMk id="19" creationId="{0385D35B-314C-25F4-89D8-96CAA87CCEA5}"/>
          </ac:spMkLst>
        </pc:spChg>
        <pc:spChg chg="mod">
          <ac:chgData name="Sindija Kirsteine (LV)" userId="5f25501a-2215-4bb3-9d9c-8d1484ffa7c1" providerId="ADAL" clId="{8AAD7737-BE3D-48FE-A7A6-FB4F1E491907}" dt="2024-07-05T06:47:13.645" v="910" actId="20577"/>
          <ac:spMkLst>
            <pc:docMk/>
            <pc:sldMk cId="3061079320" sldId="2147481966"/>
            <ac:spMk id="51" creationId="{2F6DC4B8-9940-E974-DFE7-A68FEC09CF64}"/>
          </ac:spMkLst>
        </pc:spChg>
        <pc:spChg chg="mod">
          <ac:chgData name="Sindija Kirsteine (LV)" userId="5f25501a-2215-4bb3-9d9c-8d1484ffa7c1" providerId="ADAL" clId="{8AAD7737-BE3D-48FE-A7A6-FB4F1E491907}" dt="2024-07-05T06:46:48.635" v="900" actId="20577"/>
          <ac:spMkLst>
            <pc:docMk/>
            <pc:sldMk cId="3061079320" sldId="2147481966"/>
            <ac:spMk id="52" creationId="{754EAF21-8364-40B5-103F-C971798338FA}"/>
          </ac:spMkLst>
        </pc:spChg>
        <pc:spChg chg="mod">
          <ac:chgData name="Sindija Kirsteine (LV)" userId="5f25501a-2215-4bb3-9d9c-8d1484ffa7c1" providerId="ADAL" clId="{8AAD7737-BE3D-48FE-A7A6-FB4F1E491907}" dt="2024-07-05T06:38:28.974" v="819" actId="20577"/>
          <ac:spMkLst>
            <pc:docMk/>
            <pc:sldMk cId="3061079320" sldId="2147481966"/>
            <ac:spMk id="53" creationId="{6E6AD103-92DC-77F5-2DD7-C9640CA704CA}"/>
          </ac:spMkLst>
        </pc:spChg>
        <pc:spChg chg="mod">
          <ac:chgData name="Sindija Kirsteine (LV)" userId="5f25501a-2215-4bb3-9d9c-8d1484ffa7c1" providerId="ADAL" clId="{8AAD7737-BE3D-48FE-A7A6-FB4F1E491907}" dt="2024-07-05T06:39:16.558" v="833" actId="14100"/>
          <ac:spMkLst>
            <pc:docMk/>
            <pc:sldMk cId="3061079320" sldId="2147481966"/>
            <ac:spMk id="54" creationId="{4CD0B799-859D-8D06-4ACC-37DFFC5D70E2}"/>
          </ac:spMkLst>
        </pc:spChg>
        <pc:spChg chg="mod">
          <ac:chgData name="Sindija Kirsteine (LV)" userId="5f25501a-2215-4bb3-9d9c-8d1484ffa7c1" providerId="ADAL" clId="{8AAD7737-BE3D-48FE-A7A6-FB4F1E491907}" dt="2024-07-05T06:42:08.626" v="846" actId="20577"/>
          <ac:spMkLst>
            <pc:docMk/>
            <pc:sldMk cId="3061079320" sldId="2147481966"/>
            <ac:spMk id="62" creationId="{5FAADB15-4E21-3C09-8DC6-C494DF454908}"/>
          </ac:spMkLst>
        </pc:spChg>
        <pc:grpChg chg="add mod">
          <ac:chgData name="Sindija Kirsteine (LV)" userId="5f25501a-2215-4bb3-9d9c-8d1484ffa7c1" providerId="ADAL" clId="{8AAD7737-BE3D-48FE-A7A6-FB4F1E491907}" dt="2024-07-05T15:43:06.352" v="3048"/>
          <ac:grpSpMkLst>
            <pc:docMk/>
            <pc:sldMk cId="3061079320" sldId="2147481966"/>
            <ac:grpSpMk id="3" creationId="{2DA3229C-2B2E-95D4-1296-79EE5E63558D}"/>
          </ac:grpSpMkLst>
        </pc:grpChg>
        <pc:grpChg chg="del">
          <ac:chgData name="Sindija Kirsteine (LV)" userId="5f25501a-2215-4bb3-9d9c-8d1484ffa7c1" providerId="ADAL" clId="{8AAD7737-BE3D-48FE-A7A6-FB4F1E491907}" dt="2024-07-05T15:43:05.985" v="3047" actId="478"/>
          <ac:grpSpMkLst>
            <pc:docMk/>
            <pc:sldMk cId="3061079320" sldId="2147481966"/>
            <ac:grpSpMk id="24" creationId="{F563CE39-E9A0-FC8F-917A-CBE225CFC4D4}"/>
          </ac:grpSpMkLst>
        </pc:grpChg>
      </pc:sldChg>
      <pc:sldChg chg="addSp delSp modSp mod">
        <pc:chgData name="Sindija Kirsteine (LV)" userId="5f25501a-2215-4bb3-9d9c-8d1484ffa7c1" providerId="ADAL" clId="{8AAD7737-BE3D-48FE-A7A6-FB4F1E491907}" dt="2024-07-05T15:48:15.509" v="3218" actId="20577"/>
        <pc:sldMkLst>
          <pc:docMk/>
          <pc:sldMk cId="2820792045" sldId="2147481968"/>
        </pc:sldMkLst>
        <pc:spChg chg="mod">
          <ac:chgData name="Sindija Kirsteine (LV)" userId="5f25501a-2215-4bb3-9d9c-8d1484ffa7c1" providerId="ADAL" clId="{8AAD7737-BE3D-48FE-A7A6-FB4F1E491907}" dt="2024-07-05T15:48:15.509" v="3218" actId="20577"/>
          <ac:spMkLst>
            <pc:docMk/>
            <pc:sldMk cId="2820792045" sldId="2147481968"/>
            <ac:spMk id="2" creationId="{1299C1A8-38BE-9556-5CBE-67D0E693F9D9}"/>
          </ac:spMkLst>
        </pc:spChg>
        <pc:spChg chg="mod">
          <ac:chgData name="Sindija Kirsteine (LV)" userId="5f25501a-2215-4bb3-9d9c-8d1484ffa7c1" providerId="ADAL" clId="{8AAD7737-BE3D-48FE-A7A6-FB4F1E491907}" dt="2024-07-05T07:08:05.417" v="1096" actId="20577"/>
          <ac:spMkLst>
            <pc:docMk/>
            <pc:sldMk cId="2820792045" sldId="2147481968"/>
            <ac:spMk id="6" creationId="{976F9164-18B5-7B30-6C9E-4C5AC2AFB251}"/>
          </ac:spMkLst>
        </pc:spChg>
        <pc:spChg chg="mod">
          <ac:chgData name="Sindija Kirsteine (LV)" userId="5f25501a-2215-4bb3-9d9c-8d1484ffa7c1" providerId="ADAL" clId="{8AAD7737-BE3D-48FE-A7A6-FB4F1E491907}" dt="2024-07-05T07:08:50.421" v="1104"/>
          <ac:spMkLst>
            <pc:docMk/>
            <pc:sldMk cId="2820792045" sldId="2147481968"/>
            <ac:spMk id="8" creationId="{7783C402-0517-A40D-5AD3-C7B8CD89F746}"/>
          </ac:spMkLst>
        </pc:spChg>
        <pc:spChg chg="mod">
          <ac:chgData name="Sindija Kirsteine (LV)" userId="5f25501a-2215-4bb3-9d9c-8d1484ffa7c1" providerId="ADAL" clId="{8AAD7737-BE3D-48FE-A7A6-FB4F1E491907}" dt="2024-07-05T07:06:44.659" v="1089" actId="20577"/>
          <ac:spMkLst>
            <pc:docMk/>
            <pc:sldMk cId="2820792045" sldId="2147481968"/>
            <ac:spMk id="9" creationId="{E60771D5-36B1-5846-E0FD-EE10BA67E143}"/>
          </ac:spMkLst>
        </pc:spChg>
        <pc:spChg chg="mod">
          <ac:chgData name="Sindija Kirsteine (LV)" userId="5f25501a-2215-4bb3-9d9c-8d1484ffa7c1" providerId="ADAL" clId="{8AAD7737-BE3D-48FE-A7A6-FB4F1E491907}" dt="2024-07-05T07:06:24.403" v="1086" actId="20577"/>
          <ac:spMkLst>
            <pc:docMk/>
            <pc:sldMk cId="2820792045" sldId="2147481968"/>
            <ac:spMk id="10" creationId="{0E3AF958-70C4-357F-D986-53A75E5CF63B}"/>
          </ac:spMkLst>
        </pc:spChg>
        <pc:spChg chg="mod">
          <ac:chgData name="Sindija Kirsteine (LV)" userId="5f25501a-2215-4bb3-9d9c-8d1484ffa7c1" providerId="ADAL" clId="{8AAD7737-BE3D-48FE-A7A6-FB4F1E491907}" dt="2024-07-05T15:43:12.327" v="3054"/>
          <ac:spMkLst>
            <pc:docMk/>
            <pc:sldMk cId="2820792045" sldId="2147481968"/>
            <ac:spMk id="17" creationId="{2C0E742D-5834-13EC-85DD-CA846B2A1BDD}"/>
          </ac:spMkLst>
        </pc:spChg>
        <pc:spChg chg="mod">
          <ac:chgData name="Sindija Kirsteine (LV)" userId="5f25501a-2215-4bb3-9d9c-8d1484ffa7c1" providerId="ADAL" clId="{8AAD7737-BE3D-48FE-A7A6-FB4F1E491907}" dt="2024-07-05T15:43:12.327" v="3054"/>
          <ac:spMkLst>
            <pc:docMk/>
            <pc:sldMk cId="2820792045" sldId="2147481968"/>
            <ac:spMk id="19" creationId="{8255E79D-93A8-5EFA-85D4-29BB78E3D34A}"/>
          </ac:spMkLst>
        </pc:spChg>
        <pc:spChg chg="mod">
          <ac:chgData name="Sindija Kirsteine (LV)" userId="5f25501a-2215-4bb3-9d9c-8d1484ffa7c1" providerId="ADAL" clId="{8AAD7737-BE3D-48FE-A7A6-FB4F1E491907}" dt="2024-07-05T07:11:26.916" v="1117" actId="20577"/>
          <ac:spMkLst>
            <pc:docMk/>
            <pc:sldMk cId="2820792045" sldId="2147481968"/>
            <ac:spMk id="21" creationId="{1118417F-5F3E-C322-3338-E4C7A4CDB1CE}"/>
          </ac:spMkLst>
        </pc:spChg>
        <pc:spChg chg="mod">
          <ac:chgData name="Sindija Kirsteine (LV)" userId="5f25501a-2215-4bb3-9d9c-8d1484ffa7c1" providerId="ADAL" clId="{8AAD7737-BE3D-48FE-A7A6-FB4F1E491907}" dt="2024-07-05T15:43:12.327" v="3054"/>
          <ac:spMkLst>
            <pc:docMk/>
            <pc:sldMk cId="2820792045" sldId="2147481968"/>
            <ac:spMk id="22" creationId="{B3FFBD2F-F8F5-482F-A801-9F5B9A26CD56}"/>
          </ac:spMkLst>
        </pc:spChg>
        <pc:spChg chg="mod">
          <ac:chgData name="Sindija Kirsteine (LV)" userId="5f25501a-2215-4bb3-9d9c-8d1484ffa7c1" providerId="ADAL" clId="{8AAD7737-BE3D-48FE-A7A6-FB4F1E491907}" dt="2024-07-05T15:43:12.327" v="3054"/>
          <ac:spMkLst>
            <pc:docMk/>
            <pc:sldMk cId="2820792045" sldId="2147481968"/>
            <ac:spMk id="23" creationId="{44612059-2E65-8331-AEE6-A7445B380802}"/>
          </ac:spMkLst>
        </pc:spChg>
        <pc:spChg chg="mod">
          <ac:chgData name="Sindija Kirsteine (LV)" userId="5f25501a-2215-4bb3-9d9c-8d1484ffa7c1" providerId="ADAL" clId="{8AAD7737-BE3D-48FE-A7A6-FB4F1E491907}" dt="2024-07-05T15:43:12.327" v="3054"/>
          <ac:spMkLst>
            <pc:docMk/>
            <pc:sldMk cId="2820792045" sldId="2147481968"/>
            <ac:spMk id="24" creationId="{3B8D1E30-D828-C8C3-0A40-B6094E730740}"/>
          </ac:spMkLst>
        </pc:spChg>
        <pc:spChg chg="mod">
          <ac:chgData name="Sindija Kirsteine (LV)" userId="5f25501a-2215-4bb3-9d9c-8d1484ffa7c1" providerId="ADAL" clId="{8AAD7737-BE3D-48FE-A7A6-FB4F1E491907}" dt="2024-07-05T15:43:12.327" v="3054"/>
          <ac:spMkLst>
            <pc:docMk/>
            <pc:sldMk cId="2820792045" sldId="2147481968"/>
            <ac:spMk id="25" creationId="{2EDF55DC-4616-8A52-627A-AC4490592357}"/>
          </ac:spMkLst>
        </pc:spChg>
        <pc:spChg chg="mod">
          <ac:chgData name="Sindija Kirsteine (LV)" userId="5f25501a-2215-4bb3-9d9c-8d1484ffa7c1" providerId="ADAL" clId="{8AAD7737-BE3D-48FE-A7A6-FB4F1E491907}" dt="2024-07-05T15:43:12.327" v="3054"/>
          <ac:spMkLst>
            <pc:docMk/>
            <pc:sldMk cId="2820792045" sldId="2147481968"/>
            <ac:spMk id="34" creationId="{1C12919A-1914-A1EF-666B-7F7D93CEF8C9}"/>
          </ac:spMkLst>
        </pc:spChg>
        <pc:spChg chg="mod">
          <ac:chgData name="Sindija Kirsteine (LV)" userId="5f25501a-2215-4bb3-9d9c-8d1484ffa7c1" providerId="ADAL" clId="{8AAD7737-BE3D-48FE-A7A6-FB4F1E491907}" dt="2024-07-05T07:13:18.267" v="1123" actId="20577"/>
          <ac:spMkLst>
            <pc:docMk/>
            <pc:sldMk cId="2820792045" sldId="2147481968"/>
            <ac:spMk id="111" creationId="{2BE907A4-1571-B9F0-D513-57AB05B745BE}"/>
          </ac:spMkLst>
        </pc:spChg>
        <pc:spChg chg="mod">
          <ac:chgData name="Sindija Kirsteine (LV)" userId="5f25501a-2215-4bb3-9d9c-8d1484ffa7c1" providerId="ADAL" clId="{8AAD7737-BE3D-48FE-A7A6-FB4F1E491907}" dt="2024-07-05T07:14:03.053" v="1124" actId="20577"/>
          <ac:spMkLst>
            <pc:docMk/>
            <pc:sldMk cId="2820792045" sldId="2147481968"/>
            <ac:spMk id="131" creationId="{6764AC4B-FEF3-2CCD-15D3-7FDF812B793E}"/>
          </ac:spMkLst>
        </pc:spChg>
        <pc:grpChg chg="del">
          <ac:chgData name="Sindija Kirsteine (LV)" userId="5f25501a-2215-4bb3-9d9c-8d1484ffa7c1" providerId="ADAL" clId="{8AAD7737-BE3D-48FE-A7A6-FB4F1E491907}" dt="2024-07-05T15:43:12.090" v="3053" actId="478"/>
          <ac:grpSpMkLst>
            <pc:docMk/>
            <pc:sldMk cId="2820792045" sldId="2147481968"/>
            <ac:grpSpMk id="4" creationId="{8DB5A74B-7004-16D3-7B4D-66FEAD229AEC}"/>
          </ac:grpSpMkLst>
        </pc:grpChg>
        <pc:grpChg chg="add mod">
          <ac:chgData name="Sindija Kirsteine (LV)" userId="5f25501a-2215-4bb3-9d9c-8d1484ffa7c1" providerId="ADAL" clId="{8AAD7737-BE3D-48FE-A7A6-FB4F1E491907}" dt="2024-07-05T15:43:12.327" v="3054"/>
          <ac:grpSpMkLst>
            <pc:docMk/>
            <pc:sldMk cId="2820792045" sldId="2147481968"/>
            <ac:grpSpMk id="15" creationId="{5A385367-8C1D-C11A-BFB4-2ECDCF18F993}"/>
          </ac:grpSpMkLst>
        </pc:grpChg>
      </pc:sldChg>
      <pc:sldChg chg="addSp delSp modSp mod">
        <pc:chgData name="Sindija Kirsteine (LV)" userId="5f25501a-2215-4bb3-9d9c-8d1484ffa7c1" providerId="ADAL" clId="{8AAD7737-BE3D-48FE-A7A6-FB4F1E491907}" dt="2024-07-06T09:09:23.658" v="3432" actId="20577"/>
        <pc:sldMkLst>
          <pc:docMk/>
          <pc:sldMk cId="3998587978" sldId="2147481969"/>
        </pc:sldMkLst>
        <pc:spChg chg="mod">
          <ac:chgData name="Sindija Kirsteine (LV)" userId="5f25501a-2215-4bb3-9d9c-8d1484ffa7c1" providerId="ADAL" clId="{8AAD7737-BE3D-48FE-A7A6-FB4F1E491907}" dt="2024-07-05T15:48:09.539" v="3215" actId="20577"/>
          <ac:spMkLst>
            <pc:docMk/>
            <pc:sldMk cId="3998587978" sldId="2147481969"/>
            <ac:spMk id="2" creationId="{1299C1A8-38BE-9556-5CBE-67D0E693F9D9}"/>
          </ac:spMkLst>
        </pc:spChg>
        <pc:spChg chg="mod">
          <ac:chgData name="Sindija Kirsteine (LV)" userId="5f25501a-2215-4bb3-9d9c-8d1484ffa7c1" providerId="ADAL" clId="{8AAD7737-BE3D-48FE-A7A6-FB4F1E491907}" dt="2024-07-05T15:43:09.762" v="3051"/>
          <ac:spMkLst>
            <pc:docMk/>
            <pc:sldMk cId="3998587978" sldId="2147481969"/>
            <ac:spMk id="14" creationId="{3536A5A9-E48E-104A-9D96-7614283E1015}"/>
          </ac:spMkLst>
        </pc:spChg>
        <pc:spChg chg="mod">
          <ac:chgData name="Sindija Kirsteine (LV)" userId="5f25501a-2215-4bb3-9d9c-8d1484ffa7c1" providerId="ADAL" clId="{8AAD7737-BE3D-48FE-A7A6-FB4F1E491907}" dt="2024-07-05T15:43:09.762" v="3051"/>
          <ac:spMkLst>
            <pc:docMk/>
            <pc:sldMk cId="3998587978" sldId="2147481969"/>
            <ac:spMk id="15" creationId="{A09A1E68-0DDB-A1CF-42A1-FBABE1E386CB}"/>
          </ac:spMkLst>
        </pc:spChg>
        <pc:spChg chg="mod">
          <ac:chgData name="Sindija Kirsteine (LV)" userId="5f25501a-2215-4bb3-9d9c-8d1484ffa7c1" providerId="ADAL" clId="{8AAD7737-BE3D-48FE-A7A6-FB4F1E491907}" dt="2024-07-05T15:43:09.762" v="3051"/>
          <ac:spMkLst>
            <pc:docMk/>
            <pc:sldMk cId="3998587978" sldId="2147481969"/>
            <ac:spMk id="16" creationId="{AAF53E27-2E50-57D9-0E2F-64EAC65C16C0}"/>
          </ac:spMkLst>
        </pc:spChg>
        <pc:spChg chg="mod">
          <ac:chgData name="Sindija Kirsteine (LV)" userId="5f25501a-2215-4bb3-9d9c-8d1484ffa7c1" providerId="ADAL" clId="{8AAD7737-BE3D-48FE-A7A6-FB4F1E491907}" dt="2024-07-05T15:43:09.762" v="3051"/>
          <ac:spMkLst>
            <pc:docMk/>
            <pc:sldMk cId="3998587978" sldId="2147481969"/>
            <ac:spMk id="17" creationId="{C3565A86-5A2E-BD91-34AC-9A52EF7B2C68}"/>
          </ac:spMkLst>
        </pc:spChg>
        <pc:spChg chg="mod">
          <ac:chgData name="Sindija Kirsteine (LV)" userId="5f25501a-2215-4bb3-9d9c-8d1484ffa7c1" providerId="ADAL" clId="{8AAD7737-BE3D-48FE-A7A6-FB4F1E491907}" dt="2024-07-05T15:43:09.762" v="3051"/>
          <ac:spMkLst>
            <pc:docMk/>
            <pc:sldMk cId="3998587978" sldId="2147481969"/>
            <ac:spMk id="19" creationId="{566184EA-3A88-6EAA-022D-9E93546E26D4}"/>
          </ac:spMkLst>
        </pc:spChg>
        <pc:spChg chg="mod">
          <ac:chgData name="Sindija Kirsteine (LV)" userId="5f25501a-2215-4bb3-9d9c-8d1484ffa7c1" providerId="ADAL" clId="{8AAD7737-BE3D-48FE-A7A6-FB4F1E491907}" dt="2024-07-05T15:43:09.762" v="3051"/>
          <ac:spMkLst>
            <pc:docMk/>
            <pc:sldMk cId="3998587978" sldId="2147481969"/>
            <ac:spMk id="20" creationId="{4CF43400-66A0-3EFC-2542-9D24AAD9AEC4}"/>
          </ac:spMkLst>
        </pc:spChg>
        <pc:spChg chg="mod">
          <ac:chgData name="Sindija Kirsteine (LV)" userId="5f25501a-2215-4bb3-9d9c-8d1484ffa7c1" providerId="ADAL" clId="{8AAD7737-BE3D-48FE-A7A6-FB4F1E491907}" dt="2024-07-05T15:43:09.762" v="3051"/>
          <ac:spMkLst>
            <pc:docMk/>
            <pc:sldMk cId="3998587978" sldId="2147481969"/>
            <ac:spMk id="21" creationId="{4A9DB3A0-AF23-F231-4DA5-BD243EE932C1}"/>
          </ac:spMkLst>
        </pc:spChg>
        <pc:spChg chg="mod">
          <ac:chgData name="Sindija Kirsteine (LV)" userId="5f25501a-2215-4bb3-9d9c-8d1484ffa7c1" providerId="ADAL" clId="{8AAD7737-BE3D-48FE-A7A6-FB4F1E491907}" dt="2024-07-06T09:09:23.658" v="3432" actId="20577"/>
          <ac:spMkLst>
            <pc:docMk/>
            <pc:sldMk cId="3998587978" sldId="2147481969"/>
            <ac:spMk id="26" creationId="{471F14E2-4096-90B5-C1ED-2A3C36F0DB47}"/>
          </ac:spMkLst>
        </pc:spChg>
        <pc:spChg chg="mod">
          <ac:chgData name="Sindija Kirsteine (LV)" userId="5f25501a-2215-4bb3-9d9c-8d1484ffa7c1" providerId="ADAL" clId="{8AAD7737-BE3D-48FE-A7A6-FB4F1E491907}" dt="2024-07-05T07:05:54.993" v="1075" actId="404"/>
          <ac:spMkLst>
            <pc:docMk/>
            <pc:sldMk cId="3998587978" sldId="2147481969"/>
            <ac:spMk id="27" creationId="{4A84FC65-DA2C-6590-D2DB-1E7E4EA7E99F}"/>
          </ac:spMkLst>
        </pc:spChg>
        <pc:spChg chg="mod">
          <ac:chgData name="Sindija Kirsteine (LV)" userId="5f25501a-2215-4bb3-9d9c-8d1484ffa7c1" providerId="ADAL" clId="{8AAD7737-BE3D-48FE-A7A6-FB4F1E491907}" dt="2024-07-05T07:08:45.067" v="1102" actId="20577"/>
          <ac:spMkLst>
            <pc:docMk/>
            <pc:sldMk cId="3998587978" sldId="2147481969"/>
            <ac:spMk id="33" creationId="{2E6F1176-869E-B642-37E9-B0306CA30288}"/>
          </ac:spMkLst>
        </pc:spChg>
        <pc:spChg chg="mod">
          <ac:chgData name="Sindija Kirsteine (LV)" userId="5f25501a-2215-4bb3-9d9c-8d1484ffa7c1" providerId="ADAL" clId="{8AAD7737-BE3D-48FE-A7A6-FB4F1E491907}" dt="2024-07-05T06:51:16.469" v="956" actId="20577"/>
          <ac:spMkLst>
            <pc:docMk/>
            <pc:sldMk cId="3998587978" sldId="2147481969"/>
            <ac:spMk id="34" creationId="{A8D0F764-24AA-5BAB-8270-91CEC7751B79}"/>
          </ac:spMkLst>
        </pc:spChg>
        <pc:spChg chg="mod">
          <ac:chgData name="Sindija Kirsteine (LV)" userId="5f25501a-2215-4bb3-9d9c-8d1484ffa7c1" providerId="ADAL" clId="{8AAD7737-BE3D-48FE-A7A6-FB4F1E491907}" dt="2024-07-05T06:52:27.279" v="963" actId="20577"/>
          <ac:spMkLst>
            <pc:docMk/>
            <pc:sldMk cId="3998587978" sldId="2147481969"/>
            <ac:spMk id="75" creationId="{C67A177E-02E9-E513-71FE-F516254B5B21}"/>
          </ac:spMkLst>
        </pc:spChg>
        <pc:spChg chg="mod">
          <ac:chgData name="Sindija Kirsteine (LV)" userId="5f25501a-2215-4bb3-9d9c-8d1484ffa7c1" providerId="ADAL" clId="{8AAD7737-BE3D-48FE-A7A6-FB4F1E491907}" dt="2024-07-05T06:55:48.338" v="976" actId="20577"/>
          <ac:spMkLst>
            <pc:docMk/>
            <pc:sldMk cId="3998587978" sldId="2147481969"/>
            <ac:spMk id="76" creationId="{7BBC6110-BA80-66C9-711A-C3D76CC8605F}"/>
          </ac:spMkLst>
        </pc:spChg>
        <pc:spChg chg="mod">
          <ac:chgData name="Sindija Kirsteine (LV)" userId="5f25501a-2215-4bb3-9d9c-8d1484ffa7c1" providerId="ADAL" clId="{8AAD7737-BE3D-48FE-A7A6-FB4F1E491907}" dt="2024-07-05T06:54:31.984" v="970" actId="20577"/>
          <ac:spMkLst>
            <pc:docMk/>
            <pc:sldMk cId="3998587978" sldId="2147481969"/>
            <ac:spMk id="77" creationId="{314D8D8F-B7D4-EAAE-D30E-252B00FF4285}"/>
          </ac:spMkLst>
        </pc:spChg>
        <pc:spChg chg="mod">
          <ac:chgData name="Sindija Kirsteine (LV)" userId="5f25501a-2215-4bb3-9d9c-8d1484ffa7c1" providerId="ADAL" clId="{8AAD7737-BE3D-48FE-A7A6-FB4F1E491907}" dt="2024-07-05T06:53:25.986" v="965"/>
          <ac:spMkLst>
            <pc:docMk/>
            <pc:sldMk cId="3998587978" sldId="2147481969"/>
            <ac:spMk id="78" creationId="{6551150D-9873-82B0-44E8-5190D9C2D304}"/>
          </ac:spMkLst>
        </pc:spChg>
        <pc:spChg chg="mod">
          <ac:chgData name="Sindija Kirsteine (LV)" userId="5f25501a-2215-4bb3-9d9c-8d1484ffa7c1" providerId="ADAL" clId="{8AAD7737-BE3D-48FE-A7A6-FB4F1E491907}" dt="2024-07-05T06:56:57.034" v="993" actId="20577"/>
          <ac:spMkLst>
            <pc:docMk/>
            <pc:sldMk cId="3998587978" sldId="2147481969"/>
            <ac:spMk id="79" creationId="{F894A031-0F31-B105-0AAA-4CF219846086}"/>
          </ac:spMkLst>
        </pc:spChg>
        <pc:spChg chg="mod">
          <ac:chgData name="Sindija Kirsteine (LV)" userId="5f25501a-2215-4bb3-9d9c-8d1484ffa7c1" providerId="ADAL" clId="{8AAD7737-BE3D-48FE-A7A6-FB4F1E491907}" dt="2024-07-05T06:58:59.488" v="1028" actId="20577"/>
          <ac:spMkLst>
            <pc:docMk/>
            <pc:sldMk cId="3998587978" sldId="2147481969"/>
            <ac:spMk id="80" creationId="{570B6498-E0FA-658E-4D49-FD9D29C589E3}"/>
          </ac:spMkLst>
        </pc:spChg>
        <pc:spChg chg="mod">
          <ac:chgData name="Sindija Kirsteine (LV)" userId="5f25501a-2215-4bb3-9d9c-8d1484ffa7c1" providerId="ADAL" clId="{8AAD7737-BE3D-48FE-A7A6-FB4F1E491907}" dt="2024-07-05T06:58:49.871" v="1022" actId="20577"/>
          <ac:spMkLst>
            <pc:docMk/>
            <pc:sldMk cId="3998587978" sldId="2147481969"/>
            <ac:spMk id="81" creationId="{94091B5D-4334-BE94-3E85-4663D5928A77}"/>
          </ac:spMkLst>
        </pc:spChg>
        <pc:spChg chg="mod">
          <ac:chgData name="Sindija Kirsteine (LV)" userId="5f25501a-2215-4bb3-9d9c-8d1484ffa7c1" providerId="ADAL" clId="{8AAD7737-BE3D-48FE-A7A6-FB4F1E491907}" dt="2024-07-05T06:59:53.998" v="1030" actId="20577"/>
          <ac:spMkLst>
            <pc:docMk/>
            <pc:sldMk cId="3998587978" sldId="2147481969"/>
            <ac:spMk id="134" creationId="{CFDEC673-F15A-A608-8775-B4A0A0928B31}"/>
          </ac:spMkLst>
        </pc:spChg>
        <pc:spChg chg="mod">
          <ac:chgData name="Sindija Kirsteine (LV)" userId="5f25501a-2215-4bb3-9d9c-8d1484ffa7c1" providerId="ADAL" clId="{8AAD7737-BE3D-48FE-A7A6-FB4F1E491907}" dt="2024-07-05T07:01:01.883" v="1034" actId="20577"/>
          <ac:spMkLst>
            <pc:docMk/>
            <pc:sldMk cId="3998587978" sldId="2147481969"/>
            <ac:spMk id="136" creationId="{2828282F-656A-0349-78B5-C46022B059AE}"/>
          </ac:spMkLst>
        </pc:spChg>
        <pc:grpChg chg="del">
          <ac:chgData name="Sindija Kirsteine (LV)" userId="5f25501a-2215-4bb3-9d9c-8d1484ffa7c1" providerId="ADAL" clId="{8AAD7737-BE3D-48FE-A7A6-FB4F1E491907}" dt="2024-07-05T15:43:09.507" v="3050" actId="478"/>
          <ac:grpSpMkLst>
            <pc:docMk/>
            <pc:sldMk cId="3998587978" sldId="2147481969"/>
            <ac:grpSpMk id="4" creationId="{AE5B0DF2-9FD5-466F-2E3B-FA6C207198A2}"/>
          </ac:grpSpMkLst>
        </pc:grpChg>
        <pc:grpChg chg="add mod">
          <ac:chgData name="Sindija Kirsteine (LV)" userId="5f25501a-2215-4bb3-9d9c-8d1484ffa7c1" providerId="ADAL" clId="{8AAD7737-BE3D-48FE-A7A6-FB4F1E491907}" dt="2024-07-05T15:43:09.762" v="3051"/>
          <ac:grpSpMkLst>
            <pc:docMk/>
            <pc:sldMk cId="3998587978" sldId="2147481969"/>
            <ac:grpSpMk id="13" creationId="{9F306498-CD2F-DF18-9BCA-0A2CE1407E07}"/>
          </ac:grpSpMkLst>
        </pc:grpChg>
      </pc:sldChg>
      <pc:sldChg chg="addSp delSp modSp add mod">
        <pc:chgData name="Sindija Kirsteine (LV)" userId="5f25501a-2215-4bb3-9d9c-8d1484ffa7c1" providerId="ADAL" clId="{8AAD7737-BE3D-48FE-A7A6-FB4F1E491907}" dt="2024-07-06T09:14:15.333" v="3452" actId="20577"/>
        <pc:sldMkLst>
          <pc:docMk/>
          <pc:sldMk cId="141526238" sldId="2147481970"/>
        </pc:sldMkLst>
        <pc:spChg chg="mod">
          <ac:chgData name="Sindija Kirsteine (LV)" userId="5f25501a-2215-4bb3-9d9c-8d1484ffa7c1" providerId="ADAL" clId="{8AAD7737-BE3D-48FE-A7A6-FB4F1E491907}" dt="2024-07-05T15:41:46.861" v="3014"/>
          <ac:spMkLst>
            <pc:docMk/>
            <pc:sldMk cId="141526238" sldId="2147481970"/>
            <ac:spMk id="7" creationId="{47A5F2BD-7A0A-88D7-2511-7F0594C2F8FC}"/>
          </ac:spMkLst>
        </pc:spChg>
        <pc:spChg chg="mod">
          <ac:chgData name="Sindija Kirsteine (LV)" userId="5f25501a-2215-4bb3-9d9c-8d1484ffa7c1" providerId="ADAL" clId="{8AAD7737-BE3D-48FE-A7A6-FB4F1E491907}" dt="2024-07-05T15:41:46.861" v="3014"/>
          <ac:spMkLst>
            <pc:docMk/>
            <pc:sldMk cId="141526238" sldId="2147481970"/>
            <ac:spMk id="9" creationId="{0876DDB1-C5CB-866E-FEC2-8B9A8CE4799A}"/>
          </ac:spMkLst>
        </pc:spChg>
        <pc:spChg chg="mod">
          <ac:chgData name="Sindija Kirsteine (LV)" userId="5f25501a-2215-4bb3-9d9c-8d1484ffa7c1" providerId="ADAL" clId="{8AAD7737-BE3D-48FE-A7A6-FB4F1E491907}" dt="2024-07-05T15:41:46.861" v="3014"/>
          <ac:spMkLst>
            <pc:docMk/>
            <pc:sldMk cId="141526238" sldId="2147481970"/>
            <ac:spMk id="10" creationId="{373324AA-9142-62E5-388B-8AEBAD5B08A2}"/>
          </ac:spMkLst>
        </pc:spChg>
        <pc:spChg chg="mod">
          <ac:chgData name="Sindija Kirsteine (LV)" userId="5f25501a-2215-4bb3-9d9c-8d1484ffa7c1" providerId="ADAL" clId="{8AAD7737-BE3D-48FE-A7A6-FB4F1E491907}" dt="2024-07-05T15:41:46.861" v="3014"/>
          <ac:spMkLst>
            <pc:docMk/>
            <pc:sldMk cId="141526238" sldId="2147481970"/>
            <ac:spMk id="16" creationId="{6FB24318-C9AA-91C6-E407-756A6A982E7A}"/>
          </ac:spMkLst>
        </pc:spChg>
        <pc:spChg chg="mod">
          <ac:chgData name="Sindija Kirsteine (LV)" userId="5f25501a-2215-4bb3-9d9c-8d1484ffa7c1" providerId="ADAL" clId="{8AAD7737-BE3D-48FE-A7A6-FB4F1E491907}" dt="2024-07-05T15:41:46.861" v="3014"/>
          <ac:spMkLst>
            <pc:docMk/>
            <pc:sldMk cId="141526238" sldId="2147481970"/>
            <ac:spMk id="22" creationId="{322809B8-5A32-322B-2218-40B9906FD203}"/>
          </ac:spMkLst>
        </pc:spChg>
        <pc:spChg chg="mod">
          <ac:chgData name="Sindija Kirsteine (LV)" userId="5f25501a-2215-4bb3-9d9c-8d1484ffa7c1" providerId="ADAL" clId="{8AAD7737-BE3D-48FE-A7A6-FB4F1E491907}" dt="2024-07-06T09:14:15.333" v="3452" actId="20577"/>
          <ac:spMkLst>
            <pc:docMk/>
            <pc:sldMk cId="141526238" sldId="2147481970"/>
            <ac:spMk id="27" creationId="{2D6405CD-2499-573E-A031-A68FA08F053E}"/>
          </ac:spMkLst>
        </pc:spChg>
        <pc:spChg chg="mod">
          <ac:chgData name="Sindija Kirsteine (LV)" userId="5f25501a-2215-4bb3-9d9c-8d1484ffa7c1" providerId="ADAL" clId="{8AAD7737-BE3D-48FE-A7A6-FB4F1E491907}" dt="2024-07-05T15:41:46.861" v="3014"/>
          <ac:spMkLst>
            <pc:docMk/>
            <pc:sldMk cId="141526238" sldId="2147481970"/>
            <ac:spMk id="29" creationId="{C55213EF-6ACF-BF22-E05C-A12853E680BC}"/>
          </ac:spMkLst>
        </pc:spChg>
        <pc:spChg chg="mod">
          <ac:chgData name="Sindija Kirsteine (LV)" userId="5f25501a-2215-4bb3-9d9c-8d1484ffa7c1" providerId="ADAL" clId="{8AAD7737-BE3D-48FE-A7A6-FB4F1E491907}" dt="2024-07-05T15:46:33.423" v="3138"/>
          <ac:spMkLst>
            <pc:docMk/>
            <pc:sldMk cId="141526238" sldId="2147481970"/>
            <ac:spMk id="57346" creationId="{FCA19F51-1289-1EC9-1082-2616C6DFFA9F}"/>
          </ac:spMkLst>
        </pc:spChg>
        <pc:grpChg chg="add mod">
          <ac:chgData name="Sindija Kirsteine (LV)" userId="5f25501a-2215-4bb3-9d9c-8d1484ffa7c1" providerId="ADAL" clId="{8AAD7737-BE3D-48FE-A7A6-FB4F1E491907}" dt="2024-07-05T15:41:46.861" v="3014"/>
          <ac:grpSpMkLst>
            <pc:docMk/>
            <pc:sldMk cId="141526238" sldId="2147481970"/>
            <ac:grpSpMk id="5" creationId="{D86CC9D9-C6AD-1ED0-85D2-78A5B31DD90E}"/>
          </ac:grpSpMkLst>
        </pc:grpChg>
        <pc:grpChg chg="del">
          <ac:chgData name="Sindija Kirsteine (LV)" userId="5f25501a-2215-4bb3-9d9c-8d1484ffa7c1" providerId="ADAL" clId="{8AAD7737-BE3D-48FE-A7A6-FB4F1E491907}" dt="2024-07-05T15:41:46.606" v="3013" actId="478"/>
          <ac:grpSpMkLst>
            <pc:docMk/>
            <pc:sldMk cId="141526238" sldId="2147481970"/>
            <ac:grpSpMk id="6" creationId="{781ADB4D-3F9D-86F8-20D9-4779474C152B}"/>
          </ac:grpSpMkLst>
        </pc:grpChg>
      </pc:sldChg>
      <pc:sldChg chg="add del">
        <pc:chgData name="Sindija Kirsteine (LV)" userId="5f25501a-2215-4bb3-9d9c-8d1484ffa7c1" providerId="ADAL" clId="{8AAD7737-BE3D-48FE-A7A6-FB4F1E491907}" dt="2024-07-05T09:36:40.856" v="2423" actId="2890"/>
        <pc:sldMkLst>
          <pc:docMk/>
          <pc:sldMk cId="3659975312" sldId="2147481971"/>
        </pc:sldMkLst>
      </pc:sldChg>
    </pc:docChg>
  </pc:docChgLst>
  <pc:docChgLst>
    <pc:chgData name="Sindija Kirsteine (LV)" userId="5f25501a-2215-4bb3-9d9c-8d1484ffa7c1" providerId="ADAL" clId="{51789BE2-0055-4F4A-9AAB-B67B2FFB34E0}"/>
    <pc:docChg chg="undo custSel addSld modSld sldOrd replTag">
      <pc:chgData name="Sindija Kirsteine (LV)" userId="5f25501a-2215-4bb3-9d9c-8d1484ffa7c1" providerId="ADAL" clId="{51789BE2-0055-4F4A-9AAB-B67B2FFB34E0}" dt="2024-06-03T15:15:22.551" v="3573"/>
      <pc:docMkLst>
        <pc:docMk/>
      </pc:docMkLst>
      <pc:sldChg chg="modSp mod">
        <pc:chgData name="Sindija Kirsteine (LV)" userId="5f25501a-2215-4bb3-9d9c-8d1484ffa7c1" providerId="ADAL" clId="{51789BE2-0055-4F4A-9AAB-B67B2FFB34E0}" dt="2024-05-28T13:00:48.763" v="174" actId="20577"/>
        <pc:sldMkLst>
          <pc:docMk/>
          <pc:sldMk cId="0" sldId="257"/>
        </pc:sldMkLst>
        <pc:spChg chg="mod">
          <ac:chgData name="Sindija Kirsteine (LV)" userId="5f25501a-2215-4bb3-9d9c-8d1484ffa7c1" providerId="ADAL" clId="{51789BE2-0055-4F4A-9AAB-B67B2FFB34E0}" dt="2024-05-28T13:00:48.763" v="174" actId="20577"/>
          <ac:spMkLst>
            <pc:docMk/>
            <pc:sldMk cId="0" sldId="257"/>
            <ac:spMk id="5" creationId="{00000000-0000-0000-0000-000000000000}"/>
          </ac:spMkLst>
        </pc:spChg>
        <pc:spChg chg="mod">
          <ac:chgData name="Sindija Kirsteine (LV)" userId="5f25501a-2215-4bb3-9d9c-8d1484ffa7c1" providerId="ADAL" clId="{51789BE2-0055-4F4A-9AAB-B67B2FFB34E0}" dt="2024-05-28T13:00:44.366" v="168" actId="20577"/>
          <ac:spMkLst>
            <pc:docMk/>
            <pc:sldMk cId="0" sldId="257"/>
            <ac:spMk id="27" creationId="{FE4065D5-5844-92B0-D2CC-BCC509607FB4}"/>
          </ac:spMkLst>
        </pc:spChg>
      </pc:sldChg>
      <pc:sldChg chg="addSp delSp modSp mod delCm modCm">
        <pc:chgData name="Sindija Kirsteine (LV)" userId="5f25501a-2215-4bb3-9d9c-8d1484ffa7c1" providerId="ADAL" clId="{51789BE2-0055-4F4A-9AAB-B67B2FFB34E0}" dt="2024-06-03T15:14:50.829" v="3568" actId="20577"/>
        <pc:sldMkLst>
          <pc:docMk/>
          <pc:sldMk cId="192098022" sldId="2147481877"/>
        </pc:sldMkLst>
        <pc:spChg chg="add mod">
          <ac:chgData name="Sindija Kirsteine (LV)" userId="5f25501a-2215-4bb3-9d9c-8d1484ffa7c1" providerId="ADAL" clId="{51789BE2-0055-4F4A-9AAB-B67B2FFB34E0}" dt="2024-05-28T13:50:01.412" v="925"/>
          <ac:spMkLst>
            <pc:docMk/>
            <pc:sldMk cId="192098022" sldId="2147481877"/>
            <ac:spMk id="3" creationId="{6A355E03-E3D4-57E7-8E5C-EA6D87D67D07}"/>
          </ac:spMkLst>
        </pc:spChg>
        <pc:spChg chg="add mod">
          <ac:chgData name="Sindija Kirsteine (LV)" userId="5f25501a-2215-4bb3-9d9c-8d1484ffa7c1" providerId="ADAL" clId="{51789BE2-0055-4F4A-9AAB-B67B2FFB34E0}" dt="2024-05-28T13:51:09.730" v="964" actId="20577"/>
          <ac:spMkLst>
            <pc:docMk/>
            <pc:sldMk cId="192098022" sldId="2147481877"/>
            <ac:spMk id="4" creationId="{5D11349D-67E6-D358-56A1-2A641284DFB5}"/>
          </ac:spMkLst>
        </pc:spChg>
        <pc:spChg chg="del mod">
          <ac:chgData name="Sindija Kirsteine (LV)" userId="5f25501a-2215-4bb3-9d9c-8d1484ffa7c1" providerId="ADAL" clId="{51789BE2-0055-4F4A-9AAB-B67B2FFB34E0}" dt="2024-05-28T13:49:57.499" v="922" actId="478"/>
          <ac:spMkLst>
            <pc:docMk/>
            <pc:sldMk cId="192098022" sldId="2147481877"/>
            <ac:spMk id="6" creationId="{2CB3F9F5-858C-1D21-4D13-EAEDABE2E74A}"/>
          </ac:spMkLst>
        </pc:spChg>
        <pc:spChg chg="add mod">
          <ac:chgData name="Sindija Kirsteine (LV)" userId="5f25501a-2215-4bb3-9d9c-8d1484ffa7c1" providerId="ADAL" clId="{51789BE2-0055-4F4A-9AAB-B67B2FFB34E0}" dt="2024-05-29T07:11:01.146" v="1008" actId="207"/>
          <ac:spMkLst>
            <pc:docMk/>
            <pc:sldMk cId="192098022" sldId="2147481877"/>
            <ac:spMk id="6" creationId="{847F1DA5-4E0E-C3BD-946C-125801C6EDE8}"/>
          </ac:spMkLst>
        </pc:spChg>
        <pc:spChg chg="add mod">
          <ac:chgData name="Sindija Kirsteine (LV)" userId="5f25501a-2215-4bb3-9d9c-8d1484ffa7c1" providerId="ADAL" clId="{51789BE2-0055-4F4A-9AAB-B67B2FFB34E0}" dt="2024-06-03T15:14:50.829" v="3568" actId="20577"/>
          <ac:spMkLst>
            <pc:docMk/>
            <pc:sldMk cId="192098022" sldId="2147481877"/>
            <ac:spMk id="7" creationId="{BC65054A-3879-FD6A-5856-AC5CA0045C75}"/>
          </ac:spMkLst>
        </pc:spChg>
        <pc:extLst>
          <p:ext xmlns:p="http://schemas.openxmlformats.org/presentationml/2006/main" uri="{D6D511B9-2390-475A-947B-AFAB55BFBCF1}">
            <pc226:cmChg xmlns:pc226="http://schemas.microsoft.com/office/powerpoint/2022/06/main/command" chg="del mod">
              <pc226:chgData name="Sindija Kirsteine (LV)" userId="5f25501a-2215-4bb3-9d9c-8d1484ffa7c1" providerId="ADAL" clId="{51789BE2-0055-4F4A-9AAB-B67B2FFB34E0}" dt="2024-05-28T13:51:16.410" v="965"/>
              <pc2:cmMkLst xmlns:pc2="http://schemas.microsoft.com/office/powerpoint/2019/9/main/command">
                <pc:docMk/>
                <pc:sldMk cId="192098022" sldId="2147481877"/>
                <pc2:cmMk id="{63417D5C-4FE2-488C-B107-C45FAA1739A4}"/>
              </pc2:cmMkLst>
            </pc226:cmChg>
          </p:ext>
        </pc:extLst>
      </pc:sldChg>
      <pc:sldChg chg="modSp mod">
        <pc:chgData name="Sindija Kirsteine (LV)" userId="5f25501a-2215-4bb3-9d9c-8d1484ffa7c1" providerId="ADAL" clId="{51789BE2-0055-4F4A-9AAB-B67B2FFB34E0}" dt="2024-05-27T11:12:34.140" v="50" actId="20577"/>
        <pc:sldMkLst>
          <pc:docMk/>
          <pc:sldMk cId="1498590892" sldId="2147481885"/>
        </pc:sldMkLst>
        <pc:spChg chg="mod">
          <ac:chgData name="Sindija Kirsteine (LV)" userId="5f25501a-2215-4bb3-9d9c-8d1484ffa7c1" providerId="ADAL" clId="{51789BE2-0055-4F4A-9AAB-B67B2FFB34E0}" dt="2024-05-27T11:12:34.140" v="50" actId="20577"/>
          <ac:spMkLst>
            <pc:docMk/>
            <pc:sldMk cId="1498590892" sldId="2147481885"/>
            <ac:spMk id="4" creationId="{B1CBE399-95B1-4855-23E2-3019CA5A03DE}"/>
          </ac:spMkLst>
        </pc:spChg>
      </pc:sldChg>
      <pc:sldChg chg="modSp mod">
        <pc:chgData name="Sindija Kirsteine (LV)" userId="5f25501a-2215-4bb3-9d9c-8d1484ffa7c1" providerId="ADAL" clId="{51789BE2-0055-4F4A-9AAB-B67B2FFB34E0}" dt="2024-05-27T11:13:20.072" v="76" actId="20577"/>
        <pc:sldMkLst>
          <pc:docMk/>
          <pc:sldMk cId="4260349440" sldId="2147481886"/>
        </pc:sldMkLst>
        <pc:spChg chg="mod">
          <ac:chgData name="Sindija Kirsteine (LV)" userId="5f25501a-2215-4bb3-9d9c-8d1484ffa7c1" providerId="ADAL" clId="{51789BE2-0055-4F4A-9AAB-B67B2FFB34E0}" dt="2024-05-27T11:13:20.072" v="76" actId="20577"/>
          <ac:spMkLst>
            <pc:docMk/>
            <pc:sldMk cId="4260349440" sldId="2147481886"/>
            <ac:spMk id="4" creationId="{B1CBE399-95B1-4855-23E2-3019CA5A03DE}"/>
          </ac:spMkLst>
        </pc:spChg>
      </pc:sldChg>
      <pc:sldChg chg="modSp mod">
        <pc:chgData name="Sindija Kirsteine (LV)" userId="5f25501a-2215-4bb3-9d9c-8d1484ffa7c1" providerId="ADAL" clId="{51789BE2-0055-4F4A-9AAB-B67B2FFB34E0}" dt="2024-05-27T11:14:40.579" v="103"/>
        <pc:sldMkLst>
          <pc:docMk/>
          <pc:sldMk cId="2647739992" sldId="2147481887"/>
        </pc:sldMkLst>
        <pc:spChg chg="mod">
          <ac:chgData name="Sindija Kirsteine (LV)" userId="5f25501a-2215-4bb3-9d9c-8d1484ffa7c1" providerId="ADAL" clId="{51789BE2-0055-4F4A-9AAB-B67B2FFB34E0}" dt="2024-05-27T11:14:40.579" v="103"/>
          <ac:spMkLst>
            <pc:docMk/>
            <pc:sldMk cId="2647739992" sldId="2147481887"/>
            <ac:spMk id="4" creationId="{B1CBE399-95B1-4855-23E2-3019CA5A03DE}"/>
          </ac:spMkLst>
        </pc:spChg>
      </pc:sldChg>
      <pc:sldChg chg="modSp mod">
        <pc:chgData name="Sindija Kirsteine (LV)" userId="5f25501a-2215-4bb3-9d9c-8d1484ffa7c1" providerId="ADAL" clId="{51789BE2-0055-4F4A-9AAB-B67B2FFB34E0}" dt="2024-05-27T11:15:09.927" v="116" actId="20577"/>
        <pc:sldMkLst>
          <pc:docMk/>
          <pc:sldMk cId="449992976" sldId="2147481889"/>
        </pc:sldMkLst>
        <pc:spChg chg="mod">
          <ac:chgData name="Sindija Kirsteine (LV)" userId="5f25501a-2215-4bb3-9d9c-8d1484ffa7c1" providerId="ADAL" clId="{51789BE2-0055-4F4A-9AAB-B67B2FFB34E0}" dt="2024-05-27T11:15:09.927" v="116" actId="20577"/>
          <ac:spMkLst>
            <pc:docMk/>
            <pc:sldMk cId="449992976" sldId="2147481889"/>
            <ac:spMk id="4" creationId="{B1CBE399-95B1-4855-23E2-3019CA5A03DE}"/>
          </ac:spMkLst>
        </pc:spChg>
      </pc:sldChg>
      <pc:sldChg chg="modSp mod delCm">
        <pc:chgData name="Sindija Kirsteine (LV)" userId="5f25501a-2215-4bb3-9d9c-8d1484ffa7c1" providerId="ADAL" clId="{51789BE2-0055-4F4A-9AAB-B67B2FFB34E0}" dt="2024-06-03T15:12:51.854" v="3505"/>
        <pc:sldMkLst>
          <pc:docMk/>
          <pc:sldMk cId="3901568867" sldId="2147481894"/>
        </pc:sldMkLst>
        <pc:spChg chg="mod">
          <ac:chgData name="Sindija Kirsteine (LV)" userId="5f25501a-2215-4bb3-9d9c-8d1484ffa7c1" providerId="ADAL" clId="{51789BE2-0055-4F4A-9AAB-B67B2FFB34E0}" dt="2024-05-27T11:12:15.727" v="45" actId="20577"/>
          <ac:spMkLst>
            <pc:docMk/>
            <pc:sldMk cId="3901568867" sldId="2147481894"/>
            <ac:spMk id="2" creationId="{00000000-0000-0000-0000-000000000000}"/>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51789BE2-0055-4F4A-9AAB-B67B2FFB34E0}" dt="2024-06-03T15:12:51.854" v="3505"/>
              <pc2:cmMkLst xmlns:pc2="http://schemas.microsoft.com/office/powerpoint/2019/9/main/command">
                <pc:docMk/>
                <pc:sldMk cId="3901568867" sldId="2147481894"/>
                <pc2:cmMk id="{7D101C78-32AD-477F-A62D-0DD70598011E}"/>
              </pc2:cmMkLst>
            </pc226:cmChg>
          </p:ext>
        </pc:extLst>
      </pc:sldChg>
      <pc:sldChg chg="delCm">
        <pc:chgData name="Sindija Kirsteine (LV)" userId="5f25501a-2215-4bb3-9d9c-8d1484ffa7c1" providerId="ADAL" clId="{51789BE2-0055-4F4A-9AAB-B67B2FFB34E0}" dt="2024-05-29T07:10:01.619" v="974"/>
        <pc:sldMkLst>
          <pc:docMk/>
          <pc:sldMk cId="310194463" sldId="2147481903"/>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51789BE2-0055-4F4A-9AAB-B67B2FFB34E0}" dt="2024-05-29T07:10:01.619" v="974"/>
              <pc2:cmMkLst xmlns:pc2="http://schemas.microsoft.com/office/powerpoint/2019/9/main/command">
                <pc:docMk/>
                <pc:sldMk cId="310194463" sldId="2147481903"/>
                <pc2:cmMk id="{51CCB069-B79D-4161-A90E-D2A6C3151363}"/>
              </pc2:cmMkLst>
            </pc226:cmChg>
          </p:ext>
        </pc:extLst>
      </pc:sldChg>
      <pc:sldChg chg="mod modShow">
        <pc:chgData name="Sindija Kirsteine (LV)" userId="5f25501a-2215-4bb3-9d9c-8d1484ffa7c1" providerId="ADAL" clId="{51789BE2-0055-4F4A-9AAB-B67B2FFB34E0}" dt="2024-05-29T08:38:41.623" v="3475" actId="729"/>
        <pc:sldMkLst>
          <pc:docMk/>
          <pc:sldMk cId="2829430444" sldId="2147481906"/>
        </pc:sldMkLst>
      </pc:sldChg>
      <pc:sldChg chg="mod modShow">
        <pc:chgData name="Sindija Kirsteine (LV)" userId="5f25501a-2215-4bb3-9d9c-8d1484ffa7c1" providerId="ADAL" clId="{51789BE2-0055-4F4A-9AAB-B67B2FFB34E0}" dt="2024-05-29T08:38:43.497" v="3477" actId="729"/>
        <pc:sldMkLst>
          <pc:docMk/>
          <pc:sldMk cId="2443351344" sldId="2147481921"/>
        </pc:sldMkLst>
      </pc:sldChg>
      <pc:sldChg chg="addCm delCm">
        <pc:chgData name="Sindija Kirsteine (LV)" userId="5f25501a-2215-4bb3-9d9c-8d1484ffa7c1" providerId="ADAL" clId="{51789BE2-0055-4F4A-9AAB-B67B2FFB34E0}" dt="2024-05-29T08:14:17.487" v="3151"/>
        <pc:sldMkLst>
          <pc:docMk/>
          <pc:sldMk cId="4049782693" sldId="2147481949"/>
        </pc:sldMkLst>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51789BE2-0055-4F4A-9AAB-B67B2FFB34E0}" dt="2024-05-29T08:14:17.487" v="3151"/>
              <pc2:cmMkLst xmlns:pc2="http://schemas.microsoft.com/office/powerpoint/2019/9/main/command">
                <pc:docMk/>
                <pc:sldMk cId="4049782693" sldId="2147481949"/>
                <pc2:cmMk id="{62F949C9-F81A-4195-8469-115A593566CA}"/>
              </pc2:cmMkLst>
            </pc226:cmChg>
          </p:ext>
        </pc:extLst>
      </pc:sldChg>
      <pc:sldChg chg="addSp delSp modSp new mod ord addCm delCm modCm">
        <pc:chgData name="Sindija Kirsteine (LV)" userId="5f25501a-2215-4bb3-9d9c-8d1484ffa7c1" providerId="ADAL" clId="{51789BE2-0055-4F4A-9AAB-B67B2FFB34E0}" dt="2024-06-03T15:14:11.767" v="3535" actId="1076"/>
        <pc:sldMkLst>
          <pc:docMk/>
          <pc:sldMk cId="8764514" sldId="2147481952"/>
        </pc:sldMkLst>
        <pc:spChg chg="add mod">
          <ac:chgData name="Sindija Kirsteine (LV)" userId="5f25501a-2215-4bb3-9d9c-8d1484ffa7c1" providerId="ADAL" clId="{51789BE2-0055-4F4A-9AAB-B67B2FFB34E0}" dt="2024-05-29T08:12:01.396" v="3116" actId="1076"/>
          <ac:spMkLst>
            <pc:docMk/>
            <pc:sldMk cId="8764514" sldId="2147481952"/>
            <ac:spMk id="2" creationId="{1299C1A8-38BE-9556-5CBE-67D0E693F9D9}"/>
          </ac:spMkLst>
        </pc:spChg>
        <pc:spChg chg="del mod">
          <ac:chgData name="Sindija Kirsteine (LV)" userId="5f25501a-2215-4bb3-9d9c-8d1484ffa7c1" providerId="ADAL" clId="{51789BE2-0055-4F4A-9AAB-B67B2FFB34E0}" dt="2024-05-28T12:57:13.991" v="157" actId="478"/>
          <ac:spMkLst>
            <pc:docMk/>
            <pc:sldMk cId="8764514" sldId="2147481952"/>
            <ac:spMk id="2" creationId="{64592CFF-5E63-94E1-B303-8FA71DB1D0DD}"/>
          </ac:spMkLst>
        </pc:spChg>
        <pc:spChg chg="add mod">
          <ac:chgData name="Sindija Kirsteine (LV)" userId="5f25501a-2215-4bb3-9d9c-8d1484ffa7c1" providerId="ADAL" clId="{51789BE2-0055-4F4A-9AAB-B67B2FFB34E0}" dt="2024-05-29T08:12:37.274" v="3128" actId="1076"/>
          <ac:spMkLst>
            <pc:docMk/>
            <pc:sldMk cId="8764514" sldId="2147481952"/>
            <ac:spMk id="4" creationId="{044CED17-0DEE-4EF2-DBA6-CA96B5379582}"/>
          </ac:spMkLst>
        </pc:spChg>
        <pc:spChg chg="del">
          <ac:chgData name="Sindija Kirsteine (LV)" userId="5f25501a-2215-4bb3-9d9c-8d1484ffa7c1" providerId="ADAL" clId="{51789BE2-0055-4F4A-9AAB-B67B2FFB34E0}" dt="2024-05-28T12:58:19.177" v="163" actId="478"/>
          <ac:spMkLst>
            <pc:docMk/>
            <pc:sldMk cId="8764514" sldId="2147481952"/>
            <ac:spMk id="4" creationId="{11AC193C-FA2B-0CE6-FEEA-C1813372FFB3}"/>
          </ac:spMkLst>
        </pc:spChg>
        <pc:spChg chg="del">
          <ac:chgData name="Sindija Kirsteine (LV)" userId="5f25501a-2215-4bb3-9d9c-8d1484ffa7c1" providerId="ADAL" clId="{51789BE2-0055-4F4A-9AAB-B67B2FFB34E0}" dt="2024-05-28T12:58:17.183" v="162" actId="478"/>
          <ac:spMkLst>
            <pc:docMk/>
            <pc:sldMk cId="8764514" sldId="2147481952"/>
            <ac:spMk id="5" creationId="{59EBE925-995F-6A2D-B741-59901C8320BF}"/>
          </ac:spMkLst>
        </pc:spChg>
        <pc:spChg chg="add mod">
          <ac:chgData name="Sindija Kirsteine (LV)" userId="5f25501a-2215-4bb3-9d9c-8d1484ffa7c1" providerId="ADAL" clId="{51789BE2-0055-4F4A-9AAB-B67B2FFB34E0}" dt="2024-05-29T08:23:11.128" v="3235" actId="1035"/>
          <ac:spMkLst>
            <pc:docMk/>
            <pc:sldMk cId="8764514" sldId="2147481952"/>
            <ac:spMk id="5" creationId="{78E2C0FC-63C3-7920-0F0A-031A1C50B2A8}"/>
          </ac:spMkLst>
        </pc:spChg>
        <pc:spChg chg="add mod">
          <ac:chgData name="Sindija Kirsteine (LV)" userId="5f25501a-2215-4bb3-9d9c-8d1484ffa7c1" providerId="ADAL" clId="{51789BE2-0055-4F4A-9AAB-B67B2FFB34E0}" dt="2024-05-29T08:12:43.929" v="3129" actId="1076"/>
          <ac:spMkLst>
            <pc:docMk/>
            <pc:sldMk cId="8764514" sldId="2147481952"/>
            <ac:spMk id="6" creationId="{D3EBD2C9-4A14-6860-4948-2EF442A78DA7}"/>
          </ac:spMkLst>
        </pc:spChg>
        <pc:spChg chg="add mod">
          <ac:chgData name="Sindija Kirsteine (LV)" userId="5f25501a-2215-4bb3-9d9c-8d1484ffa7c1" providerId="ADAL" clId="{51789BE2-0055-4F4A-9AAB-B67B2FFB34E0}" dt="2024-05-29T08:23:20.166" v="3254" actId="1076"/>
          <ac:spMkLst>
            <pc:docMk/>
            <pc:sldMk cId="8764514" sldId="2147481952"/>
            <ac:spMk id="7" creationId="{3C135BF1-68FD-E187-6474-C89224402F84}"/>
          </ac:spMkLst>
        </pc:spChg>
        <pc:spChg chg="add mod">
          <ac:chgData name="Sindija Kirsteine (LV)" userId="5f25501a-2215-4bb3-9d9c-8d1484ffa7c1" providerId="ADAL" clId="{51789BE2-0055-4F4A-9AAB-B67B2FFB34E0}" dt="2024-06-03T15:14:11.767" v="3535" actId="1076"/>
          <ac:spMkLst>
            <pc:docMk/>
            <pc:sldMk cId="8764514" sldId="2147481952"/>
            <ac:spMk id="8" creationId="{11C621BF-C088-E999-27EF-06E360CED235}"/>
          </ac:spMkLst>
        </pc:spChg>
        <pc:spChg chg="add del mod">
          <ac:chgData name="Sindija Kirsteine (LV)" userId="5f25501a-2215-4bb3-9d9c-8d1484ffa7c1" providerId="ADAL" clId="{51789BE2-0055-4F4A-9AAB-B67B2FFB34E0}" dt="2024-05-29T08:04:21.999" v="2834" actId="21"/>
          <ac:spMkLst>
            <pc:docMk/>
            <pc:sldMk cId="8764514" sldId="2147481952"/>
            <ac:spMk id="8" creationId="{7D59F934-F36E-FE04-C1FC-01D76C89BDFD}"/>
          </ac:spMkLst>
        </pc:spChg>
        <pc:spChg chg="add del mod">
          <ac:chgData name="Sindija Kirsteine (LV)" userId="5f25501a-2215-4bb3-9d9c-8d1484ffa7c1" providerId="ADAL" clId="{51789BE2-0055-4F4A-9AAB-B67B2FFB34E0}" dt="2024-05-29T07:45:14.511" v="2060" actId="478"/>
          <ac:spMkLst>
            <pc:docMk/>
            <pc:sldMk cId="8764514" sldId="2147481952"/>
            <ac:spMk id="9" creationId="{3305B4F0-B855-BBB7-7851-AF127C52AB18}"/>
          </ac:spMkLst>
        </pc:spChg>
        <pc:spChg chg="add del mod">
          <ac:chgData name="Sindija Kirsteine (LV)" userId="5f25501a-2215-4bb3-9d9c-8d1484ffa7c1" providerId="ADAL" clId="{51789BE2-0055-4F4A-9AAB-B67B2FFB34E0}" dt="2024-05-29T07:45:31.487" v="2063" actId="478"/>
          <ac:spMkLst>
            <pc:docMk/>
            <pc:sldMk cId="8764514" sldId="2147481952"/>
            <ac:spMk id="10" creationId="{358030F2-054C-E298-7B8A-17892F8C5B15}"/>
          </ac:spMkLst>
        </pc:spChg>
        <pc:spChg chg="add del mod">
          <ac:chgData name="Sindija Kirsteine (LV)" userId="5f25501a-2215-4bb3-9d9c-8d1484ffa7c1" providerId="ADAL" clId="{51789BE2-0055-4F4A-9AAB-B67B2FFB34E0}" dt="2024-05-29T08:04:21.999" v="2834" actId="21"/>
          <ac:spMkLst>
            <pc:docMk/>
            <pc:sldMk cId="8764514" sldId="2147481952"/>
            <ac:spMk id="11" creationId="{FA63416C-CD82-8E70-2EB0-BF1BB41CB8A6}"/>
          </ac:spMkLst>
        </pc:spChg>
        <pc:spChg chg="add del mod">
          <ac:chgData name="Sindija Kirsteine (LV)" userId="5f25501a-2215-4bb3-9d9c-8d1484ffa7c1" providerId="ADAL" clId="{51789BE2-0055-4F4A-9AAB-B67B2FFB34E0}" dt="2024-05-29T08:12:32.536" v="3127"/>
          <ac:spMkLst>
            <pc:docMk/>
            <pc:sldMk cId="8764514" sldId="2147481952"/>
            <ac:spMk id="13" creationId="{9C22EFB0-A35C-69BD-2438-77D0188045DF}"/>
          </ac:spMkLst>
        </pc:spChg>
        <pc:spChg chg="add mod">
          <ac:chgData name="Sindija Kirsteine (LV)" userId="5f25501a-2215-4bb3-9d9c-8d1484ffa7c1" providerId="ADAL" clId="{51789BE2-0055-4F4A-9AAB-B67B2FFB34E0}" dt="2024-05-29T08:22:42.101" v="3180" actId="14100"/>
          <ac:spMkLst>
            <pc:docMk/>
            <pc:sldMk cId="8764514" sldId="2147481952"/>
            <ac:spMk id="14" creationId="{9FD14EA1-5F55-4208-B044-621497B14600}"/>
          </ac:spMkLst>
        </pc:spChg>
        <pc:spChg chg="add mod">
          <ac:chgData name="Sindija Kirsteine (LV)" userId="5f25501a-2215-4bb3-9d9c-8d1484ffa7c1" providerId="ADAL" clId="{51789BE2-0055-4F4A-9AAB-B67B2FFB34E0}" dt="2024-05-29T08:22:51.152" v="3193" actId="1035"/>
          <ac:spMkLst>
            <pc:docMk/>
            <pc:sldMk cId="8764514" sldId="2147481952"/>
            <ac:spMk id="15" creationId="{D94CBB10-3D88-8D99-A508-25320F8BC0AE}"/>
          </ac:spMkLst>
        </pc:spChg>
        <pc:spChg chg="add mod">
          <ac:chgData name="Sindija Kirsteine (LV)" userId="5f25501a-2215-4bb3-9d9c-8d1484ffa7c1" providerId="ADAL" clId="{51789BE2-0055-4F4A-9AAB-B67B2FFB34E0}" dt="2024-05-29T08:22:58.731" v="3208" actId="1035"/>
          <ac:spMkLst>
            <pc:docMk/>
            <pc:sldMk cId="8764514" sldId="2147481952"/>
            <ac:spMk id="16" creationId="{CA061F35-E025-EC98-466B-1A5CDADF26EF}"/>
          </ac:spMkLst>
        </pc:spChg>
        <pc:spChg chg="add mod">
          <ac:chgData name="Sindija Kirsteine (LV)" userId="5f25501a-2215-4bb3-9d9c-8d1484ffa7c1" providerId="ADAL" clId="{51789BE2-0055-4F4A-9AAB-B67B2FFB34E0}" dt="2024-05-29T08:23:02.569" v="3222" actId="1035"/>
          <ac:spMkLst>
            <pc:docMk/>
            <pc:sldMk cId="8764514" sldId="2147481952"/>
            <ac:spMk id="17" creationId="{7E19FA06-400B-67CA-FA4B-3971DB1E3B31}"/>
          </ac:spMkLst>
        </pc:spChg>
        <pc:extLst>
          <p:ext xmlns:p="http://schemas.openxmlformats.org/presentationml/2006/main" uri="{D6D511B9-2390-475A-947B-AFAB55BFBCF1}">
            <pc226:cmChg xmlns:pc226="http://schemas.microsoft.com/office/powerpoint/2022/06/main/command" chg="add del mod">
              <pc226:chgData name="Sindija Kirsteine (LV)" userId="5f25501a-2215-4bb3-9d9c-8d1484ffa7c1" providerId="ADAL" clId="{51789BE2-0055-4F4A-9AAB-B67B2FFB34E0}" dt="2024-05-29T08:14:00.729" v="3149"/>
              <pc2:cmMkLst xmlns:pc2="http://schemas.microsoft.com/office/powerpoint/2019/9/main/command">
                <pc:docMk/>
                <pc:sldMk cId="8764514" sldId="2147481952"/>
                <pc2:cmMk id="{506015B4-4F9D-4D2A-85BF-9C97461C5710}"/>
              </pc2:cmMkLst>
            </pc226:cmChg>
          </p:ext>
        </pc:extLst>
      </pc:sldChg>
      <pc:sldChg chg="addSp delSp modSp new mod modNotesTx">
        <pc:chgData name="Sindija Kirsteine (LV)" userId="5f25501a-2215-4bb3-9d9c-8d1484ffa7c1" providerId="ADAL" clId="{51789BE2-0055-4F4A-9AAB-B67B2FFB34E0}" dt="2024-06-03T15:14:01.203" v="3529" actId="207"/>
        <pc:sldMkLst>
          <pc:docMk/>
          <pc:sldMk cId="1261692589" sldId="2147481953"/>
        </pc:sldMkLst>
        <pc:spChg chg="mod">
          <ac:chgData name="Sindija Kirsteine (LV)" userId="5f25501a-2215-4bb3-9d9c-8d1484ffa7c1" providerId="ADAL" clId="{51789BE2-0055-4F4A-9AAB-B67B2FFB34E0}" dt="2024-05-28T13:18:22.481" v="507" actId="20577"/>
          <ac:spMkLst>
            <pc:docMk/>
            <pc:sldMk cId="1261692589" sldId="2147481953"/>
            <ac:spMk id="2" creationId="{1A6103D8-B23D-68A9-5B86-59618E4C749F}"/>
          </ac:spMkLst>
        </pc:spChg>
        <pc:spChg chg="del">
          <ac:chgData name="Sindija Kirsteine (LV)" userId="5f25501a-2215-4bb3-9d9c-8d1484ffa7c1" providerId="ADAL" clId="{51789BE2-0055-4F4A-9AAB-B67B2FFB34E0}" dt="2024-05-28T13:31:31.715" v="653" actId="478"/>
          <ac:spMkLst>
            <pc:docMk/>
            <pc:sldMk cId="1261692589" sldId="2147481953"/>
            <ac:spMk id="4" creationId="{30596CEE-A1FC-B324-D7B7-4529E3464A5C}"/>
          </ac:spMkLst>
        </pc:spChg>
        <pc:spChg chg="del">
          <ac:chgData name="Sindija Kirsteine (LV)" userId="5f25501a-2215-4bb3-9d9c-8d1484ffa7c1" providerId="ADAL" clId="{51789BE2-0055-4F4A-9AAB-B67B2FFB34E0}" dt="2024-05-28T13:31:29.916" v="652" actId="478"/>
          <ac:spMkLst>
            <pc:docMk/>
            <pc:sldMk cId="1261692589" sldId="2147481953"/>
            <ac:spMk id="5" creationId="{44D30788-5A0F-A3D2-8479-BE5B3B50E994}"/>
          </ac:spMkLst>
        </pc:spChg>
        <pc:spChg chg="add mod">
          <ac:chgData name="Sindija Kirsteine (LV)" userId="5f25501a-2215-4bb3-9d9c-8d1484ffa7c1" providerId="ADAL" clId="{51789BE2-0055-4F4A-9AAB-B67B2FFB34E0}" dt="2024-05-28T13:30:01.566" v="514" actId="1076"/>
          <ac:spMkLst>
            <pc:docMk/>
            <pc:sldMk cId="1261692589" sldId="2147481953"/>
            <ac:spMk id="6" creationId="{2A93ECFE-047D-FE79-AC0E-1E327CF30CB5}"/>
          </ac:spMkLst>
        </pc:spChg>
        <pc:spChg chg="add del mod">
          <ac:chgData name="Sindija Kirsteine (LV)" userId="5f25501a-2215-4bb3-9d9c-8d1484ffa7c1" providerId="ADAL" clId="{51789BE2-0055-4F4A-9AAB-B67B2FFB34E0}" dt="2024-05-28T13:29:44.052" v="513" actId="478"/>
          <ac:spMkLst>
            <pc:docMk/>
            <pc:sldMk cId="1261692589" sldId="2147481953"/>
            <ac:spMk id="7" creationId="{E09C387E-F76B-19A0-43C3-DB692A89A322}"/>
          </ac:spMkLst>
        </pc:spChg>
        <pc:spChg chg="add mod">
          <ac:chgData name="Sindija Kirsteine (LV)" userId="5f25501a-2215-4bb3-9d9c-8d1484ffa7c1" providerId="ADAL" clId="{51789BE2-0055-4F4A-9AAB-B67B2FFB34E0}" dt="2024-05-28T13:30:05.046" v="515" actId="404"/>
          <ac:spMkLst>
            <pc:docMk/>
            <pc:sldMk cId="1261692589" sldId="2147481953"/>
            <ac:spMk id="8" creationId="{CA0659F6-2E5A-9FEB-BFB9-89801B19FC51}"/>
          </ac:spMkLst>
        </pc:spChg>
        <pc:spChg chg="add mod">
          <ac:chgData name="Sindija Kirsteine (LV)" userId="5f25501a-2215-4bb3-9d9c-8d1484ffa7c1" providerId="ADAL" clId="{51789BE2-0055-4F4A-9AAB-B67B2FFB34E0}" dt="2024-05-28T13:32:59.743" v="846" actId="20577"/>
          <ac:spMkLst>
            <pc:docMk/>
            <pc:sldMk cId="1261692589" sldId="2147481953"/>
            <ac:spMk id="9" creationId="{E70D858B-428A-ADD7-5B09-7380EC7EFD50}"/>
          </ac:spMkLst>
        </pc:spChg>
        <pc:spChg chg="add mod">
          <ac:chgData name="Sindija Kirsteine (LV)" userId="5f25501a-2215-4bb3-9d9c-8d1484ffa7c1" providerId="ADAL" clId="{51789BE2-0055-4F4A-9AAB-B67B2FFB34E0}" dt="2024-05-28T13:34:23.590" v="885" actId="1076"/>
          <ac:spMkLst>
            <pc:docMk/>
            <pc:sldMk cId="1261692589" sldId="2147481953"/>
            <ac:spMk id="10" creationId="{C3D2E68C-7695-C8CF-32A8-F802E8A57B43}"/>
          </ac:spMkLst>
        </pc:spChg>
        <pc:spChg chg="add del mod">
          <ac:chgData name="Sindija Kirsteine (LV)" userId="5f25501a-2215-4bb3-9d9c-8d1484ffa7c1" providerId="ADAL" clId="{51789BE2-0055-4F4A-9AAB-B67B2FFB34E0}" dt="2024-05-28T13:30:45.255" v="606"/>
          <ac:spMkLst>
            <pc:docMk/>
            <pc:sldMk cId="1261692589" sldId="2147481953"/>
            <ac:spMk id="11" creationId="{853E15F1-78CC-6986-C7A2-AB2C13E71BD5}"/>
          </ac:spMkLst>
        </pc:spChg>
        <pc:spChg chg="add mod">
          <ac:chgData name="Sindija Kirsteine (LV)" userId="5f25501a-2215-4bb3-9d9c-8d1484ffa7c1" providerId="ADAL" clId="{51789BE2-0055-4F4A-9AAB-B67B2FFB34E0}" dt="2024-05-28T13:35:02.784" v="912" actId="20577"/>
          <ac:spMkLst>
            <pc:docMk/>
            <pc:sldMk cId="1261692589" sldId="2147481953"/>
            <ac:spMk id="12" creationId="{66F4610F-EE20-E0C2-F3B8-E87C3A8C009E}"/>
          </ac:spMkLst>
        </pc:spChg>
        <pc:spChg chg="add mod">
          <ac:chgData name="Sindija Kirsteine (LV)" userId="5f25501a-2215-4bb3-9d9c-8d1484ffa7c1" providerId="ADAL" clId="{51789BE2-0055-4F4A-9AAB-B67B2FFB34E0}" dt="2024-06-03T15:14:01.203" v="3529" actId="207"/>
          <ac:spMkLst>
            <pc:docMk/>
            <pc:sldMk cId="1261692589" sldId="2147481953"/>
            <ac:spMk id="13" creationId="{1C2FEEA4-3DB9-8804-6107-D903A534DA74}"/>
          </ac:spMkLst>
        </pc:spChg>
      </pc:sldChg>
      <pc:sldChg chg="addSp delSp modSp new mod">
        <pc:chgData name="Sindija Kirsteine (LV)" userId="5f25501a-2215-4bb3-9d9c-8d1484ffa7c1" providerId="ADAL" clId="{51789BE2-0055-4F4A-9AAB-B67B2FFB34E0}" dt="2024-06-03T15:14:08.948" v="3532" actId="1076"/>
        <pc:sldMkLst>
          <pc:docMk/>
          <pc:sldMk cId="4214794587" sldId="2147481954"/>
        </pc:sldMkLst>
        <pc:spChg chg="mod">
          <ac:chgData name="Sindija Kirsteine (LV)" userId="5f25501a-2215-4bb3-9d9c-8d1484ffa7c1" providerId="ADAL" clId="{51789BE2-0055-4F4A-9AAB-B67B2FFB34E0}" dt="2024-05-29T08:04:29.147" v="2839"/>
          <ac:spMkLst>
            <pc:docMk/>
            <pc:sldMk cId="4214794587" sldId="2147481954"/>
            <ac:spMk id="2" creationId="{E442B2BF-6A0E-0723-F844-7CC43A351D70}"/>
          </ac:spMkLst>
        </pc:spChg>
        <pc:spChg chg="add mod">
          <ac:chgData name="Sindija Kirsteine (LV)" userId="5f25501a-2215-4bb3-9d9c-8d1484ffa7c1" providerId="ADAL" clId="{51789BE2-0055-4F4A-9AAB-B67B2FFB34E0}" dt="2024-06-03T15:14:08.948" v="3532" actId="1076"/>
          <ac:spMkLst>
            <pc:docMk/>
            <pc:sldMk cId="4214794587" sldId="2147481954"/>
            <ac:spMk id="4" creationId="{1D6E78E0-0AF1-46A2-A137-937245CB364E}"/>
          </ac:spMkLst>
        </pc:spChg>
        <pc:spChg chg="del">
          <ac:chgData name="Sindija Kirsteine (LV)" userId="5f25501a-2215-4bb3-9d9c-8d1484ffa7c1" providerId="ADAL" clId="{51789BE2-0055-4F4A-9AAB-B67B2FFB34E0}" dt="2024-05-29T08:29:59.054" v="3423" actId="478"/>
          <ac:spMkLst>
            <pc:docMk/>
            <pc:sldMk cId="4214794587" sldId="2147481954"/>
            <ac:spMk id="4" creationId="{FC75F671-93DC-D1EE-BD19-2D3A84DB2D8C}"/>
          </ac:spMkLst>
        </pc:spChg>
        <pc:spChg chg="del">
          <ac:chgData name="Sindija Kirsteine (LV)" userId="5f25501a-2215-4bb3-9d9c-8d1484ffa7c1" providerId="ADAL" clId="{51789BE2-0055-4F4A-9AAB-B67B2FFB34E0}" dt="2024-05-29T08:29:56.632" v="3422" actId="478"/>
          <ac:spMkLst>
            <pc:docMk/>
            <pc:sldMk cId="4214794587" sldId="2147481954"/>
            <ac:spMk id="5" creationId="{7AA24A7F-2D17-AE30-8516-255ADE1B9FAC}"/>
          </ac:spMkLst>
        </pc:spChg>
        <pc:spChg chg="add mod">
          <ac:chgData name="Sindija Kirsteine (LV)" userId="5f25501a-2215-4bb3-9d9c-8d1484ffa7c1" providerId="ADAL" clId="{51789BE2-0055-4F4A-9AAB-B67B2FFB34E0}" dt="2024-05-29T08:04:41.384" v="2843" actId="1076"/>
          <ac:spMkLst>
            <pc:docMk/>
            <pc:sldMk cId="4214794587" sldId="2147481954"/>
            <ac:spMk id="6" creationId="{3D0BF9BF-BE99-C84D-89CA-76702B55E9C0}"/>
          </ac:spMkLst>
        </pc:spChg>
        <pc:spChg chg="add mod">
          <ac:chgData name="Sindija Kirsteine (LV)" userId="5f25501a-2215-4bb3-9d9c-8d1484ffa7c1" providerId="ADAL" clId="{51789BE2-0055-4F4A-9AAB-B67B2FFB34E0}" dt="2024-05-29T08:37:52.860" v="3467" actId="20577"/>
          <ac:spMkLst>
            <pc:docMk/>
            <pc:sldMk cId="4214794587" sldId="2147481954"/>
            <ac:spMk id="7" creationId="{10F436D6-8BC8-7BB4-C2A4-4C06130EDD14}"/>
          </ac:spMkLst>
        </pc:spChg>
        <pc:spChg chg="add mod">
          <ac:chgData name="Sindija Kirsteine (LV)" userId="5f25501a-2215-4bb3-9d9c-8d1484ffa7c1" providerId="ADAL" clId="{51789BE2-0055-4F4A-9AAB-B67B2FFB34E0}" dt="2024-05-29T08:07:02.676" v="2938" actId="20577"/>
          <ac:spMkLst>
            <pc:docMk/>
            <pc:sldMk cId="4214794587" sldId="2147481954"/>
            <ac:spMk id="8" creationId="{4865A21B-00A0-572B-9B28-960EC5DCF2FD}"/>
          </ac:spMkLst>
        </pc:spChg>
        <pc:spChg chg="add del mod">
          <ac:chgData name="Sindija Kirsteine (LV)" userId="5f25501a-2215-4bb3-9d9c-8d1484ffa7c1" providerId="ADAL" clId="{51789BE2-0055-4F4A-9AAB-B67B2FFB34E0}" dt="2024-05-29T08:07:07.844" v="2940"/>
          <ac:spMkLst>
            <pc:docMk/>
            <pc:sldMk cId="4214794587" sldId="2147481954"/>
            <ac:spMk id="9" creationId="{7E9EE44E-C67D-C3C6-E581-014D6ACDD608}"/>
          </ac:spMkLst>
        </pc:spChg>
        <pc:spChg chg="add mod">
          <ac:chgData name="Sindija Kirsteine (LV)" userId="5f25501a-2215-4bb3-9d9c-8d1484ffa7c1" providerId="ADAL" clId="{51789BE2-0055-4F4A-9AAB-B67B2FFB34E0}" dt="2024-05-29T08:32:05.216" v="3463" actId="1035"/>
          <ac:spMkLst>
            <pc:docMk/>
            <pc:sldMk cId="4214794587" sldId="2147481954"/>
            <ac:spMk id="10" creationId="{99D6EF62-2630-0BB2-8E6C-20717351CD4D}"/>
          </ac:spMkLst>
        </pc:spChg>
        <pc:spChg chg="add mod">
          <ac:chgData name="Sindija Kirsteine (LV)" userId="5f25501a-2215-4bb3-9d9c-8d1484ffa7c1" providerId="ADAL" clId="{51789BE2-0055-4F4A-9AAB-B67B2FFB34E0}" dt="2024-05-29T08:31:52.895" v="3453" actId="1035"/>
          <ac:spMkLst>
            <pc:docMk/>
            <pc:sldMk cId="4214794587" sldId="2147481954"/>
            <ac:spMk id="11" creationId="{C615D56D-5BBC-4F81-A0A7-DB7F19A49CBD}"/>
          </ac:spMkLst>
        </pc:spChg>
        <pc:spChg chg="add mod">
          <ac:chgData name="Sindija Kirsteine (LV)" userId="5f25501a-2215-4bb3-9d9c-8d1484ffa7c1" providerId="ADAL" clId="{51789BE2-0055-4F4A-9AAB-B67B2FFB34E0}" dt="2024-05-29T08:32:00.187" v="3457" actId="1035"/>
          <ac:spMkLst>
            <pc:docMk/>
            <pc:sldMk cId="4214794587" sldId="2147481954"/>
            <ac:spMk id="12" creationId="{CBE41A2F-A676-4FF6-3579-10C49EC9A399}"/>
          </ac:spMkLst>
        </pc:spChg>
        <pc:spChg chg="add mod">
          <ac:chgData name="Sindija Kirsteine (LV)" userId="5f25501a-2215-4bb3-9d9c-8d1484ffa7c1" providerId="ADAL" clId="{51789BE2-0055-4F4A-9AAB-B67B2FFB34E0}" dt="2024-05-29T08:32:00.187" v="3457" actId="1035"/>
          <ac:spMkLst>
            <pc:docMk/>
            <pc:sldMk cId="4214794587" sldId="2147481954"/>
            <ac:spMk id="13" creationId="{9B18E6C6-9A0F-F183-E978-FE1DECFD2678}"/>
          </ac:spMkLst>
        </pc:spChg>
        <pc:spChg chg="add mod">
          <ac:chgData name="Sindija Kirsteine (LV)" userId="5f25501a-2215-4bb3-9d9c-8d1484ffa7c1" providerId="ADAL" clId="{51789BE2-0055-4F4A-9AAB-B67B2FFB34E0}" dt="2024-05-29T08:32:00.187" v="3457" actId="1035"/>
          <ac:spMkLst>
            <pc:docMk/>
            <pc:sldMk cId="4214794587" sldId="2147481954"/>
            <ac:spMk id="14" creationId="{5BB2A929-F312-8298-A089-7F87B9744742}"/>
          </ac:spMkLst>
        </pc:spChg>
        <pc:spChg chg="add mod">
          <ac:chgData name="Sindija Kirsteine (LV)" userId="5f25501a-2215-4bb3-9d9c-8d1484ffa7c1" providerId="ADAL" clId="{51789BE2-0055-4F4A-9AAB-B67B2FFB34E0}" dt="2024-05-29T08:32:00.187" v="3457" actId="1035"/>
          <ac:spMkLst>
            <pc:docMk/>
            <pc:sldMk cId="4214794587" sldId="2147481954"/>
            <ac:spMk id="15" creationId="{78CA85A6-0BBA-CDF3-CE14-3320461325ED}"/>
          </ac:spMkLst>
        </pc:spChg>
        <pc:spChg chg="add mod">
          <ac:chgData name="Sindija Kirsteine (LV)" userId="5f25501a-2215-4bb3-9d9c-8d1484ffa7c1" providerId="ADAL" clId="{51789BE2-0055-4F4A-9AAB-B67B2FFB34E0}" dt="2024-05-29T08:32:00.187" v="3457" actId="1035"/>
          <ac:spMkLst>
            <pc:docMk/>
            <pc:sldMk cId="4214794587" sldId="2147481954"/>
            <ac:spMk id="16" creationId="{7A63B605-0B8F-4DE8-F7A3-7B60B9B4BA96}"/>
          </ac:spMkLst>
        </pc:spChg>
      </pc:sldChg>
    </pc:docChg>
  </pc:docChgLst>
  <pc:docChgLst>
    <pc:chgData name="Sindija Kirsteine (LV)" userId="5f25501a-2215-4bb3-9d9c-8d1484ffa7c1" providerId="ADAL" clId="{2469701A-7B37-42A1-B721-02750E66C2C3}"/>
    <pc:docChg chg="custSel replTag">
      <pc:chgData name="Sindija Kirsteine (LV)" userId="5f25501a-2215-4bb3-9d9c-8d1484ffa7c1" providerId="ADAL" clId="{2469701A-7B37-42A1-B721-02750E66C2C3}" dt="2024-06-12T12:32:49.820" v="2"/>
      <pc:docMkLst>
        <pc:docMk/>
      </pc:docMkLst>
    </pc:docChg>
  </pc:docChgLst>
  <pc:docChgLst>
    <pc:chgData name="Sindija Kirsteine (LV)" userId="5f25501a-2215-4bb3-9d9c-8d1484ffa7c1" providerId="ADAL" clId="{93E5DB57-425F-4EAA-A480-BA9333DBD695}"/>
    <pc:docChg chg="custSel delSld replTag">
      <pc:chgData name="Sindija Kirsteine (LV)" userId="5f25501a-2215-4bb3-9d9c-8d1484ffa7c1" providerId="ADAL" clId="{93E5DB57-425F-4EAA-A480-BA9333DBD695}" dt="2024-06-13T06:40:08.072" v="11"/>
      <pc:docMkLst>
        <pc:docMk/>
      </pc:docMkLst>
      <pc:sldChg chg="del">
        <pc:chgData name="Sindija Kirsteine (LV)" userId="5f25501a-2215-4bb3-9d9c-8d1484ffa7c1" providerId="ADAL" clId="{93E5DB57-425F-4EAA-A480-BA9333DBD695}" dt="2024-06-13T06:40:05.831" v="6" actId="47"/>
        <pc:sldMkLst>
          <pc:docMk/>
          <pc:sldMk cId="796361483" sldId="2147481942"/>
        </pc:sldMkLst>
      </pc:sldChg>
      <pc:sldChg chg="del">
        <pc:chgData name="Sindija Kirsteine (LV)" userId="5f25501a-2215-4bb3-9d9c-8d1484ffa7c1" providerId="ADAL" clId="{93E5DB57-425F-4EAA-A480-BA9333DBD695}" dt="2024-06-13T06:40:07.318" v="8" actId="47"/>
        <pc:sldMkLst>
          <pc:docMk/>
          <pc:sldMk cId="1261692589" sldId="2147481953"/>
        </pc:sldMkLst>
      </pc:sldChg>
      <pc:sldChg chg="del">
        <pc:chgData name="Sindija Kirsteine (LV)" userId="5f25501a-2215-4bb3-9d9c-8d1484ffa7c1" providerId="ADAL" clId="{93E5DB57-425F-4EAA-A480-BA9333DBD695}" dt="2024-06-13T06:40:08.071" v="10" actId="47"/>
        <pc:sldMkLst>
          <pc:docMk/>
          <pc:sldMk cId="2248175541" sldId="2147481958"/>
        </pc:sldMkLst>
      </pc:sldChg>
      <pc:sldChg chg="del">
        <pc:chgData name="Sindija Kirsteine (LV)" userId="5f25501a-2215-4bb3-9d9c-8d1484ffa7c1" providerId="ADAL" clId="{93E5DB57-425F-4EAA-A480-BA9333DBD695}" dt="2024-06-13T06:40:05.502" v="4" actId="47"/>
        <pc:sldMkLst>
          <pc:docMk/>
          <pc:sldMk cId="1527880861" sldId="2147481962"/>
        </pc:sldMkLst>
      </pc:sldChg>
      <pc:sldChg chg="del">
        <pc:chgData name="Sindija Kirsteine (LV)" userId="5f25501a-2215-4bb3-9d9c-8d1484ffa7c1" providerId="ADAL" clId="{93E5DB57-425F-4EAA-A480-BA9333DBD695}" dt="2024-06-13T06:40:05.186" v="2" actId="47"/>
        <pc:sldMkLst>
          <pc:docMk/>
          <pc:sldMk cId="3140329955" sldId="2147481963"/>
        </pc:sldMkLst>
      </pc:sldChg>
    </pc:docChg>
  </pc:docChgLst>
  <pc:docChgLst>
    <pc:chgData name="Kateryna Levchuk (UA)" userId="5dbb0cbd-4dc1-41d4-910d-5f884aef466d" providerId="ADAL" clId="{3D0DB7AE-1BA7-45E8-B6C7-4A63B94ABB52}"/>
    <pc:docChg chg="undo custSel addSld delSld modSld">
      <pc:chgData name="Kateryna Levchuk (UA)" userId="5dbb0cbd-4dc1-41d4-910d-5f884aef466d" providerId="ADAL" clId="{3D0DB7AE-1BA7-45E8-B6C7-4A63B94ABB52}" dt="2024-06-10T14:03:06.942" v="1431" actId="478"/>
      <pc:docMkLst>
        <pc:docMk/>
      </pc:docMkLst>
      <pc:sldChg chg="addSp delSp modSp mod">
        <pc:chgData name="Kateryna Levchuk (UA)" userId="5dbb0cbd-4dc1-41d4-910d-5f884aef466d" providerId="ADAL" clId="{3D0DB7AE-1BA7-45E8-B6C7-4A63B94ABB52}" dt="2024-06-10T13:23:20.051" v="1026"/>
        <pc:sldMkLst>
          <pc:docMk/>
          <pc:sldMk cId="0" sldId="257"/>
        </pc:sldMkLst>
        <pc:spChg chg="mod topLvl">
          <ac:chgData name="Kateryna Levchuk (UA)" userId="5dbb0cbd-4dc1-41d4-910d-5f884aef466d" providerId="ADAL" clId="{3D0DB7AE-1BA7-45E8-B6C7-4A63B94ABB52}" dt="2024-06-10T11:53:06.491" v="977" actId="164"/>
          <ac:spMkLst>
            <pc:docMk/>
            <pc:sldMk cId="0" sldId="257"/>
            <ac:spMk id="7" creationId="{30D1B43A-6597-29BB-9D57-C9D983ADF0C4}"/>
          </ac:spMkLst>
        </pc:spChg>
        <pc:spChg chg="mod topLvl">
          <ac:chgData name="Kateryna Levchuk (UA)" userId="5dbb0cbd-4dc1-41d4-910d-5f884aef466d" providerId="ADAL" clId="{3D0DB7AE-1BA7-45E8-B6C7-4A63B94ABB52}" dt="2024-06-10T11:53:06.491" v="977" actId="164"/>
          <ac:spMkLst>
            <pc:docMk/>
            <pc:sldMk cId="0" sldId="257"/>
            <ac:spMk id="8" creationId="{572FA3EE-10F1-2F59-E83B-52ECFA9435CF}"/>
          </ac:spMkLst>
        </pc:spChg>
        <pc:spChg chg="mod topLvl">
          <ac:chgData name="Kateryna Levchuk (UA)" userId="5dbb0cbd-4dc1-41d4-910d-5f884aef466d" providerId="ADAL" clId="{3D0DB7AE-1BA7-45E8-B6C7-4A63B94ABB52}" dt="2024-06-10T11:53:06.491" v="977" actId="164"/>
          <ac:spMkLst>
            <pc:docMk/>
            <pc:sldMk cId="0" sldId="257"/>
            <ac:spMk id="12" creationId="{18820215-07D6-789F-3B1D-4087F7072595}"/>
          </ac:spMkLst>
        </pc:spChg>
        <pc:spChg chg="mod topLvl">
          <ac:chgData name="Kateryna Levchuk (UA)" userId="5dbb0cbd-4dc1-41d4-910d-5f884aef466d" providerId="ADAL" clId="{3D0DB7AE-1BA7-45E8-B6C7-4A63B94ABB52}" dt="2024-06-10T11:53:06.491" v="977" actId="164"/>
          <ac:spMkLst>
            <pc:docMk/>
            <pc:sldMk cId="0" sldId="257"/>
            <ac:spMk id="15" creationId="{F64A794A-E5BE-A3D2-654B-832FCF32E710}"/>
          </ac:spMkLst>
        </pc:spChg>
        <pc:spChg chg="mod topLvl">
          <ac:chgData name="Kateryna Levchuk (UA)" userId="5dbb0cbd-4dc1-41d4-910d-5f884aef466d" providerId="ADAL" clId="{3D0DB7AE-1BA7-45E8-B6C7-4A63B94ABB52}" dt="2024-06-10T11:53:06.491" v="977" actId="164"/>
          <ac:spMkLst>
            <pc:docMk/>
            <pc:sldMk cId="0" sldId="257"/>
            <ac:spMk id="17" creationId="{4BA13071-B2C7-5ADD-A501-4B2B94F0D224}"/>
          </ac:spMkLst>
        </pc:spChg>
        <pc:spChg chg="mod topLvl">
          <ac:chgData name="Kateryna Levchuk (UA)" userId="5dbb0cbd-4dc1-41d4-910d-5f884aef466d" providerId="ADAL" clId="{3D0DB7AE-1BA7-45E8-B6C7-4A63B94ABB52}" dt="2024-06-10T11:53:06.491" v="977" actId="164"/>
          <ac:spMkLst>
            <pc:docMk/>
            <pc:sldMk cId="0" sldId="257"/>
            <ac:spMk id="23" creationId="{7FAA788C-FCFE-16F5-98E6-E658725E398C}"/>
          </ac:spMkLst>
        </pc:spChg>
        <pc:spChg chg="mod topLvl">
          <ac:chgData name="Kateryna Levchuk (UA)" userId="5dbb0cbd-4dc1-41d4-910d-5f884aef466d" providerId="ADAL" clId="{3D0DB7AE-1BA7-45E8-B6C7-4A63B94ABB52}" dt="2024-06-10T11:53:06.491" v="977" actId="164"/>
          <ac:spMkLst>
            <pc:docMk/>
            <pc:sldMk cId="0" sldId="257"/>
            <ac:spMk id="28" creationId="{6142BD41-C81A-00E9-5DCC-C693F9E125CA}"/>
          </ac:spMkLst>
        </pc:spChg>
        <pc:spChg chg="mod">
          <ac:chgData name="Kateryna Levchuk (UA)" userId="5dbb0cbd-4dc1-41d4-910d-5f884aef466d" providerId="ADAL" clId="{3D0DB7AE-1BA7-45E8-B6C7-4A63B94ABB52}" dt="2024-06-10T11:53:09.334" v="979" actId="571"/>
          <ac:spMkLst>
            <pc:docMk/>
            <pc:sldMk cId="0" sldId="257"/>
            <ac:spMk id="50" creationId="{4BECE172-9815-893D-D2F3-9E90A1CB8B65}"/>
          </ac:spMkLst>
        </pc:spChg>
        <pc:spChg chg="mod">
          <ac:chgData name="Kateryna Levchuk (UA)" userId="5dbb0cbd-4dc1-41d4-910d-5f884aef466d" providerId="ADAL" clId="{3D0DB7AE-1BA7-45E8-B6C7-4A63B94ABB52}" dt="2024-06-10T11:53:09.334" v="979" actId="571"/>
          <ac:spMkLst>
            <pc:docMk/>
            <pc:sldMk cId="0" sldId="257"/>
            <ac:spMk id="52" creationId="{A777536E-155C-1DAF-18B0-7BD5A6B57A18}"/>
          </ac:spMkLst>
        </pc:spChg>
        <pc:spChg chg="mod">
          <ac:chgData name="Kateryna Levchuk (UA)" userId="5dbb0cbd-4dc1-41d4-910d-5f884aef466d" providerId="ADAL" clId="{3D0DB7AE-1BA7-45E8-B6C7-4A63B94ABB52}" dt="2024-06-10T11:53:09.334" v="979" actId="571"/>
          <ac:spMkLst>
            <pc:docMk/>
            <pc:sldMk cId="0" sldId="257"/>
            <ac:spMk id="57" creationId="{711E86A3-8414-ECAB-5FB5-E55B8AD39F3E}"/>
          </ac:spMkLst>
        </pc:spChg>
        <pc:spChg chg="mod">
          <ac:chgData name="Kateryna Levchuk (UA)" userId="5dbb0cbd-4dc1-41d4-910d-5f884aef466d" providerId="ADAL" clId="{3D0DB7AE-1BA7-45E8-B6C7-4A63B94ABB52}" dt="2024-06-10T11:53:09.334" v="979" actId="571"/>
          <ac:spMkLst>
            <pc:docMk/>
            <pc:sldMk cId="0" sldId="257"/>
            <ac:spMk id="58" creationId="{1F649AD2-F219-5E67-665B-098441AB7DC7}"/>
          </ac:spMkLst>
        </pc:spChg>
        <pc:spChg chg="mod">
          <ac:chgData name="Kateryna Levchuk (UA)" userId="5dbb0cbd-4dc1-41d4-910d-5f884aef466d" providerId="ADAL" clId="{3D0DB7AE-1BA7-45E8-B6C7-4A63B94ABB52}" dt="2024-06-10T11:53:09.334" v="979" actId="571"/>
          <ac:spMkLst>
            <pc:docMk/>
            <pc:sldMk cId="0" sldId="257"/>
            <ac:spMk id="59" creationId="{C5F06C2E-45D2-9CCE-99F1-2256B43D9A76}"/>
          </ac:spMkLst>
        </pc:spChg>
        <pc:spChg chg="mod">
          <ac:chgData name="Kateryna Levchuk (UA)" userId="5dbb0cbd-4dc1-41d4-910d-5f884aef466d" providerId="ADAL" clId="{3D0DB7AE-1BA7-45E8-B6C7-4A63B94ABB52}" dt="2024-06-10T11:53:09.334" v="979" actId="571"/>
          <ac:spMkLst>
            <pc:docMk/>
            <pc:sldMk cId="0" sldId="257"/>
            <ac:spMk id="60" creationId="{FA13A5C1-C7FB-8C0B-728A-22299521AA90}"/>
          </ac:spMkLst>
        </pc:spChg>
        <pc:spChg chg="mod">
          <ac:chgData name="Kateryna Levchuk (UA)" userId="5dbb0cbd-4dc1-41d4-910d-5f884aef466d" providerId="ADAL" clId="{3D0DB7AE-1BA7-45E8-B6C7-4A63B94ABB52}" dt="2024-06-10T11:53:09.334" v="979" actId="571"/>
          <ac:spMkLst>
            <pc:docMk/>
            <pc:sldMk cId="0" sldId="257"/>
            <ac:spMk id="61" creationId="{2932BBC9-5092-929B-D18F-A4FE84A58B80}"/>
          </ac:spMkLst>
        </pc:spChg>
        <pc:spChg chg="mod">
          <ac:chgData name="Kateryna Levchuk (UA)" userId="5dbb0cbd-4dc1-41d4-910d-5f884aef466d" providerId="ADAL" clId="{3D0DB7AE-1BA7-45E8-B6C7-4A63B94ABB52}" dt="2024-06-10T13:23:20.051" v="1026"/>
          <ac:spMkLst>
            <pc:docMk/>
            <pc:sldMk cId="0" sldId="257"/>
            <ac:spMk id="2053" creationId="{0ECD4AE9-C58A-7B4F-5776-2EDCB013787D}"/>
          </ac:spMkLst>
        </pc:spChg>
        <pc:spChg chg="mod">
          <ac:chgData name="Kateryna Levchuk (UA)" userId="5dbb0cbd-4dc1-41d4-910d-5f884aef466d" providerId="ADAL" clId="{3D0DB7AE-1BA7-45E8-B6C7-4A63B94ABB52}" dt="2024-06-10T13:23:20.051" v="1026"/>
          <ac:spMkLst>
            <pc:docMk/>
            <pc:sldMk cId="0" sldId="257"/>
            <ac:spMk id="2057" creationId="{85E05270-D33B-3CDD-CBB6-DCC9EEA5D7C9}"/>
          </ac:spMkLst>
        </pc:spChg>
        <pc:spChg chg="mod">
          <ac:chgData name="Kateryna Levchuk (UA)" userId="5dbb0cbd-4dc1-41d4-910d-5f884aef466d" providerId="ADAL" clId="{3D0DB7AE-1BA7-45E8-B6C7-4A63B94ABB52}" dt="2024-06-10T13:23:20.051" v="1026"/>
          <ac:spMkLst>
            <pc:docMk/>
            <pc:sldMk cId="0" sldId="257"/>
            <ac:spMk id="2061" creationId="{0AA84628-5C24-AB24-0C28-ED8473D48584}"/>
          </ac:spMkLst>
        </pc:spChg>
        <pc:spChg chg="mod">
          <ac:chgData name="Kateryna Levchuk (UA)" userId="5dbb0cbd-4dc1-41d4-910d-5f884aef466d" providerId="ADAL" clId="{3D0DB7AE-1BA7-45E8-B6C7-4A63B94ABB52}" dt="2024-06-10T13:23:20.051" v="1026"/>
          <ac:spMkLst>
            <pc:docMk/>
            <pc:sldMk cId="0" sldId="257"/>
            <ac:spMk id="2062" creationId="{6393887F-B9C8-6177-3D6A-6054B7E6C4EC}"/>
          </ac:spMkLst>
        </pc:spChg>
        <pc:spChg chg="mod">
          <ac:chgData name="Kateryna Levchuk (UA)" userId="5dbb0cbd-4dc1-41d4-910d-5f884aef466d" providerId="ADAL" clId="{3D0DB7AE-1BA7-45E8-B6C7-4A63B94ABB52}" dt="2024-06-10T13:23:20.051" v="1026"/>
          <ac:spMkLst>
            <pc:docMk/>
            <pc:sldMk cId="0" sldId="257"/>
            <ac:spMk id="2063" creationId="{FE8002F2-ACE3-DCE0-3364-ED45B33A50FB}"/>
          </ac:spMkLst>
        </pc:spChg>
        <pc:spChg chg="mod">
          <ac:chgData name="Kateryna Levchuk (UA)" userId="5dbb0cbd-4dc1-41d4-910d-5f884aef466d" providerId="ADAL" clId="{3D0DB7AE-1BA7-45E8-B6C7-4A63B94ABB52}" dt="2024-06-10T13:23:20.051" v="1026"/>
          <ac:spMkLst>
            <pc:docMk/>
            <pc:sldMk cId="0" sldId="257"/>
            <ac:spMk id="2064" creationId="{9FC49241-E7B5-17FF-0AA8-A83C82467E75}"/>
          </ac:spMkLst>
        </pc:spChg>
        <pc:grpChg chg="del">
          <ac:chgData name="Kateryna Levchuk (UA)" userId="5dbb0cbd-4dc1-41d4-910d-5f884aef466d" providerId="ADAL" clId="{3D0DB7AE-1BA7-45E8-B6C7-4A63B94ABB52}" dt="2024-06-10T11:50:28.731" v="963" actId="478"/>
          <ac:grpSpMkLst>
            <pc:docMk/>
            <pc:sldMk cId="0" sldId="257"/>
            <ac:grpSpMk id="2" creationId="{247F7C1D-6F39-44F5-1065-B4110986836C}"/>
          </ac:grpSpMkLst>
        </pc:grpChg>
        <pc:grpChg chg="add del mod">
          <ac:chgData name="Kateryna Levchuk (UA)" userId="5dbb0cbd-4dc1-41d4-910d-5f884aef466d" providerId="ADAL" clId="{3D0DB7AE-1BA7-45E8-B6C7-4A63B94ABB52}" dt="2024-06-10T11:51:16.970" v="965" actId="165"/>
          <ac:grpSpMkLst>
            <pc:docMk/>
            <pc:sldMk cId="0" sldId="257"/>
            <ac:grpSpMk id="6" creationId="{64C71CD5-56F8-D8C5-C4B5-A6FBB45C738D}"/>
          </ac:grpSpMkLst>
        </pc:grpChg>
        <pc:grpChg chg="add del mod">
          <ac:chgData name="Kateryna Levchuk (UA)" userId="5dbb0cbd-4dc1-41d4-910d-5f884aef466d" providerId="ADAL" clId="{3D0DB7AE-1BA7-45E8-B6C7-4A63B94ABB52}" dt="2024-06-10T13:22:46.351" v="1019" actId="478"/>
          <ac:grpSpMkLst>
            <pc:docMk/>
            <pc:sldMk cId="0" sldId="257"/>
            <ac:grpSpMk id="41" creationId="{640DFA4C-8F61-2EA3-8611-825DE87B6D95}"/>
          </ac:grpSpMkLst>
        </pc:grpChg>
        <pc:grpChg chg="add mod">
          <ac:chgData name="Kateryna Levchuk (UA)" userId="5dbb0cbd-4dc1-41d4-910d-5f884aef466d" providerId="ADAL" clId="{3D0DB7AE-1BA7-45E8-B6C7-4A63B94ABB52}" dt="2024-06-10T11:53:09.334" v="979" actId="571"/>
          <ac:grpSpMkLst>
            <pc:docMk/>
            <pc:sldMk cId="0" sldId="257"/>
            <ac:grpSpMk id="49" creationId="{165BC541-8694-1705-CC25-B78BBAAACA3B}"/>
          </ac:grpSpMkLst>
        </pc:grpChg>
        <pc:grpChg chg="add mod">
          <ac:chgData name="Kateryna Levchuk (UA)" userId="5dbb0cbd-4dc1-41d4-910d-5f884aef466d" providerId="ADAL" clId="{3D0DB7AE-1BA7-45E8-B6C7-4A63B94ABB52}" dt="2024-06-10T13:23:20.051" v="1026"/>
          <ac:grpSpMkLst>
            <pc:docMk/>
            <pc:sldMk cId="0" sldId="257"/>
            <ac:grpSpMk id="2049" creationId="{023AD1A3-AAC5-35A1-8F05-9ABB3C6C1DC1}"/>
          </ac:grpSpMkLst>
        </pc:grpChg>
      </pc:sldChg>
      <pc:sldChg chg="addSp delSp modSp mod">
        <pc:chgData name="Kateryna Levchuk (UA)" userId="5dbb0cbd-4dc1-41d4-910d-5f884aef466d" providerId="ADAL" clId="{3D0DB7AE-1BA7-45E8-B6C7-4A63B94ABB52}" dt="2024-06-10T13:29:15.323" v="1061"/>
        <pc:sldMkLst>
          <pc:docMk/>
          <pc:sldMk cId="0" sldId="317"/>
        </pc:sldMkLst>
        <pc:spChg chg="mod">
          <ac:chgData name="Kateryna Levchuk (UA)" userId="5dbb0cbd-4dc1-41d4-910d-5f884aef466d" providerId="ADAL" clId="{3D0DB7AE-1BA7-45E8-B6C7-4A63B94ABB52}" dt="2024-06-10T13:29:15.323" v="1061"/>
          <ac:spMkLst>
            <pc:docMk/>
            <pc:sldMk cId="0" sldId="317"/>
            <ac:spMk id="11" creationId="{5BE92CAA-EDE6-F4AF-FB23-F31CDB130AC1}"/>
          </ac:spMkLst>
        </pc:spChg>
        <pc:spChg chg="mod">
          <ac:chgData name="Kateryna Levchuk (UA)" userId="5dbb0cbd-4dc1-41d4-910d-5f884aef466d" providerId="ADAL" clId="{3D0DB7AE-1BA7-45E8-B6C7-4A63B94ABB52}" dt="2024-06-10T13:29:15.323" v="1061"/>
          <ac:spMkLst>
            <pc:docMk/>
            <pc:sldMk cId="0" sldId="317"/>
            <ac:spMk id="12" creationId="{6E18F87A-C27C-1BAB-22B5-795B1BF67D21}"/>
          </ac:spMkLst>
        </pc:spChg>
        <pc:spChg chg="mod">
          <ac:chgData name="Kateryna Levchuk (UA)" userId="5dbb0cbd-4dc1-41d4-910d-5f884aef466d" providerId="ADAL" clId="{3D0DB7AE-1BA7-45E8-B6C7-4A63B94ABB52}" dt="2024-06-10T13:29:15.323" v="1061"/>
          <ac:spMkLst>
            <pc:docMk/>
            <pc:sldMk cId="0" sldId="317"/>
            <ac:spMk id="13" creationId="{5FDC8150-2678-8B85-5535-F2F0BBC12734}"/>
          </ac:spMkLst>
        </pc:spChg>
        <pc:spChg chg="mod">
          <ac:chgData name="Kateryna Levchuk (UA)" userId="5dbb0cbd-4dc1-41d4-910d-5f884aef466d" providerId="ADAL" clId="{3D0DB7AE-1BA7-45E8-B6C7-4A63B94ABB52}" dt="2024-06-10T13:29:15.323" v="1061"/>
          <ac:spMkLst>
            <pc:docMk/>
            <pc:sldMk cId="0" sldId="317"/>
            <ac:spMk id="14" creationId="{5DEB0CF5-F797-927D-F3D0-BCEDF9ABC4F6}"/>
          </ac:spMkLst>
        </pc:spChg>
        <pc:spChg chg="mod">
          <ac:chgData name="Kateryna Levchuk (UA)" userId="5dbb0cbd-4dc1-41d4-910d-5f884aef466d" providerId="ADAL" clId="{3D0DB7AE-1BA7-45E8-B6C7-4A63B94ABB52}" dt="2024-06-10T13:29:15.323" v="1061"/>
          <ac:spMkLst>
            <pc:docMk/>
            <pc:sldMk cId="0" sldId="317"/>
            <ac:spMk id="17" creationId="{F0F7AD36-AB38-939A-E476-19D2025287C8}"/>
          </ac:spMkLst>
        </pc:spChg>
        <pc:spChg chg="mod">
          <ac:chgData name="Kateryna Levchuk (UA)" userId="5dbb0cbd-4dc1-41d4-910d-5f884aef466d" providerId="ADAL" clId="{3D0DB7AE-1BA7-45E8-B6C7-4A63B94ABB52}" dt="2024-06-10T13:29:15.323" v="1061"/>
          <ac:spMkLst>
            <pc:docMk/>
            <pc:sldMk cId="0" sldId="317"/>
            <ac:spMk id="18" creationId="{E2E756E9-934F-5477-9628-D3BA3BB58670}"/>
          </ac:spMkLst>
        </pc:spChg>
        <pc:grpChg chg="add mod">
          <ac:chgData name="Kateryna Levchuk (UA)" userId="5dbb0cbd-4dc1-41d4-910d-5f884aef466d" providerId="ADAL" clId="{3D0DB7AE-1BA7-45E8-B6C7-4A63B94ABB52}" dt="2024-06-10T13:29:15.323" v="1061"/>
          <ac:grpSpMkLst>
            <pc:docMk/>
            <pc:sldMk cId="0" sldId="317"/>
            <ac:grpSpMk id="2" creationId="{39FFEA93-42F4-AAB6-CEEE-C09A72CD053F}"/>
          </ac:grpSpMkLst>
        </pc:grpChg>
        <pc:grpChg chg="del">
          <ac:chgData name="Kateryna Levchuk (UA)" userId="5dbb0cbd-4dc1-41d4-910d-5f884aef466d" providerId="ADAL" clId="{3D0DB7AE-1BA7-45E8-B6C7-4A63B94ABB52}" dt="2024-06-10T13:29:02.589" v="1056" actId="478"/>
          <ac:grpSpMkLst>
            <pc:docMk/>
            <pc:sldMk cId="0" sldId="317"/>
            <ac:grpSpMk id="16" creationId="{4D2927F5-FDFD-6294-32A1-D2C0E893BC44}"/>
          </ac:grpSpMkLst>
        </pc:grpChg>
      </pc:sldChg>
      <pc:sldChg chg="addSp delSp modSp mod">
        <pc:chgData name="Kateryna Levchuk (UA)" userId="5dbb0cbd-4dc1-41d4-910d-5f884aef466d" providerId="ADAL" clId="{3D0DB7AE-1BA7-45E8-B6C7-4A63B94ABB52}" dt="2024-06-10T13:29:10.313" v="1058"/>
        <pc:sldMkLst>
          <pc:docMk/>
          <pc:sldMk cId="12612729" sldId="761"/>
        </pc:sldMkLst>
        <pc:spChg chg="mod">
          <ac:chgData name="Kateryna Levchuk (UA)" userId="5dbb0cbd-4dc1-41d4-910d-5f884aef466d" providerId="ADAL" clId="{3D0DB7AE-1BA7-45E8-B6C7-4A63B94ABB52}" dt="2024-06-10T13:29:10.313" v="1058"/>
          <ac:spMkLst>
            <pc:docMk/>
            <pc:sldMk cId="12612729" sldId="761"/>
            <ac:spMk id="12" creationId="{ADB7229B-1656-51E6-D2B7-B1FFAB6974A2}"/>
          </ac:spMkLst>
        </pc:spChg>
        <pc:spChg chg="mod">
          <ac:chgData name="Kateryna Levchuk (UA)" userId="5dbb0cbd-4dc1-41d4-910d-5f884aef466d" providerId="ADAL" clId="{3D0DB7AE-1BA7-45E8-B6C7-4A63B94ABB52}" dt="2024-06-10T13:29:10.313" v="1058"/>
          <ac:spMkLst>
            <pc:docMk/>
            <pc:sldMk cId="12612729" sldId="761"/>
            <ac:spMk id="13" creationId="{2F7016FE-50C9-E682-2D3B-8C8026B0D1F8}"/>
          </ac:spMkLst>
        </pc:spChg>
        <pc:spChg chg="mod">
          <ac:chgData name="Kateryna Levchuk (UA)" userId="5dbb0cbd-4dc1-41d4-910d-5f884aef466d" providerId="ADAL" clId="{3D0DB7AE-1BA7-45E8-B6C7-4A63B94ABB52}" dt="2024-06-10T13:29:10.313" v="1058"/>
          <ac:spMkLst>
            <pc:docMk/>
            <pc:sldMk cId="12612729" sldId="761"/>
            <ac:spMk id="14" creationId="{111AFAB0-E22C-A32F-7412-F3EDF0A7A303}"/>
          </ac:spMkLst>
        </pc:spChg>
        <pc:spChg chg="mod">
          <ac:chgData name="Kateryna Levchuk (UA)" userId="5dbb0cbd-4dc1-41d4-910d-5f884aef466d" providerId="ADAL" clId="{3D0DB7AE-1BA7-45E8-B6C7-4A63B94ABB52}" dt="2024-06-10T13:29:10.313" v="1058"/>
          <ac:spMkLst>
            <pc:docMk/>
            <pc:sldMk cId="12612729" sldId="761"/>
            <ac:spMk id="15" creationId="{8A3A4186-4E44-EA32-8B5B-99756C689102}"/>
          </ac:spMkLst>
        </pc:spChg>
        <pc:spChg chg="mod">
          <ac:chgData name="Kateryna Levchuk (UA)" userId="5dbb0cbd-4dc1-41d4-910d-5f884aef466d" providerId="ADAL" clId="{3D0DB7AE-1BA7-45E8-B6C7-4A63B94ABB52}" dt="2024-06-10T13:29:10.313" v="1058"/>
          <ac:spMkLst>
            <pc:docMk/>
            <pc:sldMk cId="12612729" sldId="761"/>
            <ac:spMk id="16" creationId="{027FE50E-4D68-2842-06A4-469AF0595303}"/>
          </ac:spMkLst>
        </pc:spChg>
        <pc:spChg chg="mod">
          <ac:chgData name="Kateryna Levchuk (UA)" userId="5dbb0cbd-4dc1-41d4-910d-5f884aef466d" providerId="ADAL" clId="{3D0DB7AE-1BA7-45E8-B6C7-4A63B94ABB52}" dt="2024-06-10T13:29:10.313" v="1058"/>
          <ac:spMkLst>
            <pc:docMk/>
            <pc:sldMk cId="12612729" sldId="761"/>
            <ac:spMk id="17" creationId="{BD35D8A8-CA0D-69BF-B2B6-9B0440E09756}"/>
          </ac:spMkLst>
        </pc:spChg>
        <pc:grpChg chg="add mod">
          <ac:chgData name="Kateryna Levchuk (UA)" userId="5dbb0cbd-4dc1-41d4-910d-5f884aef466d" providerId="ADAL" clId="{3D0DB7AE-1BA7-45E8-B6C7-4A63B94ABB52}" dt="2024-06-10T13:29:10.313" v="1058"/>
          <ac:grpSpMkLst>
            <pc:docMk/>
            <pc:sldMk cId="12612729" sldId="761"/>
            <ac:grpSpMk id="3" creationId="{DD56632E-A0F9-BD06-9385-50A438009C26}"/>
          </ac:grpSpMkLst>
        </pc:grpChg>
        <pc:grpChg chg="del">
          <ac:chgData name="Kateryna Levchuk (UA)" userId="5dbb0cbd-4dc1-41d4-910d-5f884aef466d" providerId="ADAL" clId="{3D0DB7AE-1BA7-45E8-B6C7-4A63B94ABB52}" dt="2024-06-10T13:28:52.512" v="1053" actId="478"/>
          <ac:grpSpMkLst>
            <pc:docMk/>
            <pc:sldMk cId="12612729" sldId="761"/>
            <ac:grpSpMk id="20" creationId="{FB3BEC61-025B-6D0D-E17D-745069E934D3}"/>
          </ac:grpSpMkLst>
        </pc:grpChg>
      </pc:sldChg>
      <pc:sldChg chg="addSp delSp modSp mod">
        <pc:chgData name="Kateryna Levchuk (UA)" userId="5dbb0cbd-4dc1-41d4-910d-5f884aef466d" providerId="ADAL" clId="{3D0DB7AE-1BA7-45E8-B6C7-4A63B94ABB52}" dt="2024-06-10T13:28:14.549" v="1051" actId="1076"/>
        <pc:sldMkLst>
          <pc:docMk/>
          <pc:sldMk cId="2326445928" sldId="764"/>
        </pc:sldMkLst>
        <pc:spChg chg="mod topLvl">
          <ac:chgData name="Kateryna Levchuk (UA)" userId="5dbb0cbd-4dc1-41d4-910d-5f884aef466d" providerId="ADAL" clId="{3D0DB7AE-1BA7-45E8-B6C7-4A63B94ABB52}" dt="2024-06-10T13:28:09.696" v="1050" actId="164"/>
          <ac:spMkLst>
            <pc:docMk/>
            <pc:sldMk cId="2326445928" sldId="764"/>
            <ac:spMk id="6" creationId="{8D54C20F-EC00-CC78-EDCD-414EC88CA9B2}"/>
          </ac:spMkLst>
        </pc:spChg>
        <pc:spChg chg="mod topLvl">
          <ac:chgData name="Kateryna Levchuk (UA)" userId="5dbb0cbd-4dc1-41d4-910d-5f884aef466d" providerId="ADAL" clId="{3D0DB7AE-1BA7-45E8-B6C7-4A63B94ABB52}" dt="2024-06-10T13:28:09.696" v="1050" actId="164"/>
          <ac:spMkLst>
            <pc:docMk/>
            <pc:sldMk cId="2326445928" sldId="764"/>
            <ac:spMk id="9" creationId="{779DED18-25AC-020D-E32A-089CA19A6BAC}"/>
          </ac:spMkLst>
        </pc:spChg>
        <pc:spChg chg="mod topLvl">
          <ac:chgData name="Kateryna Levchuk (UA)" userId="5dbb0cbd-4dc1-41d4-910d-5f884aef466d" providerId="ADAL" clId="{3D0DB7AE-1BA7-45E8-B6C7-4A63B94ABB52}" dt="2024-06-10T13:28:09.696" v="1050" actId="164"/>
          <ac:spMkLst>
            <pc:docMk/>
            <pc:sldMk cId="2326445928" sldId="764"/>
            <ac:spMk id="10" creationId="{C19C8E60-E507-0E28-19FF-18C5908B90B7}"/>
          </ac:spMkLst>
        </pc:spChg>
        <pc:spChg chg="mod topLvl">
          <ac:chgData name="Kateryna Levchuk (UA)" userId="5dbb0cbd-4dc1-41d4-910d-5f884aef466d" providerId="ADAL" clId="{3D0DB7AE-1BA7-45E8-B6C7-4A63B94ABB52}" dt="2024-06-10T13:28:09.696" v="1050" actId="164"/>
          <ac:spMkLst>
            <pc:docMk/>
            <pc:sldMk cId="2326445928" sldId="764"/>
            <ac:spMk id="11" creationId="{788C8956-F0DB-3883-9B42-E72F0804F32C}"/>
          </ac:spMkLst>
        </pc:spChg>
        <pc:spChg chg="mod topLvl">
          <ac:chgData name="Kateryna Levchuk (UA)" userId="5dbb0cbd-4dc1-41d4-910d-5f884aef466d" providerId="ADAL" clId="{3D0DB7AE-1BA7-45E8-B6C7-4A63B94ABB52}" dt="2024-06-10T13:28:09.696" v="1050" actId="164"/>
          <ac:spMkLst>
            <pc:docMk/>
            <pc:sldMk cId="2326445928" sldId="764"/>
            <ac:spMk id="12" creationId="{60CD0D91-362F-4F40-56CF-45E6720AA912}"/>
          </ac:spMkLst>
        </pc:spChg>
        <pc:spChg chg="del mod topLvl">
          <ac:chgData name="Kateryna Levchuk (UA)" userId="5dbb0cbd-4dc1-41d4-910d-5f884aef466d" providerId="ADAL" clId="{3D0DB7AE-1BA7-45E8-B6C7-4A63B94ABB52}" dt="2024-06-10T13:28:04.055" v="1049" actId="478"/>
          <ac:spMkLst>
            <pc:docMk/>
            <pc:sldMk cId="2326445928" sldId="764"/>
            <ac:spMk id="13" creationId="{92A783DB-1996-486B-569B-E1099C05844F}"/>
          </ac:spMkLst>
        </pc:spChg>
        <pc:spChg chg="mod topLvl">
          <ac:chgData name="Kateryna Levchuk (UA)" userId="5dbb0cbd-4dc1-41d4-910d-5f884aef466d" providerId="ADAL" clId="{3D0DB7AE-1BA7-45E8-B6C7-4A63B94ABB52}" dt="2024-06-10T13:28:09.696" v="1050" actId="164"/>
          <ac:spMkLst>
            <pc:docMk/>
            <pc:sldMk cId="2326445928" sldId="764"/>
            <ac:spMk id="14" creationId="{A60F58B6-E987-6472-2C0B-34EC0D5F48FA}"/>
          </ac:spMkLst>
        </pc:spChg>
        <pc:grpChg chg="add mod">
          <ac:chgData name="Kateryna Levchuk (UA)" userId="5dbb0cbd-4dc1-41d4-910d-5f884aef466d" providerId="ADAL" clId="{3D0DB7AE-1BA7-45E8-B6C7-4A63B94ABB52}" dt="2024-06-10T13:28:14.549" v="1051" actId="1076"/>
          <ac:grpSpMkLst>
            <pc:docMk/>
            <pc:sldMk cId="2326445928" sldId="764"/>
            <ac:grpSpMk id="3" creationId="{95453953-EF40-791A-A5B2-819782F0B643}"/>
          </ac:grpSpMkLst>
        </pc:grpChg>
        <pc:grpChg chg="del">
          <ac:chgData name="Kateryna Levchuk (UA)" userId="5dbb0cbd-4dc1-41d4-910d-5f884aef466d" providerId="ADAL" clId="{3D0DB7AE-1BA7-45E8-B6C7-4A63B94ABB52}" dt="2024-06-10T13:28:00.718" v="1048" actId="165"/>
          <ac:grpSpMkLst>
            <pc:docMk/>
            <pc:sldMk cId="2326445928" sldId="764"/>
            <ac:grpSpMk id="29" creationId="{4EF30B58-5B05-2B67-0AC2-1ECB4FBF171A}"/>
          </ac:grpSpMkLst>
        </pc:grpChg>
      </pc:sldChg>
      <pc:sldChg chg="addSp delSp modSp mod">
        <pc:chgData name="Kateryna Levchuk (UA)" userId="5dbb0cbd-4dc1-41d4-910d-5f884aef466d" providerId="ADAL" clId="{3D0DB7AE-1BA7-45E8-B6C7-4A63B94ABB52}" dt="2024-06-10T13:23:18.013" v="1025"/>
        <pc:sldMkLst>
          <pc:docMk/>
          <pc:sldMk cId="4204094504" sldId="769"/>
        </pc:sldMkLst>
        <pc:spChg chg="mod">
          <ac:chgData name="Kateryna Levchuk (UA)" userId="5dbb0cbd-4dc1-41d4-910d-5f884aef466d" providerId="ADAL" clId="{3D0DB7AE-1BA7-45E8-B6C7-4A63B94ABB52}" dt="2024-06-10T11:53:40.350" v="984"/>
          <ac:spMkLst>
            <pc:docMk/>
            <pc:sldMk cId="4204094504" sldId="769"/>
            <ac:spMk id="8" creationId="{3FE74089-925D-2C4A-C076-2F6FA98A5778}"/>
          </ac:spMkLst>
        </pc:spChg>
        <pc:spChg chg="mod">
          <ac:chgData name="Kateryna Levchuk (UA)" userId="5dbb0cbd-4dc1-41d4-910d-5f884aef466d" providerId="ADAL" clId="{3D0DB7AE-1BA7-45E8-B6C7-4A63B94ABB52}" dt="2024-06-10T11:53:40.350" v="984"/>
          <ac:spMkLst>
            <pc:docMk/>
            <pc:sldMk cId="4204094504" sldId="769"/>
            <ac:spMk id="13" creationId="{D3393C55-F584-8A71-5433-7A0BC323B8BF}"/>
          </ac:spMkLst>
        </pc:spChg>
        <pc:spChg chg="mod">
          <ac:chgData name="Kateryna Levchuk (UA)" userId="5dbb0cbd-4dc1-41d4-910d-5f884aef466d" providerId="ADAL" clId="{3D0DB7AE-1BA7-45E8-B6C7-4A63B94ABB52}" dt="2024-06-10T11:53:40.350" v="984"/>
          <ac:spMkLst>
            <pc:docMk/>
            <pc:sldMk cId="4204094504" sldId="769"/>
            <ac:spMk id="15" creationId="{B91CE66C-04FE-15A4-61D8-1B3E9BCD0A91}"/>
          </ac:spMkLst>
        </pc:spChg>
        <pc:spChg chg="mod">
          <ac:chgData name="Kateryna Levchuk (UA)" userId="5dbb0cbd-4dc1-41d4-910d-5f884aef466d" providerId="ADAL" clId="{3D0DB7AE-1BA7-45E8-B6C7-4A63B94ABB52}" dt="2024-06-10T11:53:40.350" v="984"/>
          <ac:spMkLst>
            <pc:docMk/>
            <pc:sldMk cId="4204094504" sldId="769"/>
            <ac:spMk id="16" creationId="{6A72370F-41D5-2398-AE3E-FE1D27E5423D}"/>
          </ac:spMkLst>
        </pc:spChg>
        <pc:spChg chg="mod">
          <ac:chgData name="Kateryna Levchuk (UA)" userId="5dbb0cbd-4dc1-41d4-910d-5f884aef466d" providerId="ADAL" clId="{3D0DB7AE-1BA7-45E8-B6C7-4A63B94ABB52}" dt="2024-06-10T11:53:40.350" v="984"/>
          <ac:spMkLst>
            <pc:docMk/>
            <pc:sldMk cId="4204094504" sldId="769"/>
            <ac:spMk id="17" creationId="{4201473D-CD1B-A032-C58A-5C322520E227}"/>
          </ac:spMkLst>
        </pc:spChg>
        <pc:spChg chg="mod">
          <ac:chgData name="Kateryna Levchuk (UA)" userId="5dbb0cbd-4dc1-41d4-910d-5f884aef466d" providerId="ADAL" clId="{3D0DB7AE-1BA7-45E8-B6C7-4A63B94ABB52}" dt="2024-06-10T11:53:40.350" v="984"/>
          <ac:spMkLst>
            <pc:docMk/>
            <pc:sldMk cId="4204094504" sldId="769"/>
            <ac:spMk id="20" creationId="{3C993D87-4B92-9022-D57B-D5485A7D7356}"/>
          </ac:spMkLst>
        </pc:spChg>
        <pc:spChg chg="mod">
          <ac:chgData name="Kateryna Levchuk (UA)" userId="5dbb0cbd-4dc1-41d4-910d-5f884aef466d" providerId="ADAL" clId="{3D0DB7AE-1BA7-45E8-B6C7-4A63B94ABB52}" dt="2024-06-10T11:53:40.350" v="984"/>
          <ac:spMkLst>
            <pc:docMk/>
            <pc:sldMk cId="4204094504" sldId="769"/>
            <ac:spMk id="25" creationId="{9CC9497F-8A9A-F461-1651-356A9C74516F}"/>
          </ac:spMkLst>
        </pc:spChg>
        <pc:spChg chg="mod">
          <ac:chgData name="Kateryna Levchuk (UA)" userId="5dbb0cbd-4dc1-41d4-910d-5f884aef466d" providerId="ADAL" clId="{3D0DB7AE-1BA7-45E8-B6C7-4A63B94ABB52}" dt="2024-06-10T13:23:18.013" v="1025"/>
          <ac:spMkLst>
            <pc:docMk/>
            <pc:sldMk cId="4204094504" sldId="769"/>
            <ac:spMk id="27" creationId="{38FED362-973D-FFD8-7C2E-7CA081FE02F7}"/>
          </ac:spMkLst>
        </pc:spChg>
        <pc:spChg chg="mod">
          <ac:chgData name="Kateryna Levchuk (UA)" userId="5dbb0cbd-4dc1-41d4-910d-5f884aef466d" providerId="ADAL" clId="{3D0DB7AE-1BA7-45E8-B6C7-4A63B94ABB52}" dt="2024-06-10T13:23:18.013" v="1025"/>
          <ac:spMkLst>
            <pc:docMk/>
            <pc:sldMk cId="4204094504" sldId="769"/>
            <ac:spMk id="28" creationId="{DE404215-265C-F869-7DEF-699695E0EC06}"/>
          </ac:spMkLst>
        </pc:spChg>
        <pc:spChg chg="mod">
          <ac:chgData name="Kateryna Levchuk (UA)" userId="5dbb0cbd-4dc1-41d4-910d-5f884aef466d" providerId="ADAL" clId="{3D0DB7AE-1BA7-45E8-B6C7-4A63B94ABB52}" dt="2024-06-10T13:23:18.013" v="1025"/>
          <ac:spMkLst>
            <pc:docMk/>
            <pc:sldMk cId="4204094504" sldId="769"/>
            <ac:spMk id="29" creationId="{96E88C83-7C97-D291-A6D3-A065BA728F18}"/>
          </ac:spMkLst>
        </pc:spChg>
        <pc:spChg chg="mod">
          <ac:chgData name="Kateryna Levchuk (UA)" userId="5dbb0cbd-4dc1-41d4-910d-5f884aef466d" providerId="ADAL" clId="{3D0DB7AE-1BA7-45E8-B6C7-4A63B94ABB52}" dt="2024-06-10T13:23:18.013" v="1025"/>
          <ac:spMkLst>
            <pc:docMk/>
            <pc:sldMk cId="4204094504" sldId="769"/>
            <ac:spMk id="30" creationId="{F346E968-DC1B-CEA0-9F14-8A2CFA278348}"/>
          </ac:spMkLst>
        </pc:spChg>
        <pc:spChg chg="mod">
          <ac:chgData name="Kateryna Levchuk (UA)" userId="5dbb0cbd-4dc1-41d4-910d-5f884aef466d" providerId="ADAL" clId="{3D0DB7AE-1BA7-45E8-B6C7-4A63B94ABB52}" dt="2024-06-10T13:23:18.013" v="1025"/>
          <ac:spMkLst>
            <pc:docMk/>
            <pc:sldMk cId="4204094504" sldId="769"/>
            <ac:spMk id="31" creationId="{F9053317-CE83-46AD-71F3-21B8EF924C58}"/>
          </ac:spMkLst>
        </pc:spChg>
        <pc:spChg chg="mod">
          <ac:chgData name="Kateryna Levchuk (UA)" userId="5dbb0cbd-4dc1-41d4-910d-5f884aef466d" providerId="ADAL" clId="{3D0DB7AE-1BA7-45E8-B6C7-4A63B94ABB52}" dt="2024-06-10T13:23:18.013" v="1025"/>
          <ac:spMkLst>
            <pc:docMk/>
            <pc:sldMk cId="4204094504" sldId="769"/>
            <ac:spMk id="32" creationId="{1785A767-FFCD-89C0-D307-BEC830C28B52}"/>
          </ac:spMkLst>
        </pc:spChg>
        <pc:grpChg chg="add del mod">
          <ac:chgData name="Kateryna Levchuk (UA)" userId="5dbb0cbd-4dc1-41d4-910d-5f884aef466d" providerId="ADAL" clId="{3D0DB7AE-1BA7-45E8-B6C7-4A63B94ABB52}" dt="2024-06-10T13:22:43.450" v="1018" actId="478"/>
          <ac:grpSpMkLst>
            <pc:docMk/>
            <pc:sldMk cId="4204094504" sldId="769"/>
            <ac:grpSpMk id="2" creationId="{7ECEE5D0-083A-523B-A94F-BDFCFF3453AE}"/>
          </ac:grpSpMkLst>
        </pc:grpChg>
        <pc:grpChg chg="del">
          <ac:chgData name="Kateryna Levchuk (UA)" userId="5dbb0cbd-4dc1-41d4-910d-5f884aef466d" providerId="ADAL" clId="{3D0DB7AE-1BA7-45E8-B6C7-4A63B94ABB52}" dt="2024-06-10T11:53:18.322" v="980" actId="478"/>
          <ac:grpSpMkLst>
            <pc:docMk/>
            <pc:sldMk cId="4204094504" sldId="769"/>
            <ac:grpSpMk id="4" creationId="{0B1B7A20-C37A-69B5-6A59-249C7C805D9C}"/>
          </ac:grpSpMkLst>
        </pc:grpChg>
        <pc:grpChg chg="add mod">
          <ac:chgData name="Kateryna Levchuk (UA)" userId="5dbb0cbd-4dc1-41d4-910d-5f884aef466d" providerId="ADAL" clId="{3D0DB7AE-1BA7-45E8-B6C7-4A63B94ABB52}" dt="2024-06-10T13:23:18.013" v="1025"/>
          <ac:grpSpMkLst>
            <pc:docMk/>
            <pc:sldMk cId="4204094504" sldId="769"/>
            <ac:grpSpMk id="26" creationId="{8EB6E735-FE8B-C38E-E5EF-AE6C75ACC517}"/>
          </ac:grpSpMkLst>
        </pc:grpChg>
      </pc:sldChg>
      <pc:sldChg chg="addSp delSp modSp mod">
        <pc:chgData name="Kateryna Levchuk (UA)" userId="5dbb0cbd-4dc1-41d4-910d-5f884aef466d" providerId="ADAL" clId="{3D0DB7AE-1BA7-45E8-B6C7-4A63B94ABB52}" dt="2024-06-10T13:22:26.558" v="1011" actId="1076"/>
        <pc:sldMkLst>
          <pc:docMk/>
          <pc:sldMk cId="301651023" sldId="6887"/>
        </pc:sldMkLst>
        <pc:spChg chg="mod topLvl">
          <ac:chgData name="Kateryna Levchuk (UA)" userId="5dbb0cbd-4dc1-41d4-910d-5f884aef466d" providerId="ADAL" clId="{3D0DB7AE-1BA7-45E8-B6C7-4A63B94ABB52}" dt="2024-06-10T13:22:18.144" v="1010" actId="164"/>
          <ac:spMkLst>
            <pc:docMk/>
            <pc:sldMk cId="301651023" sldId="6887"/>
            <ac:spMk id="4" creationId="{C3FA5395-AA6E-8042-4D17-0DBFB1636A4F}"/>
          </ac:spMkLst>
        </pc:spChg>
        <pc:spChg chg="mod topLvl">
          <ac:chgData name="Kateryna Levchuk (UA)" userId="5dbb0cbd-4dc1-41d4-910d-5f884aef466d" providerId="ADAL" clId="{3D0DB7AE-1BA7-45E8-B6C7-4A63B94ABB52}" dt="2024-06-10T13:22:18.144" v="1010" actId="164"/>
          <ac:spMkLst>
            <pc:docMk/>
            <pc:sldMk cId="301651023" sldId="6887"/>
            <ac:spMk id="5" creationId="{49BBA7CC-F120-D1BA-005D-62D906F64CC6}"/>
          </ac:spMkLst>
        </pc:spChg>
        <pc:spChg chg="mod topLvl">
          <ac:chgData name="Kateryna Levchuk (UA)" userId="5dbb0cbd-4dc1-41d4-910d-5f884aef466d" providerId="ADAL" clId="{3D0DB7AE-1BA7-45E8-B6C7-4A63B94ABB52}" dt="2024-06-10T13:22:18.144" v="1010" actId="164"/>
          <ac:spMkLst>
            <pc:docMk/>
            <pc:sldMk cId="301651023" sldId="6887"/>
            <ac:spMk id="6" creationId="{F236D8FC-0050-EF52-6101-DD4B2B7ED0AC}"/>
          </ac:spMkLst>
        </pc:spChg>
        <pc:spChg chg="mod topLvl">
          <ac:chgData name="Kateryna Levchuk (UA)" userId="5dbb0cbd-4dc1-41d4-910d-5f884aef466d" providerId="ADAL" clId="{3D0DB7AE-1BA7-45E8-B6C7-4A63B94ABB52}" dt="2024-06-10T13:22:18.144" v="1010" actId="164"/>
          <ac:spMkLst>
            <pc:docMk/>
            <pc:sldMk cId="301651023" sldId="6887"/>
            <ac:spMk id="9" creationId="{699051EF-D739-0C93-DC76-3ED61251A1C3}"/>
          </ac:spMkLst>
        </pc:spChg>
        <pc:spChg chg="mod topLvl">
          <ac:chgData name="Kateryna Levchuk (UA)" userId="5dbb0cbd-4dc1-41d4-910d-5f884aef466d" providerId="ADAL" clId="{3D0DB7AE-1BA7-45E8-B6C7-4A63B94ABB52}" dt="2024-06-10T13:22:18.144" v="1010" actId="164"/>
          <ac:spMkLst>
            <pc:docMk/>
            <pc:sldMk cId="301651023" sldId="6887"/>
            <ac:spMk id="18" creationId="{BA1E2226-A22D-0D04-C266-36DFCED1D148}"/>
          </ac:spMkLst>
        </pc:spChg>
        <pc:spChg chg="mod topLvl">
          <ac:chgData name="Kateryna Levchuk (UA)" userId="5dbb0cbd-4dc1-41d4-910d-5f884aef466d" providerId="ADAL" clId="{3D0DB7AE-1BA7-45E8-B6C7-4A63B94ABB52}" dt="2024-06-10T13:22:18.144" v="1010" actId="164"/>
          <ac:spMkLst>
            <pc:docMk/>
            <pc:sldMk cId="301651023" sldId="6887"/>
            <ac:spMk id="19" creationId="{CF715AF5-C469-F0BE-1F5F-CA81B431899F}"/>
          </ac:spMkLst>
        </pc:spChg>
        <pc:spChg chg="del mod topLvl">
          <ac:chgData name="Kateryna Levchuk (UA)" userId="5dbb0cbd-4dc1-41d4-910d-5f884aef466d" providerId="ADAL" clId="{3D0DB7AE-1BA7-45E8-B6C7-4A63B94ABB52}" dt="2024-06-10T13:22:01.744" v="1009" actId="478"/>
          <ac:spMkLst>
            <pc:docMk/>
            <pc:sldMk cId="301651023" sldId="6887"/>
            <ac:spMk id="20" creationId="{B2F9CBA7-05AB-55CD-08D4-68C922A5BAE3}"/>
          </ac:spMkLst>
        </pc:spChg>
        <pc:grpChg chg="add del mod">
          <ac:chgData name="Kateryna Levchuk (UA)" userId="5dbb0cbd-4dc1-41d4-910d-5f884aef466d" providerId="ADAL" clId="{3D0DB7AE-1BA7-45E8-B6C7-4A63B94ABB52}" dt="2024-06-10T13:21:59.696" v="1008" actId="165"/>
          <ac:grpSpMkLst>
            <pc:docMk/>
            <pc:sldMk cId="301651023" sldId="6887"/>
            <ac:grpSpMk id="2" creationId="{D22C9F36-D6B5-61CB-6562-37DF6C04767D}"/>
          </ac:grpSpMkLst>
        </pc:grpChg>
        <pc:grpChg chg="add mod">
          <ac:chgData name="Kateryna Levchuk (UA)" userId="5dbb0cbd-4dc1-41d4-910d-5f884aef466d" providerId="ADAL" clId="{3D0DB7AE-1BA7-45E8-B6C7-4A63B94ABB52}" dt="2024-06-10T13:22:26.558" v="1011" actId="1076"/>
          <ac:grpSpMkLst>
            <pc:docMk/>
            <pc:sldMk cId="301651023" sldId="6887"/>
            <ac:grpSpMk id="21" creationId="{48E6EDED-8E66-2FFC-11D6-96BE03DF74A5}"/>
          </ac:grpSpMkLst>
        </pc:grpChg>
      </pc:sldChg>
      <pc:sldChg chg="addSp delSp modSp mod">
        <pc:chgData name="Kateryna Levchuk (UA)" userId="5dbb0cbd-4dc1-41d4-910d-5f884aef466d" providerId="ADAL" clId="{3D0DB7AE-1BA7-45E8-B6C7-4A63B94ABB52}" dt="2024-06-10T13:29:08.694" v="1057"/>
        <pc:sldMkLst>
          <pc:docMk/>
          <pc:sldMk cId="2731229360" sldId="2147481895"/>
        </pc:sldMkLst>
        <pc:spChg chg="mod">
          <ac:chgData name="Kateryna Levchuk (UA)" userId="5dbb0cbd-4dc1-41d4-910d-5f884aef466d" providerId="ADAL" clId="{3D0DB7AE-1BA7-45E8-B6C7-4A63B94ABB52}" dt="2024-06-10T13:29:08.694" v="1057"/>
          <ac:spMkLst>
            <pc:docMk/>
            <pc:sldMk cId="2731229360" sldId="2147481895"/>
            <ac:spMk id="16" creationId="{F40A9518-C7EF-1A84-53D9-EAAA4E0399BC}"/>
          </ac:spMkLst>
        </pc:spChg>
        <pc:spChg chg="mod">
          <ac:chgData name="Kateryna Levchuk (UA)" userId="5dbb0cbd-4dc1-41d4-910d-5f884aef466d" providerId="ADAL" clId="{3D0DB7AE-1BA7-45E8-B6C7-4A63B94ABB52}" dt="2024-06-10T13:29:08.694" v="1057"/>
          <ac:spMkLst>
            <pc:docMk/>
            <pc:sldMk cId="2731229360" sldId="2147481895"/>
            <ac:spMk id="17" creationId="{B3B1AC95-B60E-2327-D7B9-C2B32A8AA6F1}"/>
          </ac:spMkLst>
        </pc:spChg>
        <pc:spChg chg="mod">
          <ac:chgData name="Kateryna Levchuk (UA)" userId="5dbb0cbd-4dc1-41d4-910d-5f884aef466d" providerId="ADAL" clId="{3D0DB7AE-1BA7-45E8-B6C7-4A63B94ABB52}" dt="2024-06-10T13:29:08.694" v="1057"/>
          <ac:spMkLst>
            <pc:docMk/>
            <pc:sldMk cId="2731229360" sldId="2147481895"/>
            <ac:spMk id="18" creationId="{C59B6F2D-C552-1079-367D-4E043522908B}"/>
          </ac:spMkLst>
        </pc:spChg>
        <pc:spChg chg="mod">
          <ac:chgData name="Kateryna Levchuk (UA)" userId="5dbb0cbd-4dc1-41d4-910d-5f884aef466d" providerId="ADAL" clId="{3D0DB7AE-1BA7-45E8-B6C7-4A63B94ABB52}" dt="2024-06-10T13:29:08.694" v="1057"/>
          <ac:spMkLst>
            <pc:docMk/>
            <pc:sldMk cId="2731229360" sldId="2147481895"/>
            <ac:spMk id="19" creationId="{229164C9-D79A-4A2D-82BC-B1EE50451DA2}"/>
          </ac:spMkLst>
        </pc:spChg>
        <pc:spChg chg="mod">
          <ac:chgData name="Kateryna Levchuk (UA)" userId="5dbb0cbd-4dc1-41d4-910d-5f884aef466d" providerId="ADAL" clId="{3D0DB7AE-1BA7-45E8-B6C7-4A63B94ABB52}" dt="2024-06-10T13:29:08.694" v="1057"/>
          <ac:spMkLst>
            <pc:docMk/>
            <pc:sldMk cId="2731229360" sldId="2147481895"/>
            <ac:spMk id="20" creationId="{E87FA912-A978-EF9D-D76B-2DFB9C9FD001}"/>
          </ac:spMkLst>
        </pc:spChg>
        <pc:spChg chg="mod">
          <ac:chgData name="Kateryna Levchuk (UA)" userId="5dbb0cbd-4dc1-41d4-910d-5f884aef466d" providerId="ADAL" clId="{3D0DB7AE-1BA7-45E8-B6C7-4A63B94ABB52}" dt="2024-06-10T13:29:08.694" v="1057"/>
          <ac:spMkLst>
            <pc:docMk/>
            <pc:sldMk cId="2731229360" sldId="2147481895"/>
            <ac:spMk id="21" creationId="{966F6934-F802-7588-2F3C-CD8BDB43AD94}"/>
          </ac:spMkLst>
        </pc:spChg>
        <pc:grpChg chg="add mod">
          <ac:chgData name="Kateryna Levchuk (UA)" userId="5dbb0cbd-4dc1-41d4-910d-5f884aef466d" providerId="ADAL" clId="{3D0DB7AE-1BA7-45E8-B6C7-4A63B94ABB52}" dt="2024-06-10T13:29:08.694" v="1057"/>
          <ac:grpSpMkLst>
            <pc:docMk/>
            <pc:sldMk cId="2731229360" sldId="2147481895"/>
            <ac:grpSpMk id="4" creationId="{F9B473E4-9604-F305-FE62-A37A1E7638B6}"/>
          </ac:grpSpMkLst>
        </pc:grpChg>
        <pc:grpChg chg="del">
          <ac:chgData name="Kateryna Levchuk (UA)" userId="5dbb0cbd-4dc1-41d4-910d-5f884aef466d" providerId="ADAL" clId="{3D0DB7AE-1BA7-45E8-B6C7-4A63B94ABB52}" dt="2024-06-10T13:28:50.559" v="1052" actId="478"/>
          <ac:grpSpMkLst>
            <pc:docMk/>
            <pc:sldMk cId="2731229360" sldId="2147481895"/>
            <ac:grpSpMk id="28" creationId="{B2BD5B18-D144-5FFC-3A18-87947608F67B}"/>
          </ac:grpSpMkLst>
        </pc:grpChg>
      </pc:sldChg>
      <pc:sldChg chg="addSp delSp modSp mod">
        <pc:chgData name="Kateryna Levchuk (UA)" userId="5dbb0cbd-4dc1-41d4-910d-5f884aef466d" providerId="ADAL" clId="{3D0DB7AE-1BA7-45E8-B6C7-4A63B94ABB52}" dt="2024-06-10T13:29:13.773" v="1060"/>
        <pc:sldMkLst>
          <pc:docMk/>
          <pc:sldMk cId="3817097256" sldId="2147481898"/>
        </pc:sldMkLst>
        <pc:spChg chg="mod">
          <ac:chgData name="Kateryna Levchuk (UA)" userId="5dbb0cbd-4dc1-41d4-910d-5f884aef466d" providerId="ADAL" clId="{3D0DB7AE-1BA7-45E8-B6C7-4A63B94ABB52}" dt="2024-06-10T13:29:13.773" v="1060"/>
          <ac:spMkLst>
            <pc:docMk/>
            <pc:sldMk cId="3817097256" sldId="2147481898"/>
            <ac:spMk id="25" creationId="{FB4A4804-9B88-0479-4DF9-1616BF1E97D0}"/>
          </ac:spMkLst>
        </pc:spChg>
        <pc:spChg chg="mod">
          <ac:chgData name="Kateryna Levchuk (UA)" userId="5dbb0cbd-4dc1-41d4-910d-5f884aef466d" providerId="ADAL" clId="{3D0DB7AE-1BA7-45E8-B6C7-4A63B94ABB52}" dt="2024-06-10T13:29:13.773" v="1060"/>
          <ac:spMkLst>
            <pc:docMk/>
            <pc:sldMk cId="3817097256" sldId="2147481898"/>
            <ac:spMk id="33" creationId="{49838E34-4B5B-F8B8-32D3-545C2EC00534}"/>
          </ac:spMkLst>
        </pc:spChg>
        <pc:spChg chg="mod">
          <ac:chgData name="Kateryna Levchuk (UA)" userId="5dbb0cbd-4dc1-41d4-910d-5f884aef466d" providerId="ADAL" clId="{3D0DB7AE-1BA7-45E8-B6C7-4A63B94ABB52}" dt="2024-06-10T13:29:13.773" v="1060"/>
          <ac:spMkLst>
            <pc:docMk/>
            <pc:sldMk cId="3817097256" sldId="2147481898"/>
            <ac:spMk id="34" creationId="{77203906-2C9E-E8F2-82D8-5FC8105A54B3}"/>
          </ac:spMkLst>
        </pc:spChg>
        <pc:spChg chg="mod">
          <ac:chgData name="Kateryna Levchuk (UA)" userId="5dbb0cbd-4dc1-41d4-910d-5f884aef466d" providerId="ADAL" clId="{3D0DB7AE-1BA7-45E8-B6C7-4A63B94ABB52}" dt="2024-06-10T13:29:13.773" v="1060"/>
          <ac:spMkLst>
            <pc:docMk/>
            <pc:sldMk cId="3817097256" sldId="2147481898"/>
            <ac:spMk id="35" creationId="{F3E1CAC2-0F83-6275-48B7-090FC2735489}"/>
          </ac:spMkLst>
        </pc:spChg>
        <pc:spChg chg="mod">
          <ac:chgData name="Kateryna Levchuk (UA)" userId="5dbb0cbd-4dc1-41d4-910d-5f884aef466d" providerId="ADAL" clId="{3D0DB7AE-1BA7-45E8-B6C7-4A63B94ABB52}" dt="2024-06-10T13:29:13.773" v="1060"/>
          <ac:spMkLst>
            <pc:docMk/>
            <pc:sldMk cId="3817097256" sldId="2147481898"/>
            <ac:spMk id="36" creationId="{E77FC776-0F52-C932-0C68-ACFCD1689EE3}"/>
          </ac:spMkLst>
        </pc:spChg>
        <pc:spChg chg="mod">
          <ac:chgData name="Kateryna Levchuk (UA)" userId="5dbb0cbd-4dc1-41d4-910d-5f884aef466d" providerId="ADAL" clId="{3D0DB7AE-1BA7-45E8-B6C7-4A63B94ABB52}" dt="2024-06-10T13:29:13.773" v="1060"/>
          <ac:spMkLst>
            <pc:docMk/>
            <pc:sldMk cId="3817097256" sldId="2147481898"/>
            <ac:spMk id="37" creationId="{C719C210-0AA4-2FD2-B79F-090D97A80562}"/>
          </ac:spMkLst>
        </pc:spChg>
        <pc:grpChg chg="add mod">
          <ac:chgData name="Kateryna Levchuk (UA)" userId="5dbb0cbd-4dc1-41d4-910d-5f884aef466d" providerId="ADAL" clId="{3D0DB7AE-1BA7-45E8-B6C7-4A63B94ABB52}" dt="2024-06-10T13:29:13.773" v="1060"/>
          <ac:grpSpMkLst>
            <pc:docMk/>
            <pc:sldMk cId="3817097256" sldId="2147481898"/>
            <ac:grpSpMk id="6" creationId="{B534E434-CB1C-7C6D-A614-6975C26EB5C5}"/>
          </ac:grpSpMkLst>
        </pc:grpChg>
        <pc:grpChg chg="del">
          <ac:chgData name="Kateryna Levchuk (UA)" userId="5dbb0cbd-4dc1-41d4-910d-5f884aef466d" providerId="ADAL" clId="{3D0DB7AE-1BA7-45E8-B6C7-4A63B94ABB52}" dt="2024-06-10T13:29:00.017" v="1055" actId="478"/>
          <ac:grpSpMkLst>
            <pc:docMk/>
            <pc:sldMk cId="3817097256" sldId="2147481898"/>
            <ac:grpSpMk id="40" creationId="{50EC229A-DFC3-CED2-E0F9-218064EDB3F4}"/>
          </ac:grpSpMkLst>
        </pc:grpChg>
      </pc:sldChg>
      <pc:sldChg chg="addSp delSp modSp mod">
        <pc:chgData name="Kateryna Levchuk (UA)" userId="5dbb0cbd-4dc1-41d4-910d-5f884aef466d" providerId="ADAL" clId="{3D0DB7AE-1BA7-45E8-B6C7-4A63B94ABB52}" dt="2024-06-10T13:29:56.600" v="1071"/>
        <pc:sldMkLst>
          <pc:docMk/>
          <pc:sldMk cId="365397333" sldId="2147481900"/>
        </pc:sldMkLst>
        <pc:spChg chg="mod">
          <ac:chgData name="Kateryna Levchuk (UA)" userId="5dbb0cbd-4dc1-41d4-910d-5f884aef466d" providerId="ADAL" clId="{3D0DB7AE-1BA7-45E8-B6C7-4A63B94ABB52}" dt="2024-06-10T13:29:56.600" v="1071"/>
          <ac:spMkLst>
            <pc:docMk/>
            <pc:sldMk cId="365397333" sldId="2147481900"/>
            <ac:spMk id="7" creationId="{5D451561-8CEB-8D36-A0AE-D78D954597E0}"/>
          </ac:spMkLst>
        </pc:spChg>
        <pc:spChg chg="mod">
          <ac:chgData name="Kateryna Levchuk (UA)" userId="5dbb0cbd-4dc1-41d4-910d-5f884aef466d" providerId="ADAL" clId="{3D0DB7AE-1BA7-45E8-B6C7-4A63B94ABB52}" dt="2024-06-10T13:29:56.600" v="1071"/>
          <ac:spMkLst>
            <pc:docMk/>
            <pc:sldMk cId="365397333" sldId="2147481900"/>
            <ac:spMk id="8" creationId="{B85A1D09-0367-64BC-7801-9B9431631A78}"/>
          </ac:spMkLst>
        </pc:spChg>
        <pc:spChg chg="mod">
          <ac:chgData name="Kateryna Levchuk (UA)" userId="5dbb0cbd-4dc1-41d4-910d-5f884aef466d" providerId="ADAL" clId="{3D0DB7AE-1BA7-45E8-B6C7-4A63B94ABB52}" dt="2024-06-10T13:29:56.600" v="1071"/>
          <ac:spMkLst>
            <pc:docMk/>
            <pc:sldMk cId="365397333" sldId="2147481900"/>
            <ac:spMk id="9" creationId="{68FCCA4E-5399-0011-B276-61D5ADFBFE2C}"/>
          </ac:spMkLst>
        </pc:spChg>
        <pc:spChg chg="mod">
          <ac:chgData name="Kateryna Levchuk (UA)" userId="5dbb0cbd-4dc1-41d4-910d-5f884aef466d" providerId="ADAL" clId="{3D0DB7AE-1BA7-45E8-B6C7-4A63B94ABB52}" dt="2024-06-10T13:29:56.600" v="1071"/>
          <ac:spMkLst>
            <pc:docMk/>
            <pc:sldMk cId="365397333" sldId="2147481900"/>
            <ac:spMk id="22" creationId="{647D0E22-C64E-781D-284F-D65BAFC4FE62}"/>
          </ac:spMkLst>
        </pc:spChg>
        <pc:spChg chg="mod">
          <ac:chgData name="Kateryna Levchuk (UA)" userId="5dbb0cbd-4dc1-41d4-910d-5f884aef466d" providerId="ADAL" clId="{3D0DB7AE-1BA7-45E8-B6C7-4A63B94ABB52}" dt="2024-06-10T13:29:56.600" v="1071"/>
          <ac:spMkLst>
            <pc:docMk/>
            <pc:sldMk cId="365397333" sldId="2147481900"/>
            <ac:spMk id="27" creationId="{CB35E1F8-FD06-AECA-B963-42DD6AEAC164}"/>
          </ac:spMkLst>
        </pc:spChg>
        <pc:spChg chg="mod">
          <ac:chgData name="Kateryna Levchuk (UA)" userId="5dbb0cbd-4dc1-41d4-910d-5f884aef466d" providerId="ADAL" clId="{3D0DB7AE-1BA7-45E8-B6C7-4A63B94ABB52}" dt="2024-06-10T13:29:56.600" v="1071"/>
          <ac:spMkLst>
            <pc:docMk/>
            <pc:sldMk cId="365397333" sldId="2147481900"/>
            <ac:spMk id="28" creationId="{3E861C96-F477-B536-9C08-003FEBC3B374}"/>
          </ac:spMkLst>
        </pc:spChg>
        <pc:grpChg chg="del">
          <ac:chgData name="Kateryna Levchuk (UA)" userId="5dbb0cbd-4dc1-41d4-910d-5f884aef466d" providerId="ADAL" clId="{3D0DB7AE-1BA7-45E8-B6C7-4A63B94ABB52}" dt="2024-06-10T13:29:48.937" v="1068" actId="478"/>
          <ac:grpSpMkLst>
            <pc:docMk/>
            <pc:sldMk cId="365397333" sldId="2147481900"/>
            <ac:grpSpMk id="5" creationId="{91E19DE0-2387-AE20-A1AD-7EFB7D6B93EA}"/>
          </ac:grpSpMkLst>
        </pc:grpChg>
        <pc:grpChg chg="add mod">
          <ac:chgData name="Kateryna Levchuk (UA)" userId="5dbb0cbd-4dc1-41d4-910d-5f884aef466d" providerId="ADAL" clId="{3D0DB7AE-1BA7-45E8-B6C7-4A63B94ABB52}" dt="2024-06-10T13:29:56.600" v="1071"/>
          <ac:grpSpMkLst>
            <pc:docMk/>
            <pc:sldMk cId="365397333" sldId="2147481900"/>
            <ac:grpSpMk id="6" creationId="{2EB936C7-DBDF-E055-71C8-DEF660CB3AA8}"/>
          </ac:grpSpMkLst>
        </pc:grpChg>
      </pc:sldChg>
      <pc:sldChg chg="addSp delSp modSp mod">
        <pc:chgData name="Kateryna Levchuk (UA)" userId="5dbb0cbd-4dc1-41d4-910d-5f884aef466d" providerId="ADAL" clId="{3D0DB7AE-1BA7-45E8-B6C7-4A63B94ABB52}" dt="2024-06-10T13:29:53.694" v="1069"/>
        <pc:sldMkLst>
          <pc:docMk/>
          <pc:sldMk cId="2785126703" sldId="2147481904"/>
        </pc:sldMkLst>
        <pc:spChg chg="mod">
          <ac:chgData name="Kateryna Levchuk (UA)" userId="5dbb0cbd-4dc1-41d4-910d-5f884aef466d" providerId="ADAL" clId="{3D0DB7AE-1BA7-45E8-B6C7-4A63B94ABB52}" dt="2024-06-10T13:29:53.694" v="1069"/>
          <ac:spMkLst>
            <pc:docMk/>
            <pc:sldMk cId="2785126703" sldId="2147481904"/>
            <ac:spMk id="32" creationId="{9E96C773-6FEC-19AF-C0E6-E1419D627837}"/>
          </ac:spMkLst>
        </pc:spChg>
        <pc:spChg chg="mod">
          <ac:chgData name="Kateryna Levchuk (UA)" userId="5dbb0cbd-4dc1-41d4-910d-5f884aef466d" providerId="ADAL" clId="{3D0DB7AE-1BA7-45E8-B6C7-4A63B94ABB52}" dt="2024-06-10T13:29:53.694" v="1069"/>
          <ac:spMkLst>
            <pc:docMk/>
            <pc:sldMk cId="2785126703" sldId="2147481904"/>
            <ac:spMk id="33" creationId="{6BDAF9B6-0B83-3E41-7B86-9FBCD64F952E}"/>
          </ac:spMkLst>
        </pc:spChg>
        <pc:spChg chg="mod">
          <ac:chgData name="Kateryna Levchuk (UA)" userId="5dbb0cbd-4dc1-41d4-910d-5f884aef466d" providerId="ADAL" clId="{3D0DB7AE-1BA7-45E8-B6C7-4A63B94ABB52}" dt="2024-06-10T13:29:53.694" v="1069"/>
          <ac:spMkLst>
            <pc:docMk/>
            <pc:sldMk cId="2785126703" sldId="2147481904"/>
            <ac:spMk id="34" creationId="{423B42DC-A249-0399-EB10-42BF838B677D}"/>
          </ac:spMkLst>
        </pc:spChg>
        <pc:spChg chg="mod">
          <ac:chgData name="Kateryna Levchuk (UA)" userId="5dbb0cbd-4dc1-41d4-910d-5f884aef466d" providerId="ADAL" clId="{3D0DB7AE-1BA7-45E8-B6C7-4A63B94ABB52}" dt="2024-06-10T13:29:53.694" v="1069"/>
          <ac:spMkLst>
            <pc:docMk/>
            <pc:sldMk cId="2785126703" sldId="2147481904"/>
            <ac:spMk id="35" creationId="{0B779906-5303-9C85-0F9B-3CE175042FA1}"/>
          </ac:spMkLst>
        </pc:spChg>
        <pc:spChg chg="mod">
          <ac:chgData name="Kateryna Levchuk (UA)" userId="5dbb0cbd-4dc1-41d4-910d-5f884aef466d" providerId="ADAL" clId="{3D0DB7AE-1BA7-45E8-B6C7-4A63B94ABB52}" dt="2024-06-10T13:29:53.694" v="1069"/>
          <ac:spMkLst>
            <pc:docMk/>
            <pc:sldMk cId="2785126703" sldId="2147481904"/>
            <ac:spMk id="36" creationId="{7A58E512-FDC8-9525-D1B5-DA23EF17D48E}"/>
          </ac:spMkLst>
        </pc:spChg>
        <pc:spChg chg="mod">
          <ac:chgData name="Kateryna Levchuk (UA)" userId="5dbb0cbd-4dc1-41d4-910d-5f884aef466d" providerId="ADAL" clId="{3D0DB7AE-1BA7-45E8-B6C7-4A63B94ABB52}" dt="2024-06-10T13:29:53.694" v="1069"/>
          <ac:spMkLst>
            <pc:docMk/>
            <pc:sldMk cId="2785126703" sldId="2147481904"/>
            <ac:spMk id="37" creationId="{0D46D010-9B03-B607-38A8-30104CC06BD3}"/>
          </ac:spMkLst>
        </pc:spChg>
        <pc:grpChg chg="del">
          <ac:chgData name="Kateryna Levchuk (UA)" userId="5dbb0cbd-4dc1-41d4-910d-5f884aef466d" providerId="ADAL" clId="{3D0DB7AE-1BA7-45E8-B6C7-4A63B94ABB52}" dt="2024-06-10T13:29:44.267" v="1066" actId="478"/>
          <ac:grpSpMkLst>
            <pc:docMk/>
            <pc:sldMk cId="2785126703" sldId="2147481904"/>
            <ac:grpSpMk id="7" creationId="{8E5DDB61-3D3D-28DB-CF8C-F76D813D18E3}"/>
          </ac:grpSpMkLst>
        </pc:grpChg>
        <pc:grpChg chg="add mod">
          <ac:chgData name="Kateryna Levchuk (UA)" userId="5dbb0cbd-4dc1-41d4-910d-5f884aef466d" providerId="ADAL" clId="{3D0DB7AE-1BA7-45E8-B6C7-4A63B94ABB52}" dt="2024-06-10T13:29:53.694" v="1069"/>
          <ac:grpSpMkLst>
            <pc:docMk/>
            <pc:sldMk cId="2785126703" sldId="2147481904"/>
            <ac:grpSpMk id="31" creationId="{6024F4C3-61C2-AF47-F821-4853E8B8D58F}"/>
          </ac:grpSpMkLst>
        </pc:grpChg>
      </pc:sldChg>
      <pc:sldChg chg="addSp delSp modSp mod">
        <pc:chgData name="Kateryna Levchuk (UA)" userId="5dbb0cbd-4dc1-41d4-910d-5f884aef466d" providerId="ADAL" clId="{3D0DB7AE-1BA7-45E8-B6C7-4A63B94ABB52}" dt="2024-06-10T13:29:39.776" v="1065" actId="1076"/>
        <pc:sldMkLst>
          <pc:docMk/>
          <pc:sldMk cId="4233423074" sldId="2147481905"/>
        </pc:sldMkLst>
        <pc:spChg chg="mod topLvl">
          <ac:chgData name="Kateryna Levchuk (UA)" userId="5dbb0cbd-4dc1-41d4-910d-5f884aef466d" providerId="ADAL" clId="{3D0DB7AE-1BA7-45E8-B6C7-4A63B94ABB52}" dt="2024-06-10T13:29:36.626" v="1064" actId="164"/>
          <ac:spMkLst>
            <pc:docMk/>
            <pc:sldMk cId="4233423074" sldId="2147481905"/>
            <ac:spMk id="7" creationId="{F60C031E-0CA5-19CE-02E2-D78168C0C432}"/>
          </ac:spMkLst>
        </pc:spChg>
        <pc:spChg chg="mod topLvl">
          <ac:chgData name="Kateryna Levchuk (UA)" userId="5dbb0cbd-4dc1-41d4-910d-5f884aef466d" providerId="ADAL" clId="{3D0DB7AE-1BA7-45E8-B6C7-4A63B94ABB52}" dt="2024-06-10T13:29:36.626" v="1064" actId="164"/>
          <ac:spMkLst>
            <pc:docMk/>
            <pc:sldMk cId="4233423074" sldId="2147481905"/>
            <ac:spMk id="9" creationId="{73F1981D-C806-70CF-1837-6A46FF385161}"/>
          </ac:spMkLst>
        </pc:spChg>
        <pc:spChg chg="mod topLvl">
          <ac:chgData name="Kateryna Levchuk (UA)" userId="5dbb0cbd-4dc1-41d4-910d-5f884aef466d" providerId="ADAL" clId="{3D0DB7AE-1BA7-45E8-B6C7-4A63B94ABB52}" dt="2024-06-10T13:29:36.626" v="1064" actId="164"/>
          <ac:spMkLst>
            <pc:docMk/>
            <pc:sldMk cId="4233423074" sldId="2147481905"/>
            <ac:spMk id="10" creationId="{F31086A3-BA99-B2BD-D303-5F15E4A1FA7E}"/>
          </ac:spMkLst>
        </pc:spChg>
        <pc:spChg chg="mod topLvl">
          <ac:chgData name="Kateryna Levchuk (UA)" userId="5dbb0cbd-4dc1-41d4-910d-5f884aef466d" providerId="ADAL" clId="{3D0DB7AE-1BA7-45E8-B6C7-4A63B94ABB52}" dt="2024-06-10T13:29:36.626" v="1064" actId="164"/>
          <ac:spMkLst>
            <pc:docMk/>
            <pc:sldMk cId="4233423074" sldId="2147481905"/>
            <ac:spMk id="16" creationId="{BCFEAAEB-70A1-2A5C-1AAF-7741BA072FBF}"/>
          </ac:spMkLst>
        </pc:spChg>
        <pc:spChg chg="mod topLvl">
          <ac:chgData name="Kateryna Levchuk (UA)" userId="5dbb0cbd-4dc1-41d4-910d-5f884aef466d" providerId="ADAL" clId="{3D0DB7AE-1BA7-45E8-B6C7-4A63B94ABB52}" dt="2024-06-10T13:29:36.626" v="1064" actId="164"/>
          <ac:spMkLst>
            <pc:docMk/>
            <pc:sldMk cId="4233423074" sldId="2147481905"/>
            <ac:spMk id="22" creationId="{DBF61592-5C12-633B-76FD-E1B8A80C2707}"/>
          </ac:spMkLst>
        </pc:spChg>
        <pc:spChg chg="mod topLvl">
          <ac:chgData name="Kateryna Levchuk (UA)" userId="5dbb0cbd-4dc1-41d4-910d-5f884aef466d" providerId="ADAL" clId="{3D0DB7AE-1BA7-45E8-B6C7-4A63B94ABB52}" dt="2024-06-10T13:29:36.626" v="1064" actId="164"/>
          <ac:spMkLst>
            <pc:docMk/>
            <pc:sldMk cId="4233423074" sldId="2147481905"/>
            <ac:spMk id="29" creationId="{A3749CF4-265C-2736-C610-7B5D7F96F034}"/>
          </ac:spMkLst>
        </pc:spChg>
        <pc:spChg chg="del mod topLvl">
          <ac:chgData name="Kateryna Levchuk (UA)" userId="5dbb0cbd-4dc1-41d4-910d-5f884aef466d" providerId="ADAL" clId="{3D0DB7AE-1BA7-45E8-B6C7-4A63B94ABB52}" dt="2024-06-10T13:29:30.144" v="1063" actId="478"/>
          <ac:spMkLst>
            <pc:docMk/>
            <pc:sldMk cId="4233423074" sldId="2147481905"/>
            <ac:spMk id="30" creationId="{72C727B7-2778-6335-FF0B-24BD8596D0EE}"/>
          </ac:spMkLst>
        </pc:spChg>
        <pc:grpChg chg="del">
          <ac:chgData name="Kateryna Levchuk (UA)" userId="5dbb0cbd-4dc1-41d4-910d-5f884aef466d" providerId="ADAL" clId="{3D0DB7AE-1BA7-45E8-B6C7-4A63B94ABB52}" dt="2024-06-10T13:29:26.777" v="1062" actId="165"/>
          <ac:grpSpMkLst>
            <pc:docMk/>
            <pc:sldMk cId="4233423074" sldId="2147481905"/>
            <ac:grpSpMk id="6" creationId="{19779CEC-DA6C-1745-0562-31AE99ED8737}"/>
          </ac:grpSpMkLst>
        </pc:grpChg>
        <pc:grpChg chg="add mod">
          <ac:chgData name="Kateryna Levchuk (UA)" userId="5dbb0cbd-4dc1-41d4-910d-5f884aef466d" providerId="ADAL" clId="{3D0DB7AE-1BA7-45E8-B6C7-4A63B94ABB52}" dt="2024-06-10T13:29:39.776" v="1065" actId="1076"/>
          <ac:grpSpMkLst>
            <pc:docMk/>
            <pc:sldMk cId="4233423074" sldId="2147481905"/>
            <ac:grpSpMk id="31" creationId="{7811B578-D81A-6045-8E23-860DCEC7B570}"/>
          </ac:grpSpMkLst>
        </pc:grpChg>
      </pc:sldChg>
      <pc:sldChg chg="addSp delSp modSp mod">
        <pc:chgData name="Kateryna Levchuk (UA)" userId="5dbb0cbd-4dc1-41d4-910d-5f884aef466d" providerId="ADAL" clId="{3D0DB7AE-1BA7-45E8-B6C7-4A63B94ABB52}" dt="2024-06-10T13:29:12.189" v="1059"/>
        <pc:sldMkLst>
          <pc:docMk/>
          <pc:sldMk cId="3128847407" sldId="2147481907"/>
        </pc:sldMkLst>
        <pc:spChg chg="mod">
          <ac:chgData name="Kateryna Levchuk (UA)" userId="5dbb0cbd-4dc1-41d4-910d-5f884aef466d" providerId="ADAL" clId="{3D0DB7AE-1BA7-45E8-B6C7-4A63B94ABB52}" dt="2024-06-10T13:29:12.189" v="1059"/>
          <ac:spMkLst>
            <pc:docMk/>
            <pc:sldMk cId="3128847407" sldId="2147481907"/>
            <ac:spMk id="6" creationId="{7A28CDDA-E3FE-D587-6157-67C6532B1B78}"/>
          </ac:spMkLst>
        </pc:spChg>
        <pc:spChg chg="mod">
          <ac:chgData name="Kateryna Levchuk (UA)" userId="5dbb0cbd-4dc1-41d4-910d-5f884aef466d" providerId="ADAL" clId="{3D0DB7AE-1BA7-45E8-B6C7-4A63B94ABB52}" dt="2024-06-10T13:29:12.189" v="1059"/>
          <ac:spMkLst>
            <pc:docMk/>
            <pc:sldMk cId="3128847407" sldId="2147481907"/>
            <ac:spMk id="7" creationId="{CE3CFA3C-9E2D-272A-F0B5-80B1CE3BDE6E}"/>
          </ac:spMkLst>
        </pc:spChg>
        <pc:spChg chg="mod">
          <ac:chgData name="Kateryna Levchuk (UA)" userId="5dbb0cbd-4dc1-41d4-910d-5f884aef466d" providerId="ADAL" clId="{3D0DB7AE-1BA7-45E8-B6C7-4A63B94ABB52}" dt="2024-06-10T13:29:12.189" v="1059"/>
          <ac:spMkLst>
            <pc:docMk/>
            <pc:sldMk cId="3128847407" sldId="2147481907"/>
            <ac:spMk id="8" creationId="{F5AC6665-DADA-D2AC-894D-F929D4AE1580}"/>
          </ac:spMkLst>
        </pc:spChg>
        <pc:spChg chg="mod">
          <ac:chgData name="Kateryna Levchuk (UA)" userId="5dbb0cbd-4dc1-41d4-910d-5f884aef466d" providerId="ADAL" clId="{3D0DB7AE-1BA7-45E8-B6C7-4A63B94ABB52}" dt="2024-06-10T13:29:12.189" v="1059"/>
          <ac:spMkLst>
            <pc:docMk/>
            <pc:sldMk cId="3128847407" sldId="2147481907"/>
            <ac:spMk id="9" creationId="{A4C8CF8A-B227-E183-9262-A2A5F9CE6F2F}"/>
          </ac:spMkLst>
        </pc:spChg>
        <pc:spChg chg="mod">
          <ac:chgData name="Kateryna Levchuk (UA)" userId="5dbb0cbd-4dc1-41d4-910d-5f884aef466d" providerId="ADAL" clId="{3D0DB7AE-1BA7-45E8-B6C7-4A63B94ABB52}" dt="2024-06-10T13:29:12.189" v="1059"/>
          <ac:spMkLst>
            <pc:docMk/>
            <pc:sldMk cId="3128847407" sldId="2147481907"/>
            <ac:spMk id="10" creationId="{9FDE5462-F67E-701E-B10C-C66E31757016}"/>
          </ac:spMkLst>
        </pc:spChg>
        <pc:spChg chg="mod">
          <ac:chgData name="Kateryna Levchuk (UA)" userId="5dbb0cbd-4dc1-41d4-910d-5f884aef466d" providerId="ADAL" clId="{3D0DB7AE-1BA7-45E8-B6C7-4A63B94ABB52}" dt="2024-06-10T13:29:12.189" v="1059"/>
          <ac:spMkLst>
            <pc:docMk/>
            <pc:sldMk cId="3128847407" sldId="2147481907"/>
            <ac:spMk id="11" creationId="{9C46FF3F-CD77-A4CA-423E-4098F83F24BF}"/>
          </ac:spMkLst>
        </pc:spChg>
        <pc:grpChg chg="add mod">
          <ac:chgData name="Kateryna Levchuk (UA)" userId="5dbb0cbd-4dc1-41d4-910d-5f884aef466d" providerId="ADAL" clId="{3D0DB7AE-1BA7-45E8-B6C7-4A63B94ABB52}" dt="2024-06-10T13:29:12.189" v="1059"/>
          <ac:grpSpMkLst>
            <pc:docMk/>
            <pc:sldMk cId="3128847407" sldId="2147481907"/>
            <ac:grpSpMk id="5" creationId="{2E5C4B12-A1C3-EEA5-4D70-B9A7A6A9EC17}"/>
          </ac:grpSpMkLst>
        </pc:grpChg>
        <pc:grpChg chg="del">
          <ac:chgData name="Kateryna Levchuk (UA)" userId="5dbb0cbd-4dc1-41d4-910d-5f884aef466d" providerId="ADAL" clId="{3D0DB7AE-1BA7-45E8-B6C7-4A63B94ABB52}" dt="2024-06-10T13:28:58.101" v="1054" actId="478"/>
          <ac:grpSpMkLst>
            <pc:docMk/>
            <pc:sldMk cId="3128847407" sldId="2147481907"/>
            <ac:grpSpMk id="21" creationId="{2C541B34-1CC4-0C2B-DEAE-6E87154D1CC0}"/>
          </ac:grpSpMkLst>
        </pc:grpChg>
      </pc:sldChg>
      <pc:sldChg chg="addSp delSp modSp mod">
        <pc:chgData name="Kateryna Levchuk (UA)" userId="5dbb0cbd-4dc1-41d4-910d-5f884aef466d" providerId="ADAL" clId="{3D0DB7AE-1BA7-45E8-B6C7-4A63B94ABB52}" dt="2024-06-10T13:23:15.369" v="1024"/>
        <pc:sldMkLst>
          <pc:docMk/>
          <pc:sldMk cId="372668532" sldId="2147481911"/>
        </pc:sldMkLst>
        <pc:spChg chg="mod">
          <ac:chgData name="Kateryna Levchuk (UA)" userId="5dbb0cbd-4dc1-41d4-910d-5f884aef466d" providerId="ADAL" clId="{3D0DB7AE-1BA7-45E8-B6C7-4A63B94ABB52}" dt="2024-06-10T11:53:41.680" v="985"/>
          <ac:spMkLst>
            <pc:docMk/>
            <pc:sldMk cId="372668532" sldId="2147481911"/>
            <ac:spMk id="12" creationId="{7849FD81-6AAF-3957-85B0-491E857027C0}"/>
          </ac:spMkLst>
        </pc:spChg>
        <pc:spChg chg="mod">
          <ac:chgData name="Kateryna Levchuk (UA)" userId="5dbb0cbd-4dc1-41d4-910d-5f884aef466d" providerId="ADAL" clId="{3D0DB7AE-1BA7-45E8-B6C7-4A63B94ABB52}" dt="2024-06-10T11:53:41.680" v="985"/>
          <ac:spMkLst>
            <pc:docMk/>
            <pc:sldMk cId="372668532" sldId="2147481911"/>
            <ac:spMk id="13" creationId="{B7643679-DBAA-D512-10A0-A69032878266}"/>
          </ac:spMkLst>
        </pc:spChg>
        <pc:spChg chg="mod">
          <ac:chgData name="Kateryna Levchuk (UA)" userId="5dbb0cbd-4dc1-41d4-910d-5f884aef466d" providerId="ADAL" clId="{3D0DB7AE-1BA7-45E8-B6C7-4A63B94ABB52}" dt="2024-06-10T11:53:41.680" v="985"/>
          <ac:spMkLst>
            <pc:docMk/>
            <pc:sldMk cId="372668532" sldId="2147481911"/>
            <ac:spMk id="14" creationId="{490386A8-E434-7C6A-5B0C-03E5EB36C609}"/>
          </ac:spMkLst>
        </pc:spChg>
        <pc:spChg chg="mod">
          <ac:chgData name="Kateryna Levchuk (UA)" userId="5dbb0cbd-4dc1-41d4-910d-5f884aef466d" providerId="ADAL" clId="{3D0DB7AE-1BA7-45E8-B6C7-4A63B94ABB52}" dt="2024-06-10T11:53:41.680" v="985"/>
          <ac:spMkLst>
            <pc:docMk/>
            <pc:sldMk cId="372668532" sldId="2147481911"/>
            <ac:spMk id="15" creationId="{06C06A0D-8347-52D3-F340-6875C708DA71}"/>
          </ac:spMkLst>
        </pc:spChg>
        <pc:spChg chg="mod">
          <ac:chgData name="Kateryna Levchuk (UA)" userId="5dbb0cbd-4dc1-41d4-910d-5f884aef466d" providerId="ADAL" clId="{3D0DB7AE-1BA7-45E8-B6C7-4A63B94ABB52}" dt="2024-06-10T11:53:41.680" v="985"/>
          <ac:spMkLst>
            <pc:docMk/>
            <pc:sldMk cId="372668532" sldId="2147481911"/>
            <ac:spMk id="16" creationId="{571D862B-210D-B83D-EBEE-5F6EDAAE8D32}"/>
          </ac:spMkLst>
        </pc:spChg>
        <pc:spChg chg="mod">
          <ac:chgData name="Kateryna Levchuk (UA)" userId="5dbb0cbd-4dc1-41d4-910d-5f884aef466d" providerId="ADAL" clId="{3D0DB7AE-1BA7-45E8-B6C7-4A63B94ABB52}" dt="2024-06-10T11:53:41.680" v="985"/>
          <ac:spMkLst>
            <pc:docMk/>
            <pc:sldMk cId="372668532" sldId="2147481911"/>
            <ac:spMk id="17" creationId="{07210FDF-C002-5BF6-FD41-3308EA276D4B}"/>
          </ac:spMkLst>
        </pc:spChg>
        <pc:spChg chg="mod">
          <ac:chgData name="Kateryna Levchuk (UA)" userId="5dbb0cbd-4dc1-41d4-910d-5f884aef466d" providerId="ADAL" clId="{3D0DB7AE-1BA7-45E8-B6C7-4A63B94ABB52}" dt="2024-06-10T11:53:41.680" v="985"/>
          <ac:spMkLst>
            <pc:docMk/>
            <pc:sldMk cId="372668532" sldId="2147481911"/>
            <ac:spMk id="18" creationId="{D0B8537C-72D7-81D0-D590-4F281D159AAC}"/>
          </ac:spMkLst>
        </pc:spChg>
        <pc:spChg chg="mod">
          <ac:chgData name="Kateryna Levchuk (UA)" userId="5dbb0cbd-4dc1-41d4-910d-5f884aef466d" providerId="ADAL" clId="{3D0DB7AE-1BA7-45E8-B6C7-4A63B94ABB52}" dt="2024-06-10T13:23:15.369" v="1024"/>
          <ac:spMkLst>
            <pc:docMk/>
            <pc:sldMk cId="372668532" sldId="2147481911"/>
            <ac:spMk id="37" creationId="{D0B7764A-860A-9FDF-9FA3-A62050BC4033}"/>
          </ac:spMkLst>
        </pc:spChg>
        <pc:spChg chg="mod">
          <ac:chgData name="Kateryna Levchuk (UA)" userId="5dbb0cbd-4dc1-41d4-910d-5f884aef466d" providerId="ADAL" clId="{3D0DB7AE-1BA7-45E8-B6C7-4A63B94ABB52}" dt="2024-06-10T13:23:15.369" v="1024"/>
          <ac:spMkLst>
            <pc:docMk/>
            <pc:sldMk cId="372668532" sldId="2147481911"/>
            <ac:spMk id="38" creationId="{C3CD6F89-FD78-0119-72C3-7AB35911A4F1}"/>
          </ac:spMkLst>
        </pc:spChg>
        <pc:spChg chg="mod">
          <ac:chgData name="Kateryna Levchuk (UA)" userId="5dbb0cbd-4dc1-41d4-910d-5f884aef466d" providerId="ADAL" clId="{3D0DB7AE-1BA7-45E8-B6C7-4A63B94ABB52}" dt="2024-06-10T13:23:15.369" v="1024"/>
          <ac:spMkLst>
            <pc:docMk/>
            <pc:sldMk cId="372668532" sldId="2147481911"/>
            <ac:spMk id="39" creationId="{D24A85EA-720A-D5B7-7D05-04FF54AC763F}"/>
          </ac:spMkLst>
        </pc:spChg>
        <pc:spChg chg="mod">
          <ac:chgData name="Kateryna Levchuk (UA)" userId="5dbb0cbd-4dc1-41d4-910d-5f884aef466d" providerId="ADAL" clId="{3D0DB7AE-1BA7-45E8-B6C7-4A63B94ABB52}" dt="2024-06-10T13:23:15.369" v="1024"/>
          <ac:spMkLst>
            <pc:docMk/>
            <pc:sldMk cId="372668532" sldId="2147481911"/>
            <ac:spMk id="40" creationId="{754A1035-DDF2-321C-640B-1ADE8BA85C77}"/>
          </ac:spMkLst>
        </pc:spChg>
        <pc:spChg chg="mod">
          <ac:chgData name="Kateryna Levchuk (UA)" userId="5dbb0cbd-4dc1-41d4-910d-5f884aef466d" providerId="ADAL" clId="{3D0DB7AE-1BA7-45E8-B6C7-4A63B94ABB52}" dt="2024-06-10T13:23:15.369" v="1024"/>
          <ac:spMkLst>
            <pc:docMk/>
            <pc:sldMk cId="372668532" sldId="2147481911"/>
            <ac:spMk id="41" creationId="{FC89C715-F786-DA2B-101C-C3BFE3174E4C}"/>
          </ac:spMkLst>
        </pc:spChg>
        <pc:spChg chg="mod">
          <ac:chgData name="Kateryna Levchuk (UA)" userId="5dbb0cbd-4dc1-41d4-910d-5f884aef466d" providerId="ADAL" clId="{3D0DB7AE-1BA7-45E8-B6C7-4A63B94ABB52}" dt="2024-06-10T13:23:15.369" v="1024"/>
          <ac:spMkLst>
            <pc:docMk/>
            <pc:sldMk cId="372668532" sldId="2147481911"/>
            <ac:spMk id="42" creationId="{62F4651E-6A29-2FBD-9B0A-D8D3491005E1}"/>
          </ac:spMkLst>
        </pc:spChg>
        <pc:grpChg chg="add del mod">
          <ac:chgData name="Kateryna Levchuk (UA)" userId="5dbb0cbd-4dc1-41d4-910d-5f884aef466d" providerId="ADAL" clId="{3D0DB7AE-1BA7-45E8-B6C7-4A63B94ABB52}" dt="2024-06-10T13:22:41.316" v="1017" actId="478"/>
          <ac:grpSpMkLst>
            <pc:docMk/>
            <pc:sldMk cId="372668532" sldId="2147481911"/>
            <ac:grpSpMk id="9" creationId="{502EF687-6ED0-C03F-8CAF-123B928BD826}"/>
          </ac:grpSpMkLst>
        </pc:grpChg>
        <pc:grpChg chg="del">
          <ac:chgData name="Kateryna Levchuk (UA)" userId="5dbb0cbd-4dc1-41d4-910d-5f884aef466d" providerId="ADAL" clId="{3D0DB7AE-1BA7-45E8-B6C7-4A63B94ABB52}" dt="2024-06-10T11:53:22.014" v="981" actId="478"/>
          <ac:grpSpMkLst>
            <pc:docMk/>
            <pc:sldMk cId="372668532" sldId="2147481911"/>
            <ac:grpSpMk id="19" creationId="{6ED6C4B5-7981-36D1-47E9-3BB8F308AD39}"/>
          </ac:grpSpMkLst>
        </pc:grpChg>
        <pc:grpChg chg="add mod">
          <ac:chgData name="Kateryna Levchuk (UA)" userId="5dbb0cbd-4dc1-41d4-910d-5f884aef466d" providerId="ADAL" clId="{3D0DB7AE-1BA7-45E8-B6C7-4A63B94ABB52}" dt="2024-06-10T13:23:15.369" v="1024"/>
          <ac:grpSpMkLst>
            <pc:docMk/>
            <pc:sldMk cId="372668532" sldId="2147481911"/>
            <ac:grpSpMk id="35" creationId="{17F9ACE5-F250-DAA2-5DE6-31C24F5F6124}"/>
          </ac:grpSpMkLst>
        </pc:grpChg>
      </pc:sldChg>
      <pc:sldChg chg="addSp delSp modSp mod">
        <pc:chgData name="Kateryna Levchuk (UA)" userId="5dbb0cbd-4dc1-41d4-910d-5f884aef466d" providerId="ADAL" clId="{3D0DB7AE-1BA7-45E8-B6C7-4A63B94ABB52}" dt="2024-06-10T13:29:54.861" v="1070"/>
        <pc:sldMkLst>
          <pc:docMk/>
          <pc:sldMk cId="902380533" sldId="2147481912"/>
        </pc:sldMkLst>
        <pc:spChg chg="mod">
          <ac:chgData name="Kateryna Levchuk (UA)" userId="5dbb0cbd-4dc1-41d4-910d-5f884aef466d" providerId="ADAL" clId="{3D0DB7AE-1BA7-45E8-B6C7-4A63B94ABB52}" dt="2024-06-10T13:29:54.861" v="1070"/>
          <ac:spMkLst>
            <pc:docMk/>
            <pc:sldMk cId="902380533" sldId="2147481912"/>
            <ac:spMk id="32" creationId="{C6E4D409-3D7B-2FD8-B7C7-B258268DB07D}"/>
          </ac:spMkLst>
        </pc:spChg>
        <pc:spChg chg="mod">
          <ac:chgData name="Kateryna Levchuk (UA)" userId="5dbb0cbd-4dc1-41d4-910d-5f884aef466d" providerId="ADAL" clId="{3D0DB7AE-1BA7-45E8-B6C7-4A63B94ABB52}" dt="2024-06-10T13:29:54.861" v="1070"/>
          <ac:spMkLst>
            <pc:docMk/>
            <pc:sldMk cId="902380533" sldId="2147481912"/>
            <ac:spMk id="33" creationId="{2F87CEDC-88AE-3A65-FB55-D124C0A898C4}"/>
          </ac:spMkLst>
        </pc:spChg>
        <pc:spChg chg="mod">
          <ac:chgData name="Kateryna Levchuk (UA)" userId="5dbb0cbd-4dc1-41d4-910d-5f884aef466d" providerId="ADAL" clId="{3D0DB7AE-1BA7-45E8-B6C7-4A63B94ABB52}" dt="2024-06-10T13:29:54.861" v="1070"/>
          <ac:spMkLst>
            <pc:docMk/>
            <pc:sldMk cId="902380533" sldId="2147481912"/>
            <ac:spMk id="34" creationId="{815046FE-C9DA-01DD-B301-B1E707FE182B}"/>
          </ac:spMkLst>
        </pc:spChg>
        <pc:spChg chg="mod">
          <ac:chgData name="Kateryna Levchuk (UA)" userId="5dbb0cbd-4dc1-41d4-910d-5f884aef466d" providerId="ADAL" clId="{3D0DB7AE-1BA7-45E8-B6C7-4A63B94ABB52}" dt="2024-06-10T13:29:54.861" v="1070"/>
          <ac:spMkLst>
            <pc:docMk/>
            <pc:sldMk cId="902380533" sldId="2147481912"/>
            <ac:spMk id="35" creationId="{227EBCE0-AC0A-01B8-91ED-16DF9EF57119}"/>
          </ac:spMkLst>
        </pc:spChg>
        <pc:spChg chg="mod">
          <ac:chgData name="Kateryna Levchuk (UA)" userId="5dbb0cbd-4dc1-41d4-910d-5f884aef466d" providerId="ADAL" clId="{3D0DB7AE-1BA7-45E8-B6C7-4A63B94ABB52}" dt="2024-06-10T13:29:54.861" v="1070"/>
          <ac:spMkLst>
            <pc:docMk/>
            <pc:sldMk cId="902380533" sldId="2147481912"/>
            <ac:spMk id="36" creationId="{1ECAF34F-005F-1633-F3B8-16D1E6FEE990}"/>
          </ac:spMkLst>
        </pc:spChg>
        <pc:spChg chg="mod">
          <ac:chgData name="Kateryna Levchuk (UA)" userId="5dbb0cbd-4dc1-41d4-910d-5f884aef466d" providerId="ADAL" clId="{3D0DB7AE-1BA7-45E8-B6C7-4A63B94ABB52}" dt="2024-06-10T13:29:54.861" v="1070"/>
          <ac:spMkLst>
            <pc:docMk/>
            <pc:sldMk cId="902380533" sldId="2147481912"/>
            <ac:spMk id="37" creationId="{8291429A-0614-4B26-3C16-BB7754C126DD}"/>
          </ac:spMkLst>
        </pc:spChg>
        <pc:grpChg chg="del">
          <ac:chgData name="Kateryna Levchuk (UA)" userId="5dbb0cbd-4dc1-41d4-910d-5f884aef466d" providerId="ADAL" clId="{3D0DB7AE-1BA7-45E8-B6C7-4A63B94ABB52}" dt="2024-06-10T13:29:47.178" v="1067" actId="478"/>
          <ac:grpSpMkLst>
            <pc:docMk/>
            <pc:sldMk cId="902380533" sldId="2147481912"/>
            <ac:grpSpMk id="3" creationId="{5145ACA6-1185-1877-4478-138A78D01351}"/>
          </ac:grpSpMkLst>
        </pc:grpChg>
        <pc:grpChg chg="add mod">
          <ac:chgData name="Kateryna Levchuk (UA)" userId="5dbb0cbd-4dc1-41d4-910d-5f884aef466d" providerId="ADAL" clId="{3D0DB7AE-1BA7-45E8-B6C7-4A63B94ABB52}" dt="2024-06-10T13:29:54.861" v="1070"/>
          <ac:grpSpMkLst>
            <pc:docMk/>
            <pc:sldMk cId="902380533" sldId="2147481912"/>
            <ac:grpSpMk id="31" creationId="{7127EB1B-DE96-DC39-9146-CEF726D947BF}"/>
          </ac:grpSpMkLst>
        </pc:grpChg>
      </pc:sldChg>
      <pc:sldChg chg="addSp delSp modSp mod">
        <pc:chgData name="Kateryna Levchuk (UA)" userId="5dbb0cbd-4dc1-41d4-910d-5f884aef466d" providerId="ADAL" clId="{3D0DB7AE-1BA7-45E8-B6C7-4A63B94ABB52}" dt="2024-06-10T13:23:06.761" v="1022"/>
        <pc:sldMkLst>
          <pc:docMk/>
          <pc:sldMk cId="2494049098" sldId="2147481919"/>
        </pc:sldMkLst>
        <pc:spChg chg="mod">
          <ac:chgData name="Kateryna Levchuk (UA)" userId="5dbb0cbd-4dc1-41d4-910d-5f884aef466d" providerId="ADAL" clId="{3D0DB7AE-1BA7-45E8-B6C7-4A63B94ABB52}" dt="2024-06-10T11:53:43.469" v="986"/>
          <ac:spMkLst>
            <pc:docMk/>
            <pc:sldMk cId="2494049098" sldId="2147481919"/>
            <ac:spMk id="14" creationId="{85C3AE0E-6F0E-E91B-7F01-B59D638172DE}"/>
          </ac:spMkLst>
        </pc:spChg>
        <pc:spChg chg="mod">
          <ac:chgData name="Kateryna Levchuk (UA)" userId="5dbb0cbd-4dc1-41d4-910d-5f884aef466d" providerId="ADAL" clId="{3D0DB7AE-1BA7-45E8-B6C7-4A63B94ABB52}" dt="2024-06-10T11:53:43.469" v="986"/>
          <ac:spMkLst>
            <pc:docMk/>
            <pc:sldMk cId="2494049098" sldId="2147481919"/>
            <ac:spMk id="15" creationId="{18D7A8A8-426A-054D-6EEF-589F721B78BC}"/>
          </ac:spMkLst>
        </pc:spChg>
        <pc:spChg chg="mod">
          <ac:chgData name="Kateryna Levchuk (UA)" userId="5dbb0cbd-4dc1-41d4-910d-5f884aef466d" providerId="ADAL" clId="{3D0DB7AE-1BA7-45E8-B6C7-4A63B94ABB52}" dt="2024-06-10T11:53:43.469" v="986"/>
          <ac:spMkLst>
            <pc:docMk/>
            <pc:sldMk cId="2494049098" sldId="2147481919"/>
            <ac:spMk id="17" creationId="{0D0DF975-ACDC-3265-B70A-62FA4C463B88}"/>
          </ac:spMkLst>
        </pc:spChg>
        <pc:spChg chg="mod">
          <ac:chgData name="Kateryna Levchuk (UA)" userId="5dbb0cbd-4dc1-41d4-910d-5f884aef466d" providerId="ADAL" clId="{3D0DB7AE-1BA7-45E8-B6C7-4A63B94ABB52}" dt="2024-06-10T11:53:43.469" v="986"/>
          <ac:spMkLst>
            <pc:docMk/>
            <pc:sldMk cId="2494049098" sldId="2147481919"/>
            <ac:spMk id="20" creationId="{77DFE08F-3B14-E67F-7681-25B2C2614248}"/>
          </ac:spMkLst>
        </pc:spChg>
        <pc:spChg chg="mod">
          <ac:chgData name="Kateryna Levchuk (UA)" userId="5dbb0cbd-4dc1-41d4-910d-5f884aef466d" providerId="ADAL" clId="{3D0DB7AE-1BA7-45E8-B6C7-4A63B94ABB52}" dt="2024-06-10T11:53:43.469" v="986"/>
          <ac:spMkLst>
            <pc:docMk/>
            <pc:sldMk cId="2494049098" sldId="2147481919"/>
            <ac:spMk id="25" creationId="{5A65EC3D-C5FD-0809-EE03-250BC379B761}"/>
          </ac:spMkLst>
        </pc:spChg>
        <pc:spChg chg="mod">
          <ac:chgData name="Kateryna Levchuk (UA)" userId="5dbb0cbd-4dc1-41d4-910d-5f884aef466d" providerId="ADAL" clId="{3D0DB7AE-1BA7-45E8-B6C7-4A63B94ABB52}" dt="2024-06-10T11:53:43.469" v="986"/>
          <ac:spMkLst>
            <pc:docMk/>
            <pc:sldMk cId="2494049098" sldId="2147481919"/>
            <ac:spMk id="26" creationId="{3CDAB759-9D6E-D1E8-3A03-BB07D13F207F}"/>
          </ac:spMkLst>
        </pc:spChg>
        <pc:spChg chg="mod">
          <ac:chgData name="Kateryna Levchuk (UA)" userId="5dbb0cbd-4dc1-41d4-910d-5f884aef466d" providerId="ADAL" clId="{3D0DB7AE-1BA7-45E8-B6C7-4A63B94ABB52}" dt="2024-06-10T11:53:43.469" v="986"/>
          <ac:spMkLst>
            <pc:docMk/>
            <pc:sldMk cId="2494049098" sldId="2147481919"/>
            <ac:spMk id="27" creationId="{32CABF19-875C-27FD-2D0F-F0C8DD452281}"/>
          </ac:spMkLst>
        </pc:spChg>
        <pc:spChg chg="mod">
          <ac:chgData name="Kateryna Levchuk (UA)" userId="5dbb0cbd-4dc1-41d4-910d-5f884aef466d" providerId="ADAL" clId="{3D0DB7AE-1BA7-45E8-B6C7-4A63B94ABB52}" dt="2024-06-10T13:23:06.761" v="1022"/>
          <ac:spMkLst>
            <pc:docMk/>
            <pc:sldMk cId="2494049098" sldId="2147481919"/>
            <ac:spMk id="31" creationId="{4C45F5D8-454F-D1DA-B888-BD8393D29AB2}"/>
          </ac:spMkLst>
        </pc:spChg>
        <pc:spChg chg="mod">
          <ac:chgData name="Kateryna Levchuk (UA)" userId="5dbb0cbd-4dc1-41d4-910d-5f884aef466d" providerId="ADAL" clId="{3D0DB7AE-1BA7-45E8-B6C7-4A63B94ABB52}" dt="2024-06-10T13:23:06.761" v="1022"/>
          <ac:spMkLst>
            <pc:docMk/>
            <pc:sldMk cId="2494049098" sldId="2147481919"/>
            <ac:spMk id="32" creationId="{962A0AB5-1528-1FA1-7ABB-354ECFC14075}"/>
          </ac:spMkLst>
        </pc:spChg>
        <pc:spChg chg="mod">
          <ac:chgData name="Kateryna Levchuk (UA)" userId="5dbb0cbd-4dc1-41d4-910d-5f884aef466d" providerId="ADAL" clId="{3D0DB7AE-1BA7-45E8-B6C7-4A63B94ABB52}" dt="2024-06-10T13:23:06.761" v="1022"/>
          <ac:spMkLst>
            <pc:docMk/>
            <pc:sldMk cId="2494049098" sldId="2147481919"/>
            <ac:spMk id="33" creationId="{87243747-3691-E1B8-E4CC-AC56B9D9AEEA}"/>
          </ac:spMkLst>
        </pc:spChg>
        <pc:spChg chg="mod">
          <ac:chgData name="Kateryna Levchuk (UA)" userId="5dbb0cbd-4dc1-41d4-910d-5f884aef466d" providerId="ADAL" clId="{3D0DB7AE-1BA7-45E8-B6C7-4A63B94ABB52}" dt="2024-06-10T13:23:06.761" v="1022"/>
          <ac:spMkLst>
            <pc:docMk/>
            <pc:sldMk cId="2494049098" sldId="2147481919"/>
            <ac:spMk id="34" creationId="{172B24E9-2DE6-54FF-CC86-EBD4DD341CC9}"/>
          </ac:spMkLst>
        </pc:spChg>
        <pc:spChg chg="mod">
          <ac:chgData name="Kateryna Levchuk (UA)" userId="5dbb0cbd-4dc1-41d4-910d-5f884aef466d" providerId="ADAL" clId="{3D0DB7AE-1BA7-45E8-B6C7-4A63B94ABB52}" dt="2024-06-10T13:23:06.761" v="1022"/>
          <ac:spMkLst>
            <pc:docMk/>
            <pc:sldMk cId="2494049098" sldId="2147481919"/>
            <ac:spMk id="35" creationId="{73279EE3-62F3-EEBA-1971-F53D30C665CB}"/>
          </ac:spMkLst>
        </pc:spChg>
        <pc:spChg chg="mod">
          <ac:chgData name="Kateryna Levchuk (UA)" userId="5dbb0cbd-4dc1-41d4-910d-5f884aef466d" providerId="ADAL" clId="{3D0DB7AE-1BA7-45E8-B6C7-4A63B94ABB52}" dt="2024-06-10T13:23:06.761" v="1022"/>
          <ac:spMkLst>
            <pc:docMk/>
            <pc:sldMk cId="2494049098" sldId="2147481919"/>
            <ac:spMk id="36" creationId="{90222B69-B079-36F9-6C24-D4EAEEAFF689}"/>
          </ac:spMkLst>
        </pc:spChg>
        <pc:grpChg chg="del">
          <ac:chgData name="Kateryna Levchuk (UA)" userId="5dbb0cbd-4dc1-41d4-910d-5f884aef466d" providerId="ADAL" clId="{3D0DB7AE-1BA7-45E8-B6C7-4A63B94ABB52}" dt="2024-06-10T11:53:26.009" v="982" actId="478"/>
          <ac:grpSpMkLst>
            <pc:docMk/>
            <pc:sldMk cId="2494049098" sldId="2147481919"/>
            <ac:grpSpMk id="3" creationId="{64004B52-3ECE-0BE9-5057-1B107BA185BE}"/>
          </ac:grpSpMkLst>
        </pc:grpChg>
        <pc:grpChg chg="add del mod">
          <ac:chgData name="Kateryna Levchuk (UA)" userId="5dbb0cbd-4dc1-41d4-910d-5f884aef466d" providerId="ADAL" clId="{3D0DB7AE-1BA7-45E8-B6C7-4A63B94ABB52}" dt="2024-06-10T13:22:38.671" v="1016" actId="478"/>
          <ac:grpSpMkLst>
            <pc:docMk/>
            <pc:sldMk cId="2494049098" sldId="2147481919"/>
            <ac:grpSpMk id="8" creationId="{651617B5-1561-A286-BCB3-D94012D51975}"/>
          </ac:grpSpMkLst>
        </pc:grpChg>
        <pc:grpChg chg="add mod">
          <ac:chgData name="Kateryna Levchuk (UA)" userId="5dbb0cbd-4dc1-41d4-910d-5f884aef466d" providerId="ADAL" clId="{3D0DB7AE-1BA7-45E8-B6C7-4A63B94ABB52}" dt="2024-06-10T13:23:06.761" v="1022"/>
          <ac:grpSpMkLst>
            <pc:docMk/>
            <pc:sldMk cId="2494049098" sldId="2147481919"/>
            <ac:grpSpMk id="30" creationId="{FC3C1F91-1680-0B6A-54D2-EE443C4A1D73}"/>
          </ac:grpSpMkLst>
        </pc:grpChg>
      </pc:sldChg>
      <pc:sldChg chg="addSp delSp modSp mod">
        <pc:chgData name="Kateryna Levchuk (UA)" userId="5dbb0cbd-4dc1-41d4-910d-5f884aef466d" providerId="ADAL" clId="{3D0DB7AE-1BA7-45E8-B6C7-4A63B94ABB52}" dt="2024-06-10T13:23:09.642" v="1023"/>
        <pc:sldMkLst>
          <pc:docMk/>
          <pc:sldMk cId="1622579242" sldId="2147481920"/>
        </pc:sldMkLst>
        <pc:spChg chg="mod">
          <ac:chgData name="Kateryna Levchuk (UA)" userId="5dbb0cbd-4dc1-41d4-910d-5f884aef466d" providerId="ADAL" clId="{3D0DB7AE-1BA7-45E8-B6C7-4A63B94ABB52}" dt="2024-06-10T11:53:45.351" v="987"/>
          <ac:spMkLst>
            <pc:docMk/>
            <pc:sldMk cId="1622579242" sldId="2147481920"/>
            <ac:spMk id="14" creationId="{0A626851-CEA3-4DEF-AE39-E8335B2CF233}"/>
          </ac:spMkLst>
        </pc:spChg>
        <pc:spChg chg="mod">
          <ac:chgData name="Kateryna Levchuk (UA)" userId="5dbb0cbd-4dc1-41d4-910d-5f884aef466d" providerId="ADAL" clId="{3D0DB7AE-1BA7-45E8-B6C7-4A63B94ABB52}" dt="2024-06-10T11:53:45.351" v="987"/>
          <ac:spMkLst>
            <pc:docMk/>
            <pc:sldMk cId="1622579242" sldId="2147481920"/>
            <ac:spMk id="15" creationId="{836366C3-42A9-60C3-F253-8182C962BBD4}"/>
          </ac:spMkLst>
        </pc:spChg>
        <pc:spChg chg="mod">
          <ac:chgData name="Kateryna Levchuk (UA)" userId="5dbb0cbd-4dc1-41d4-910d-5f884aef466d" providerId="ADAL" clId="{3D0DB7AE-1BA7-45E8-B6C7-4A63B94ABB52}" dt="2024-06-10T11:53:45.351" v="987"/>
          <ac:spMkLst>
            <pc:docMk/>
            <pc:sldMk cId="1622579242" sldId="2147481920"/>
            <ac:spMk id="16" creationId="{8CCCC24A-3911-A1F8-28CE-A7B7AE05A9DB}"/>
          </ac:spMkLst>
        </pc:spChg>
        <pc:spChg chg="mod">
          <ac:chgData name="Kateryna Levchuk (UA)" userId="5dbb0cbd-4dc1-41d4-910d-5f884aef466d" providerId="ADAL" clId="{3D0DB7AE-1BA7-45E8-B6C7-4A63B94ABB52}" dt="2024-06-10T13:22:34.011" v="1014" actId="20577"/>
          <ac:spMkLst>
            <pc:docMk/>
            <pc:sldMk cId="1622579242" sldId="2147481920"/>
            <ac:spMk id="17" creationId="{9CB33D6C-974C-329D-589A-F83030649625}"/>
          </ac:spMkLst>
        </pc:spChg>
        <pc:spChg chg="mod">
          <ac:chgData name="Kateryna Levchuk (UA)" userId="5dbb0cbd-4dc1-41d4-910d-5f884aef466d" providerId="ADAL" clId="{3D0DB7AE-1BA7-45E8-B6C7-4A63B94ABB52}" dt="2024-06-10T11:53:45.351" v="987"/>
          <ac:spMkLst>
            <pc:docMk/>
            <pc:sldMk cId="1622579242" sldId="2147481920"/>
            <ac:spMk id="20" creationId="{AE496845-58DC-CE70-68E0-7695B6D65946}"/>
          </ac:spMkLst>
        </pc:spChg>
        <pc:spChg chg="mod">
          <ac:chgData name="Kateryna Levchuk (UA)" userId="5dbb0cbd-4dc1-41d4-910d-5f884aef466d" providerId="ADAL" clId="{3D0DB7AE-1BA7-45E8-B6C7-4A63B94ABB52}" dt="2024-06-10T11:53:45.351" v="987"/>
          <ac:spMkLst>
            <pc:docMk/>
            <pc:sldMk cId="1622579242" sldId="2147481920"/>
            <ac:spMk id="28" creationId="{D98A1D07-2E11-847B-DA60-DAF095ABA43A}"/>
          </ac:spMkLst>
        </pc:spChg>
        <pc:spChg chg="mod">
          <ac:chgData name="Kateryna Levchuk (UA)" userId="5dbb0cbd-4dc1-41d4-910d-5f884aef466d" providerId="ADAL" clId="{3D0DB7AE-1BA7-45E8-B6C7-4A63B94ABB52}" dt="2024-06-10T11:53:45.351" v="987"/>
          <ac:spMkLst>
            <pc:docMk/>
            <pc:sldMk cId="1622579242" sldId="2147481920"/>
            <ac:spMk id="29" creationId="{CE8D649D-F9C1-5BA3-D593-3A3A616C2127}"/>
          </ac:spMkLst>
        </pc:spChg>
        <pc:spChg chg="mod">
          <ac:chgData name="Kateryna Levchuk (UA)" userId="5dbb0cbd-4dc1-41d4-910d-5f884aef466d" providerId="ADAL" clId="{3D0DB7AE-1BA7-45E8-B6C7-4A63B94ABB52}" dt="2024-06-10T13:22:30.702" v="1012"/>
          <ac:spMkLst>
            <pc:docMk/>
            <pc:sldMk cId="1622579242" sldId="2147481920"/>
            <ac:spMk id="31" creationId="{FC1023F7-0345-BF91-46B6-9BBA954CF12C}"/>
          </ac:spMkLst>
        </pc:spChg>
        <pc:spChg chg="mod">
          <ac:chgData name="Kateryna Levchuk (UA)" userId="5dbb0cbd-4dc1-41d4-910d-5f884aef466d" providerId="ADAL" clId="{3D0DB7AE-1BA7-45E8-B6C7-4A63B94ABB52}" dt="2024-06-10T13:22:30.702" v="1012"/>
          <ac:spMkLst>
            <pc:docMk/>
            <pc:sldMk cId="1622579242" sldId="2147481920"/>
            <ac:spMk id="32" creationId="{0514FFCC-5565-53CB-C718-64BCEA7B3F0B}"/>
          </ac:spMkLst>
        </pc:spChg>
        <pc:spChg chg="mod">
          <ac:chgData name="Kateryna Levchuk (UA)" userId="5dbb0cbd-4dc1-41d4-910d-5f884aef466d" providerId="ADAL" clId="{3D0DB7AE-1BA7-45E8-B6C7-4A63B94ABB52}" dt="2024-06-10T13:22:30.702" v="1012"/>
          <ac:spMkLst>
            <pc:docMk/>
            <pc:sldMk cId="1622579242" sldId="2147481920"/>
            <ac:spMk id="33" creationId="{1B0C64C5-4784-7960-6251-FC93946E8945}"/>
          </ac:spMkLst>
        </pc:spChg>
        <pc:spChg chg="mod">
          <ac:chgData name="Kateryna Levchuk (UA)" userId="5dbb0cbd-4dc1-41d4-910d-5f884aef466d" providerId="ADAL" clId="{3D0DB7AE-1BA7-45E8-B6C7-4A63B94ABB52}" dt="2024-06-10T13:22:30.702" v="1012"/>
          <ac:spMkLst>
            <pc:docMk/>
            <pc:sldMk cId="1622579242" sldId="2147481920"/>
            <ac:spMk id="34" creationId="{F24F0185-9FC1-DB8A-7737-CFB6A025E6CB}"/>
          </ac:spMkLst>
        </pc:spChg>
        <pc:spChg chg="mod">
          <ac:chgData name="Kateryna Levchuk (UA)" userId="5dbb0cbd-4dc1-41d4-910d-5f884aef466d" providerId="ADAL" clId="{3D0DB7AE-1BA7-45E8-B6C7-4A63B94ABB52}" dt="2024-06-10T13:22:30.702" v="1012"/>
          <ac:spMkLst>
            <pc:docMk/>
            <pc:sldMk cId="1622579242" sldId="2147481920"/>
            <ac:spMk id="35" creationId="{3F6AEDD4-2775-3E21-89A5-60E55B605F51}"/>
          </ac:spMkLst>
        </pc:spChg>
        <pc:spChg chg="mod">
          <ac:chgData name="Kateryna Levchuk (UA)" userId="5dbb0cbd-4dc1-41d4-910d-5f884aef466d" providerId="ADAL" clId="{3D0DB7AE-1BA7-45E8-B6C7-4A63B94ABB52}" dt="2024-06-10T13:22:30.702" v="1012"/>
          <ac:spMkLst>
            <pc:docMk/>
            <pc:sldMk cId="1622579242" sldId="2147481920"/>
            <ac:spMk id="36" creationId="{D76109AA-926A-5BC3-040A-1C03DF07BD2E}"/>
          </ac:spMkLst>
        </pc:spChg>
        <pc:spChg chg="mod">
          <ac:chgData name="Kateryna Levchuk (UA)" userId="5dbb0cbd-4dc1-41d4-910d-5f884aef466d" providerId="ADAL" clId="{3D0DB7AE-1BA7-45E8-B6C7-4A63B94ABB52}" dt="2024-06-10T13:23:09.642" v="1023"/>
          <ac:spMkLst>
            <pc:docMk/>
            <pc:sldMk cId="1622579242" sldId="2147481920"/>
            <ac:spMk id="38" creationId="{9074AD20-73C5-2CE3-FA1E-B97E942D70DE}"/>
          </ac:spMkLst>
        </pc:spChg>
        <pc:spChg chg="mod">
          <ac:chgData name="Kateryna Levchuk (UA)" userId="5dbb0cbd-4dc1-41d4-910d-5f884aef466d" providerId="ADAL" clId="{3D0DB7AE-1BA7-45E8-B6C7-4A63B94ABB52}" dt="2024-06-10T13:23:09.642" v="1023"/>
          <ac:spMkLst>
            <pc:docMk/>
            <pc:sldMk cId="1622579242" sldId="2147481920"/>
            <ac:spMk id="39" creationId="{69E8B370-1EDC-0830-FF9D-356549120B5C}"/>
          </ac:spMkLst>
        </pc:spChg>
        <pc:spChg chg="mod">
          <ac:chgData name="Kateryna Levchuk (UA)" userId="5dbb0cbd-4dc1-41d4-910d-5f884aef466d" providerId="ADAL" clId="{3D0DB7AE-1BA7-45E8-B6C7-4A63B94ABB52}" dt="2024-06-10T13:23:09.642" v="1023"/>
          <ac:spMkLst>
            <pc:docMk/>
            <pc:sldMk cId="1622579242" sldId="2147481920"/>
            <ac:spMk id="40" creationId="{7BC96139-71A1-962D-7F03-F84C05AF0B1F}"/>
          </ac:spMkLst>
        </pc:spChg>
        <pc:spChg chg="mod">
          <ac:chgData name="Kateryna Levchuk (UA)" userId="5dbb0cbd-4dc1-41d4-910d-5f884aef466d" providerId="ADAL" clId="{3D0DB7AE-1BA7-45E8-B6C7-4A63B94ABB52}" dt="2024-06-10T13:23:09.642" v="1023"/>
          <ac:spMkLst>
            <pc:docMk/>
            <pc:sldMk cId="1622579242" sldId="2147481920"/>
            <ac:spMk id="42" creationId="{3E808E45-D5F2-1A47-6C48-CDF0032D2FF0}"/>
          </ac:spMkLst>
        </pc:spChg>
        <pc:spChg chg="mod">
          <ac:chgData name="Kateryna Levchuk (UA)" userId="5dbb0cbd-4dc1-41d4-910d-5f884aef466d" providerId="ADAL" clId="{3D0DB7AE-1BA7-45E8-B6C7-4A63B94ABB52}" dt="2024-06-10T13:23:09.642" v="1023"/>
          <ac:spMkLst>
            <pc:docMk/>
            <pc:sldMk cId="1622579242" sldId="2147481920"/>
            <ac:spMk id="43" creationId="{C852C49E-205D-91AF-8DA0-8C8D58BF8213}"/>
          </ac:spMkLst>
        </pc:spChg>
        <pc:spChg chg="mod">
          <ac:chgData name="Kateryna Levchuk (UA)" userId="5dbb0cbd-4dc1-41d4-910d-5f884aef466d" providerId="ADAL" clId="{3D0DB7AE-1BA7-45E8-B6C7-4A63B94ABB52}" dt="2024-06-10T13:23:09.642" v="1023"/>
          <ac:spMkLst>
            <pc:docMk/>
            <pc:sldMk cId="1622579242" sldId="2147481920"/>
            <ac:spMk id="45" creationId="{A42BEDEE-E30F-046B-0715-FC740ECB3B10}"/>
          </ac:spMkLst>
        </pc:spChg>
        <pc:grpChg chg="del">
          <ac:chgData name="Kateryna Levchuk (UA)" userId="5dbb0cbd-4dc1-41d4-910d-5f884aef466d" providerId="ADAL" clId="{3D0DB7AE-1BA7-45E8-B6C7-4A63B94ABB52}" dt="2024-06-10T11:53:28.717" v="983" actId="478"/>
          <ac:grpSpMkLst>
            <pc:docMk/>
            <pc:sldMk cId="1622579242" sldId="2147481920"/>
            <ac:grpSpMk id="4" creationId="{A4AA8D42-70E2-E705-1230-A339B5C3F2E3}"/>
          </ac:grpSpMkLst>
        </pc:grpChg>
        <pc:grpChg chg="add del mod">
          <ac:chgData name="Kateryna Levchuk (UA)" userId="5dbb0cbd-4dc1-41d4-910d-5f884aef466d" providerId="ADAL" clId="{3D0DB7AE-1BA7-45E8-B6C7-4A63B94ABB52}" dt="2024-06-10T13:22:35.949" v="1015" actId="478"/>
          <ac:grpSpMkLst>
            <pc:docMk/>
            <pc:sldMk cId="1622579242" sldId="2147481920"/>
            <ac:grpSpMk id="13" creationId="{192AF650-3143-F224-0CF0-FBD61315B0B2}"/>
          </ac:grpSpMkLst>
        </pc:grpChg>
        <pc:grpChg chg="add del mod">
          <ac:chgData name="Kateryna Levchuk (UA)" userId="5dbb0cbd-4dc1-41d4-910d-5f884aef466d" providerId="ADAL" clId="{3D0DB7AE-1BA7-45E8-B6C7-4A63B94ABB52}" dt="2024-06-10T13:22:32.274" v="1013" actId="478"/>
          <ac:grpSpMkLst>
            <pc:docMk/>
            <pc:sldMk cId="1622579242" sldId="2147481920"/>
            <ac:grpSpMk id="30" creationId="{88B2695C-9BEC-CA41-8C76-92DDFC9BDA2A}"/>
          </ac:grpSpMkLst>
        </pc:grpChg>
        <pc:grpChg chg="add mod">
          <ac:chgData name="Kateryna Levchuk (UA)" userId="5dbb0cbd-4dc1-41d4-910d-5f884aef466d" providerId="ADAL" clId="{3D0DB7AE-1BA7-45E8-B6C7-4A63B94ABB52}" dt="2024-06-10T13:23:09.642" v="1023"/>
          <ac:grpSpMkLst>
            <pc:docMk/>
            <pc:sldMk cId="1622579242" sldId="2147481920"/>
            <ac:grpSpMk id="37" creationId="{018D9F7E-FBDC-E589-CD13-C0E8D0B821BB}"/>
          </ac:grpSpMkLst>
        </pc:grpChg>
      </pc:sldChg>
      <pc:sldChg chg="addSp delSp modSp mod">
        <pc:chgData name="Kateryna Levchuk (UA)" userId="5dbb0cbd-4dc1-41d4-910d-5f884aef466d" providerId="ADAL" clId="{3D0DB7AE-1BA7-45E8-B6C7-4A63B94ABB52}" dt="2024-06-10T11:56:07.912" v="1005"/>
        <pc:sldMkLst>
          <pc:docMk/>
          <pc:sldMk cId="796361483" sldId="2147481942"/>
        </pc:sldMkLst>
        <pc:spChg chg="add del">
          <ac:chgData name="Kateryna Levchuk (UA)" userId="5dbb0cbd-4dc1-41d4-910d-5f884aef466d" providerId="ADAL" clId="{3D0DB7AE-1BA7-45E8-B6C7-4A63B94ABB52}" dt="2024-06-10T11:55:54.457" v="1002" actId="22"/>
          <ac:spMkLst>
            <pc:docMk/>
            <pc:sldMk cId="796361483" sldId="2147481942"/>
            <ac:spMk id="4" creationId="{57DFC27F-BFFB-2A2A-BF5E-AE1578A21ADD}"/>
          </ac:spMkLst>
        </pc:spChg>
        <pc:spChg chg="add del mod">
          <ac:chgData name="Kateryna Levchuk (UA)" userId="5dbb0cbd-4dc1-41d4-910d-5f884aef466d" providerId="ADAL" clId="{3D0DB7AE-1BA7-45E8-B6C7-4A63B94ABB52}" dt="2024-06-10T11:56:03.251" v="1004"/>
          <ac:spMkLst>
            <pc:docMk/>
            <pc:sldMk cId="796361483" sldId="2147481942"/>
            <ac:spMk id="5" creationId="{8B28144E-2782-FD23-4FBE-FD7923BD3891}"/>
          </ac:spMkLst>
        </pc:spChg>
        <pc:spChg chg="mod">
          <ac:chgData name="Kateryna Levchuk (UA)" userId="5dbb0cbd-4dc1-41d4-910d-5f884aef466d" providerId="ADAL" clId="{3D0DB7AE-1BA7-45E8-B6C7-4A63B94ABB52}" dt="2024-06-10T11:56:07.912" v="1005"/>
          <ac:spMkLst>
            <pc:docMk/>
            <pc:sldMk cId="796361483" sldId="2147481942"/>
            <ac:spMk id="8" creationId="{F3D7E571-0E1D-B4BD-E124-8E58F43BEB6C}"/>
          </ac:spMkLst>
        </pc:spChg>
        <pc:spChg chg="mod">
          <ac:chgData name="Kateryna Levchuk (UA)" userId="5dbb0cbd-4dc1-41d4-910d-5f884aef466d" providerId="ADAL" clId="{3D0DB7AE-1BA7-45E8-B6C7-4A63B94ABB52}" dt="2024-06-10T11:56:07.912" v="1005"/>
          <ac:spMkLst>
            <pc:docMk/>
            <pc:sldMk cId="796361483" sldId="2147481942"/>
            <ac:spMk id="9" creationId="{89D10F65-5E4F-B33B-F938-AAA087E14981}"/>
          </ac:spMkLst>
        </pc:spChg>
        <pc:spChg chg="mod">
          <ac:chgData name="Kateryna Levchuk (UA)" userId="5dbb0cbd-4dc1-41d4-910d-5f884aef466d" providerId="ADAL" clId="{3D0DB7AE-1BA7-45E8-B6C7-4A63B94ABB52}" dt="2024-06-10T11:56:07.912" v="1005"/>
          <ac:spMkLst>
            <pc:docMk/>
            <pc:sldMk cId="796361483" sldId="2147481942"/>
            <ac:spMk id="10" creationId="{30DB9508-9D2B-34F2-F1C9-34DE7730AD81}"/>
          </ac:spMkLst>
        </pc:spChg>
        <pc:spChg chg="mod">
          <ac:chgData name="Kateryna Levchuk (UA)" userId="5dbb0cbd-4dc1-41d4-910d-5f884aef466d" providerId="ADAL" clId="{3D0DB7AE-1BA7-45E8-B6C7-4A63B94ABB52}" dt="2024-06-10T11:56:07.912" v="1005"/>
          <ac:spMkLst>
            <pc:docMk/>
            <pc:sldMk cId="796361483" sldId="2147481942"/>
            <ac:spMk id="11" creationId="{6998F6CC-1752-17F2-8562-7ABD42991491}"/>
          </ac:spMkLst>
        </pc:spChg>
        <pc:spChg chg="mod">
          <ac:chgData name="Kateryna Levchuk (UA)" userId="5dbb0cbd-4dc1-41d4-910d-5f884aef466d" providerId="ADAL" clId="{3D0DB7AE-1BA7-45E8-B6C7-4A63B94ABB52}" dt="2024-06-10T11:56:07.912" v="1005"/>
          <ac:spMkLst>
            <pc:docMk/>
            <pc:sldMk cId="796361483" sldId="2147481942"/>
            <ac:spMk id="12" creationId="{FA8416E3-F463-925B-0E00-D26213D7BF08}"/>
          </ac:spMkLst>
        </pc:spChg>
        <pc:spChg chg="mod">
          <ac:chgData name="Kateryna Levchuk (UA)" userId="5dbb0cbd-4dc1-41d4-910d-5f884aef466d" providerId="ADAL" clId="{3D0DB7AE-1BA7-45E8-B6C7-4A63B94ABB52}" dt="2024-06-10T11:56:07.912" v="1005"/>
          <ac:spMkLst>
            <pc:docMk/>
            <pc:sldMk cId="796361483" sldId="2147481942"/>
            <ac:spMk id="13" creationId="{F098ECA2-D623-6E37-C455-3EDC2478C72C}"/>
          </ac:spMkLst>
        </pc:spChg>
        <pc:spChg chg="mod">
          <ac:chgData name="Kateryna Levchuk (UA)" userId="5dbb0cbd-4dc1-41d4-910d-5f884aef466d" providerId="ADAL" clId="{3D0DB7AE-1BA7-45E8-B6C7-4A63B94ABB52}" dt="2024-06-10T11:56:07.912" v="1005"/>
          <ac:spMkLst>
            <pc:docMk/>
            <pc:sldMk cId="796361483" sldId="2147481942"/>
            <ac:spMk id="14" creationId="{6783B4EC-C65B-6196-A45A-8F355CDF6ED8}"/>
          </ac:spMkLst>
        </pc:spChg>
        <pc:grpChg chg="add mod">
          <ac:chgData name="Kateryna Levchuk (UA)" userId="5dbb0cbd-4dc1-41d4-910d-5f884aef466d" providerId="ADAL" clId="{3D0DB7AE-1BA7-45E8-B6C7-4A63B94ABB52}" dt="2024-06-10T11:56:07.912" v="1005"/>
          <ac:grpSpMkLst>
            <pc:docMk/>
            <pc:sldMk cId="796361483" sldId="2147481942"/>
            <ac:grpSpMk id="6" creationId="{0B95653E-AFE7-717A-C0B2-7D21283242CF}"/>
          </ac:grpSpMkLst>
        </pc:grpChg>
      </pc:sldChg>
      <pc:sldChg chg="addSp delSp modSp mod">
        <pc:chgData name="Kateryna Levchuk (UA)" userId="5dbb0cbd-4dc1-41d4-910d-5f884aef466d" providerId="ADAL" clId="{3D0DB7AE-1BA7-45E8-B6C7-4A63B94ABB52}" dt="2024-06-10T13:25:20.628" v="1047"/>
        <pc:sldMkLst>
          <pc:docMk/>
          <pc:sldMk cId="4049782693" sldId="2147481949"/>
        </pc:sldMkLst>
        <pc:spChg chg="mod">
          <ac:chgData name="Kateryna Levchuk (UA)" userId="5dbb0cbd-4dc1-41d4-910d-5f884aef466d" providerId="ADAL" clId="{3D0DB7AE-1BA7-45E8-B6C7-4A63B94ABB52}" dt="2024-06-10T13:25:20.628" v="1047"/>
          <ac:spMkLst>
            <pc:docMk/>
            <pc:sldMk cId="4049782693" sldId="2147481949"/>
            <ac:spMk id="21" creationId="{841DC543-5AD7-3D23-33EF-CC43AB7ED5B6}"/>
          </ac:spMkLst>
        </pc:spChg>
        <pc:spChg chg="mod">
          <ac:chgData name="Kateryna Levchuk (UA)" userId="5dbb0cbd-4dc1-41d4-910d-5f884aef466d" providerId="ADAL" clId="{3D0DB7AE-1BA7-45E8-B6C7-4A63B94ABB52}" dt="2024-06-10T13:25:20.628" v="1047"/>
          <ac:spMkLst>
            <pc:docMk/>
            <pc:sldMk cId="4049782693" sldId="2147481949"/>
            <ac:spMk id="25" creationId="{6E493C53-6221-0F77-DD52-F6D83718323C}"/>
          </ac:spMkLst>
        </pc:spChg>
        <pc:spChg chg="mod">
          <ac:chgData name="Kateryna Levchuk (UA)" userId="5dbb0cbd-4dc1-41d4-910d-5f884aef466d" providerId="ADAL" clId="{3D0DB7AE-1BA7-45E8-B6C7-4A63B94ABB52}" dt="2024-06-10T13:25:20.628" v="1047"/>
          <ac:spMkLst>
            <pc:docMk/>
            <pc:sldMk cId="4049782693" sldId="2147481949"/>
            <ac:spMk id="26" creationId="{03C4D4A6-1AD3-E83A-7E9F-DE55EB4ADF38}"/>
          </ac:spMkLst>
        </pc:spChg>
        <pc:spChg chg="mod">
          <ac:chgData name="Kateryna Levchuk (UA)" userId="5dbb0cbd-4dc1-41d4-910d-5f884aef466d" providerId="ADAL" clId="{3D0DB7AE-1BA7-45E8-B6C7-4A63B94ABB52}" dt="2024-06-10T13:25:20.628" v="1047"/>
          <ac:spMkLst>
            <pc:docMk/>
            <pc:sldMk cId="4049782693" sldId="2147481949"/>
            <ac:spMk id="27" creationId="{8D8C6572-059F-BB69-1289-796437672E40}"/>
          </ac:spMkLst>
        </pc:spChg>
        <pc:spChg chg="mod">
          <ac:chgData name="Kateryna Levchuk (UA)" userId="5dbb0cbd-4dc1-41d4-910d-5f884aef466d" providerId="ADAL" clId="{3D0DB7AE-1BA7-45E8-B6C7-4A63B94ABB52}" dt="2024-06-10T13:25:20.628" v="1047"/>
          <ac:spMkLst>
            <pc:docMk/>
            <pc:sldMk cId="4049782693" sldId="2147481949"/>
            <ac:spMk id="30" creationId="{990CA015-E5CF-01C7-314D-D8343A0D3D70}"/>
          </ac:spMkLst>
        </pc:spChg>
        <pc:spChg chg="mod">
          <ac:chgData name="Kateryna Levchuk (UA)" userId="5dbb0cbd-4dc1-41d4-910d-5f884aef466d" providerId="ADAL" clId="{3D0DB7AE-1BA7-45E8-B6C7-4A63B94ABB52}" dt="2024-06-10T13:25:20.628" v="1047"/>
          <ac:spMkLst>
            <pc:docMk/>
            <pc:sldMk cId="4049782693" sldId="2147481949"/>
            <ac:spMk id="31" creationId="{B9C5025A-294E-6E34-D4B4-8C189316722E}"/>
          </ac:spMkLst>
        </pc:spChg>
        <pc:grpChg chg="add mod">
          <ac:chgData name="Kateryna Levchuk (UA)" userId="5dbb0cbd-4dc1-41d4-910d-5f884aef466d" providerId="ADAL" clId="{3D0DB7AE-1BA7-45E8-B6C7-4A63B94ABB52}" dt="2024-06-10T13:25:20.628" v="1047"/>
          <ac:grpSpMkLst>
            <pc:docMk/>
            <pc:sldMk cId="4049782693" sldId="2147481949"/>
            <ac:grpSpMk id="3" creationId="{0F5BC93F-5FAE-52F1-C6AB-940899A2DBC4}"/>
          </ac:grpSpMkLst>
        </pc:grpChg>
        <pc:grpChg chg="del">
          <ac:chgData name="Kateryna Levchuk (UA)" userId="5dbb0cbd-4dc1-41d4-910d-5f884aef466d" providerId="ADAL" clId="{3D0DB7AE-1BA7-45E8-B6C7-4A63B94ABB52}" dt="2024-06-10T13:25:01.612" v="1039" actId="478"/>
          <ac:grpSpMkLst>
            <pc:docMk/>
            <pc:sldMk cId="4049782693" sldId="2147481949"/>
            <ac:grpSpMk id="20" creationId="{D1E08981-553E-44D6-D155-4360CA62754A}"/>
          </ac:grpSpMkLst>
        </pc:grpChg>
      </pc:sldChg>
      <pc:sldChg chg="addSp delSp modSp mod">
        <pc:chgData name="Kateryna Levchuk (UA)" userId="5dbb0cbd-4dc1-41d4-910d-5f884aef466d" providerId="ADAL" clId="{3D0DB7AE-1BA7-45E8-B6C7-4A63B94ABB52}" dt="2024-06-10T13:25:19.050" v="1046"/>
        <pc:sldMkLst>
          <pc:docMk/>
          <pc:sldMk cId="3702537864" sldId="2147481950"/>
        </pc:sldMkLst>
        <pc:spChg chg="mod">
          <ac:chgData name="Kateryna Levchuk (UA)" userId="5dbb0cbd-4dc1-41d4-910d-5f884aef466d" providerId="ADAL" clId="{3D0DB7AE-1BA7-45E8-B6C7-4A63B94ABB52}" dt="2024-06-10T13:25:19.050" v="1046"/>
          <ac:spMkLst>
            <pc:docMk/>
            <pc:sldMk cId="3702537864" sldId="2147481950"/>
            <ac:spMk id="13" creationId="{9F4EB62A-491F-C087-B4BC-9A0434BA4222}"/>
          </ac:spMkLst>
        </pc:spChg>
        <pc:spChg chg="mod">
          <ac:chgData name="Kateryna Levchuk (UA)" userId="5dbb0cbd-4dc1-41d4-910d-5f884aef466d" providerId="ADAL" clId="{3D0DB7AE-1BA7-45E8-B6C7-4A63B94ABB52}" dt="2024-06-10T13:25:19.050" v="1046"/>
          <ac:spMkLst>
            <pc:docMk/>
            <pc:sldMk cId="3702537864" sldId="2147481950"/>
            <ac:spMk id="14" creationId="{741E16A7-F2E6-0CAF-0DB0-29AF09EC9A42}"/>
          </ac:spMkLst>
        </pc:spChg>
        <pc:spChg chg="mod">
          <ac:chgData name="Kateryna Levchuk (UA)" userId="5dbb0cbd-4dc1-41d4-910d-5f884aef466d" providerId="ADAL" clId="{3D0DB7AE-1BA7-45E8-B6C7-4A63B94ABB52}" dt="2024-06-10T13:25:19.050" v="1046"/>
          <ac:spMkLst>
            <pc:docMk/>
            <pc:sldMk cId="3702537864" sldId="2147481950"/>
            <ac:spMk id="38" creationId="{5CB98F3D-8E53-B8FA-6471-A457187F0CC8}"/>
          </ac:spMkLst>
        </pc:spChg>
        <pc:spChg chg="mod">
          <ac:chgData name="Kateryna Levchuk (UA)" userId="5dbb0cbd-4dc1-41d4-910d-5f884aef466d" providerId="ADAL" clId="{3D0DB7AE-1BA7-45E8-B6C7-4A63B94ABB52}" dt="2024-06-10T13:25:19.050" v="1046"/>
          <ac:spMkLst>
            <pc:docMk/>
            <pc:sldMk cId="3702537864" sldId="2147481950"/>
            <ac:spMk id="39" creationId="{BD48E147-344C-0952-A0FB-910046066CBF}"/>
          </ac:spMkLst>
        </pc:spChg>
        <pc:spChg chg="mod">
          <ac:chgData name="Kateryna Levchuk (UA)" userId="5dbb0cbd-4dc1-41d4-910d-5f884aef466d" providerId="ADAL" clId="{3D0DB7AE-1BA7-45E8-B6C7-4A63B94ABB52}" dt="2024-06-10T13:25:19.050" v="1046"/>
          <ac:spMkLst>
            <pc:docMk/>
            <pc:sldMk cId="3702537864" sldId="2147481950"/>
            <ac:spMk id="40" creationId="{11AB965C-104D-A9D8-378D-2183539A2A62}"/>
          </ac:spMkLst>
        </pc:spChg>
        <pc:spChg chg="mod">
          <ac:chgData name="Kateryna Levchuk (UA)" userId="5dbb0cbd-4dc1-41d4-910d-5f884aef466d" providerId="ADAL" clId="{3D0DB7AE-1BA7-45E8-B6C7-4A63B94ABB52}" dt="2024-06-10T13:25:19.050" v="1046"/>
          <ac:spMkLst>
            <pc:docMk/>
            <pc:sldMk cId="3702537864" sldId="2147481950"/>
            <ac:spMk id="41" creationId="{FB992A79-4143-CAF8-DE7F-37636BB92036}"/>
          </ac:spMkLst>
        </pc:spChg>
        <pc:grpChg chg="add mod">
          <ac:chgData name="Kateryna Levchuk (UA)" userId="5dbb0cbd-4dc1-41d4-910d-5f884aef466d" providerId="ADAL" clId="{3D0DB7AE-1BA7-45E8-B6C7-4A63B94ABB52}" dt="2024-06-10T13:25:19.050" v="1046"/>
          <ac:grpSpMkLst>
            <pc:docMk/>
            <pc:sldMk cId="3702537864" sldId="2147481950"/>
            <ac:grpSpMk id="3" creationId="{DB2CD9FC-FA73-D3B1-C5A3-AF38C8F42AEE}"/>
          </ac:grpSpMkLst>
        </pc:grpChg>
        <pc:grpChg chg="del">
          <ac:chgData name="Kateryna Levchuk (UA)" userId="5dbb0cbd-4dc1-41d4-910d-5f884aef466d" providerId="ADAL" clId="{3D0DB7AE-1BA7-45E8-B6C7-4A63B94ABB52}" dt="2024-06-10T13:24:55.314" v="1038" actId="478"/>
          <ac:grpSpMkLst>
            <pc:docMk/>
            <pc:sldMk cId="3702537864" sldId="2147481950"/>
            <ac:grpSpMk id="44" creationId="{6A96F7A7-599B-B54C-5478-6A50842BFC2C}"/>
          </ac:grpSpMkLst>
        </pc:grpChg>
      </pc:sldChg>
      <pc:sldChg chg="addSp delSp modSp mod">
        <pc:chgData name="Kateryna Levchuk (UA)" userId="5dbb0cbd-4dc1-41d4-910d-5f884aef466d" providerId="ADAL" clId="{3D0DB7AE-1BA7-45E8-B6C7-4A63B94ABB52}" dt="2024-06-10T13:25:16.890" v="1045"/>
        <pc:sldMkLst>
          <pc:docMk/>
          <pc:sldMk cId="3939567711" sldId="2147481951"/>
        </pc:sldMkLst>
        <pc:spChg chg="mod">
          <ac:chgData name="Kateryna Levchuk (UA)" userId="5dbb0cbd-4dc1-41d4-910d-5f884aef466d" providerId="ADAL" clId="{3D0DB7AE-1BA7-45E8-B6C7-4A63B94ABB52}" dt="2024-06-10T13:25:16.890" v="1045"/>
          <ac:spMkLst>
            <pc:docMk/>
            <pc:sldMk cId="3939567711" sldId="2147481951"/>
            <ac:spMk id="14" creationId="{82953135-D846-872C-4AEA-A5D7B3B3D94F}"/>
          </ac:spMkLst>
        </pc:spChg>
        <pc:spChg chg="mod">
          <ac:chgData name="Kateryna Levchuk (UA)" userId="5dbb0cbd-4dc1-41d4-910d-5f884aef466d" providerId="ADAL" clId="{3D0DB7AE-1BA7-45E8-B6C7-4A63B94ABB52}" dt="2024-06-10T13:25:16.890" v="1045"/>
          <ac:spMkLst>
            <pc:docMk/>
            <pc:sldMk cId="3939567711" sldId="2147481951"/>
            <ac:spMk id="17" creationId="{022FA393-65AA-DFC9-87CE-8DAC98385649}"/>
          </ac:spMkLst>
        </pc:spChg>
        <pc:spChg chg="mod">
          <ac:chgData name="Kateryna Levchuk (UA)" userId="5dbb0cbd-4dc1-41d4-910d-5f884aef466d" providerId="ADAL" clId="{3D0DB7AE-1BA7-45E8-B6C7-4A63B94ABB52}" dt="2024-06-10T13:25:16.890" v="1045"/>
          <ac:spMkLst>
            <pc:docMk/>
            <pc:sldMk cId="3939567711" sldId="2147481951"/>
            <ac:spMk id="18" creationId="{94BAC2A8-1BC5-3716-0002-ADAD526F6A12}"/>
          </ac:spMkLst>
        </pc:spChg>
        <pc:spChg chg="mod">
          <ac:chgData name="Kateryna Levchuk (UA)" userId="5dbb0cbd-4dc1-41d4-910d-5f884aef466d" providerId="ADAL" clId="{3D0DB7AE-1BA7-45E8-B6C7-4A63B94ABB52}" dt="2024-06-10T13:25:16.890" v="1045"/>
          <ac:spMkLst>
            <pc:docMk/>
            <pc:sldMk cId="3939567711" sldId="2147481951"/>
            <ac:spMk id="19" creationId="{2E0C987B-497F-6EB6-E0A9-54FC6133F2A9}"/>
          </ac:spMkLst>
        </pc:spChg>
        <pc:spChg chg="mod">
          <ac:chgData name="Kateryna Levchuk (UA)" userId="5dbb0cbd-4dc1-41d4-910d-5f884aef466d" providerId="ADAL" clId="{3D0DB7AE-1BA7-45E8-B6C7-4A63B94ABB52}" dt="2024-06-10T13:25:16.890" v="1045"/>
          <ac:spMkLst>
            <pc:docMk/>
            <pc:sldMk cId="3939567711" sldId="2147481951"/>
            <ac:spMk id="20" creationId="{B11D3232-1C8D-8916-AABB-2D3EC16A940D}"/>
          </ac:spMkLst>
        </pc:spChg>
        <pc:spChg chg="mod">
          <ac:chgData name="Kateryna Levchuk (UA)" userId="5dbb0cbd-4dc1-41d4-910d-5f884aef466d" providerId="ADAL" clId="{3D0DB7AE-1BA7-45E8-B6C7-4A63B94ABB52}" dt="2024-06-10T13:25:16.890" v="1045"/>
          <ac:spMkLst>
            <pc:docMk/>
            <pc:sldMk cId="3939567711" sldId="2147481951"/>
            <ac:spMk id="21" creationId="{C2461BEF-07A2-C6E4-7B48-23751E3808CC}"/>
          </ac:spMkLst>
        </pc:spChg>
        <pc:spChg chg="mod">
          <ac:chgData name="Kateryna Levchuk (UA)" userId="5dbb0cbd-4dc1-41d4-910d-5f884aef466d" providerId="ADAL" clId="{3D0DB7AE-1BA7-45E8-B6C7-4A63B94ABB52}" dt="2024-06-10T09:23:49.257" v="0" actId="14100"/>
          <ac:spMkLst>
            <pc:docMk/>
            <pc:sldMk cId="3939567711" sldId="2147481951"/>
            <ac:spMk id="51" creationId="{2F6DC4B8-9940-E974-DFE7-A68FEC09CF64}"/>
          </ac:spMkLst>
        </pc:spChg>
        <pc:grpChg chg="add mod">
          <ac:chgData name="Kateryna Levchuk (UA)" userId="5dbb0cbd-4dc1-41d4-910d-5f884aef466d" providerId="ADAL" clId="{3D0DB7AE-1BA7-45E8-B6C7-4A63B94ABB52}" dt="2024-06-10T13:25:16.890" v="1045"/>
          <ac:grpSpMkLst>
            <pc:docMk/>
            <pc:sldMk cId="3939567711" sldId="2147481951"/>
            <ac:grpSpMk id="13" creationId="{58364D98-46CB-49A5-C4EF-AED4A70A8A8A}"/>
          </ac:grpSpMkLst>
        </pc:grpChg>
        <pc:grpChg chg="del">
          <ac:chgData name="Kateryna Levchuk (UA)" userId="5dbb0cbd-4dc1-41d4-910d-5f884aef466d" providerId="ADAL" clId="{3D0DB7AE-1BA7-45E8-B6C7-4A63B94ABB52}" dt="2024-06-10T13:24:50.024" v="1037" actId="478"/>
          <ac:grpSpMkLst>
            <pc:docMk/>
            <pc:sldMk cId="3939567711" sldId="2147481951"/>
            <ac:grpSpMk id="24" creationId="{F563CE39-E9A0-FC8F-917A-CBE225CFC4D4}"/>
          </ac:grpSpMkLst>
        </pc:grpChg>
      </pc:sldChg>
      <pc:sldChg chg="addSp delSp modSp mod">
        <pc:chgData name="Kateryna Levchuk (UA)" userId="5dbb0cbd-4dc1-41d4-910d-5f884aef466d" providerId="ADAL" clId="{3D0DB7AE-1BA7-45E8-B6C7-4A63B94ABB52}" dt="2024-06-10T13:25:11.975" v="1042"/>
        <pc:sldMkLst>
          <pc:docMk/>
          <pc:sldMk cId="8764514" sldId="2147481952"/>
        </pc:sldMkLst>
        <pc:spChg chg="mod">
          <ac:chgData name="Kateryna Levchuk (UA)" userId="5dbb0cbd-4dc1-41d4-910d-5f884aef466d" providerId="ADAL" clId="{3D0DB7AE-1BA7-45E8-B6C7-4A63B94ABB52}" dt="2024-06-10T13:25:11.975" v="1042"/>
          <ac:spMkLst>
            <pc:docMk/>
            <pc:sldMk cId="8764514" sldId="2147481952"/>
            <ac:spMk id="25" creationId="{8F4A8D62-F27D-CA16-CE4A-B786D12738D2}"/>
          </ac:spMkLst>
        </pc:spChg>
        <pc:spChg chg="mod">
          <ac:chgData name="Kateryna Levchuk (UA)" userId="5dbb0cbd-4dc1-41d4-910d-5f884aef466d" providerId="ADAL" clId="{3D0DB7AE-1BA7-45E8-B6C7-4A63B94ABB52}" dt="2024-06-10T13:25:11.975" v="1042"/>
          <ac:spMkLst>
            <pc:docMk/>
            <pc:sldMk cId="8764514" sldId="2147481952"/>
            <ac:spMk id="26" creationId="{0AE624D0-D140-EEBF-CEEA-98CDF979ACF3}"/>
          </ac:spMkLst>
        </pc:spChg>
        <pc:spChg chg="mod">
          <ac:chgData name="Kateryna Levchuk (UA)" userId="5dbb0cbd-4dc1-41d4-910d-5f884aef466d" providerId="ADAL" clId="{3D0DB7AE-1BA7-45E8-B6C7-4A63B94ABB52}" dt="2024-06-10T13:25:11.975" v="1042"/>
          <ac:spMkLst>
            <pc:docMk/>
            <pc:sldMk cId="8764514" sldId="2147481952"/>
            <ac:spMk id="27" creationId="{D5A4D9CF-FCBA-6926-9AFD-BAA810416359}"/>
          </ac:spMkLst>
        </pc:spChg>
        <pc:spChg chg="mod">
          <ac:chgData name="Kateryna Levchuk (UA)" userId="5dbb0cbd-4dc1-41d4-910d-5f884aef466d" providerId="ADAL" clId="{3D0DB7AE-1BA7-45E8-B6C7-4A63B94ABB52}" dt="2024-06-10T13:25:11.975" v="1042"/>
          <ac:spMkLst>
            <pc:docMk/>
            <pc:sldMk cId="8764514" sldId="2147481952"/>
            <ac:spMk id="28" creationId="{6CC6ADB5-77C0-1170-4641-FFE7E0A4A9CB}"/>
          </ac:spMkLst>
        </pc:spChg>
        <pc:spChg chg="mod">
          <ac:chgData name="Kateryna Levchuk (UA)" userId="5dbb0cbd-4dc1-41d4-910d-5f884aef466d" providerId="ADAL" clId="{3D0DB7AE-1BA7-45E8-B6C7-4A63B94ABB52}" dt="2024-06-10T13:25:11.975" v="1042"/>
          <ac:spMkLst>
            <pc:docMk/>
            <pc:sldMk cId="8764514" sldId="2147481952"/>
            <ac:spMk id="29" creationId="{F4CB913E-F152-7A20-4574-1CBB55BA5428}"/>
          </ac:spMkLst>
        </pc:spChg>
        <pc:spChg chg="mod">
          <ac:chgData name="Kateryna Levchuk (UA)" userId="5dbb0cbd-4dc1-41d4-910d-5f884aef466d" providerId="ADAL" clId="{3D0DB7AE-1BA7-45E8-B6C7-4A63B94ABB52}" dt="2024-06-10T13:25:11.975" v="1042"/>
          <ac:spMkLst>
            <pc:docMk/>
            <pc:sldMk cId="8764514" sldId="2147481952"/>
            <ac:spMk id="30" creationId="{D5CDE7B3-883B-EDA8-4990-66C6245F1B78}"/>
          </ac:spMkLst>
        </pc:spChg>
        <pc:grpChg chg="add mod">
          <ac:chgData name="Kateryna Levchuk (UA)" userId="5dbb0cbd-4dc1-41d4-910d-5f884aef466d" providerId="ADAL" clId="{3D0DB7AE-1BA7-45E8-B6C7-4A63B94ABB52}" dt="2024-06-10T13:25:11.975" v="1042"/>
          <ac:grpSpMkLst>
            <pc:docMk/>
            <pc:sldMk cId="8764514" sldId="2147481952"/>
            <ac:grpSpMk id="4" creationId="{E44AE4DC-6289-993D-0A23-874314D3457D}"/>
          </ac:grpSpMkLst>
        </pc:grpChg>
        <pc:grpChg chg="del">
          <ac:chgData name="Kateryna Levchuk (UA)" userId="5dbb0cbd-4dc1-41d4-910d-5f884aef466d" providerId="ADAL" clId="{3D0DB7AE-1BA7-45E8-B6C7-4A63B94ABB52}" dt="2024-06-10T13:24:41.518" v="1033" actId="478"/>
          <ac:grpSpMkLst>
            <pc:docMk/>
            <pc:sldMk cId="8764514" sldId="2147481952"/>
            <ac:grpSpMk id="33" creationId="{97B78DF5-D688-FC90-51A7-E3DCA72B1ACA}"/>
          </ac:grpSpMkLst>
        </pc:grpChg>
      </pc:sldChg>
      <pc:sldChg chg="addSp delSp modSp mod">
        <pc:chgData name="Kateryna Levchuk (UA)" userId="5dbb0cbd-4dc1-41d4-910d-5f884aef466d" providerId="ADAL" clId="{3D0DB7AE-1BA7-45E8-B6C7-4A63B94ABB52}" dt="2024-06-10T11:55:47.086" v="1000" actId="164"/>
        <pc:sldMkLst>
          <pc:docMk/>
          <pc:sldMk cId="1261692589" sldId="2147481953"/>
        </pc:sldMkLst>
        <pc:spChg chg="mod topLvl">
          <ac:chgData name="Kateryna Levchuk (UA)" userId="5dbb0cbd-4dc1-41d4-910d-5f884aef466d" providerId="ADAL" clId="{3D0DB7AE-1BA7-45E8-B6C7-4A63B94ABB52}" dt="2024-06-10T11:55:47.086" v="1000" actId="164"/>
          <ac:spMkLst>
            <pc:docMk/>
            <pc:sldMk cId="1261692589" sldId="2147481953"/>
            <ac:spMk id="23" creationId="{1E2C0766-59D0-B5CA-00D4-72892E4722BA}"/>
          </ac:spMkLst>
        </pc:spChg>
        <pc:spChg chg="mod topLvl">
          <ac:chgData name="Kateryna Levchuk (UA)" userId="5dbb0cbd-4dc1-41d4-910d-5f884aef466d" providerId="ADAL" clId="{3D0DB7AE-1BA7-45E8-B6C7-4A63B94ABB52}" dt="2024-06-10T11:55:47.086" v="1000" actId="164"/>
          <ac:spMkLst>
            <pc:docMk/>
            <pc:sldMk cId="1261692589" sldId="2147481953"/>
            <ac:spMk id="24" creationId="{FD1E0699-7B6C-5BF9-24B5-0286D87F7F0C}"/>
          </ac:spMkLst>
        </pc:spChg>
        <pc:spChg chg="mod topLvl">
          <ac:chgData name="Kateryna Levchuk (UA)" userId="5dbb0cbd-4dc1-41d4-910d-5f884aef466d" providerId="ADAL" clId="{3D0DB7AE-1BA7-45E8-B6C7-4A63B94ABB52}" dt="2024-06-10T11:55:47.086" v="1000" actId="164"/>
          <ac:spMkLst>
            <pc:docMk/>
            <pc:sldMk cId="1261692589" sldId="2147481953"/>
            <ac:spMk id="25" creationId="{BE8D66F0-5178-413F-1F6D-BB1CC7B54BEA}"/>
          </ac:spMkLst>
        </pc:spChg>
        <pc:spChg chg="mod topLvl">
          <ac:chgData name="Kateryna Levchuk (UA)" userId="5dbb0cbd-4dc1-41d4-910d-5f884aef466d" providerId="ADAL" clId="{3D0DB7AE-1BA7-45E8-B6C7-4A63B94ABB52}" dt="2024-06-10T11:55:47.086" v="1000" actId="164"/>
          <ac:spMkLst>
            <pc:docMk/>
            <pc:sldMk cId="1261692589" sldId="2147481953"/>
            <ac:spMk id="33" creationId="{5AADCA6B-6E39-D9BB-DF78-CAC623313160}"/>
          </ac:spMkLst>
        </pc:spChg>
        <pc:spChg chg="mod topLvl">
          <ac:chgData name="Kateryna Levchuk (UA)" userId="5dbb0cbd-4dc1-41d4-910d-5f884aef466d" providerId="ADAL" clId="{3D0DB7AE-1BA7-45E8-B6C7-4A63B94ABB52}" dt="2024-06-10T11:55:47.086" v="1000" actId="164"/>
          <ac:spMkLst>
            <pc:docMk/>
            <pc:sldMk cId="1261692589" sldId="2147481953"/>
            <ac:spMk id="34" creationId="{C0F47930-853F-D9EF-48A7-1D6BACC41D29}"/>
          </ac:spMkLst>
        </pc:spChg>
        <pc:spChg chg="mod topLvl">
          <ac:chgData name="Kateryna Levchuk (UA)" userId="5dbb0cbd-4dc1-41d4-910d-5f884aef466d" providerId="ADAL" clId="{3D0DB7AE-1BA7-45E8-B6C7-4A63B94ABB52}" dt="2024-06-10T11:55:47.086" v="1000" actId="164"/>
          <ac:spMkLst>
            <pc:docMk/>
            <pc:sldMk cId="1261692589" sldId="2147481953"/>
            <ac:spMk id="35" creationId="{EA2DB132-FBE2-839B-BDEB-B3AE49FC28A0}"/>
          </ac:spMkLst>
        </pc:spChg>
        <pc:spChg chg="mod topLvl">
          <ac:chgData name="Kateryna Levchuk (UA)" userId="5dbb0cbd-4dc1-41d4-910d-5f884aef466d" providerId="ADAL" clId="{3D0DB7AE-1BA7-45E8-B6C7-4A63B94ABB52}" dt="2024-06-10T11:55:47.086" v="1000" actId="164"/>
          <ac:spMkLst>
            <pc:docMk/>
            <pc:sldMk cId="1261692589" sldId="2147481953"/>
            <ac:spMk id="36" creationId="{65BCD2B3-51BE-1F41-CA24-B886B1E789B7}"/>
          </ac:spMkLst>
        </pc:spChg>
        <pc:grpChg chg="add mod">
          <ac:chgData name="Kateryna Levchuk (UA)" userId="5dbb0cbd-4dc1-41d4-910d-5f884aef466d" providerId="ADAL" clId="{3D0DB7AE-1BA7-45E8-B6C7-4A63B94ABB52}" dt="2024-06-10T11:55:47.086" v="1000" actId="164"/>
          <ac:grpSpMkLst>
            <pc:docMk/>
            <pc:sldMk cId="1261692589" sldId="2147481953"/>
            <ac:grpSpMk id="8" creationId="{31AE564F-7AF8-2218-EFDF-3396876D8519}"/>
          </ac:grpSpMkLst>
        </pc:grpChg>
        <pc:grpChg chg="del">
          <ac:chgData name="Kateryna Levchuk (UA)" userId="5dbb0cbd-4dc1-41d4-910d-5f884aef466d" providerId="ADAL" clId="{3D0DB7AE-1BA7-45E8-B6C7-4A63B94ABB52}" dt="2024-06-10T11:54:35.839" v="990" actId="165"/>
          <ac:grpSpMkLst>
            <pc:docMk/>
            <pc:sldMk cId="1261692589" sldId="2147481953"/>
            <ac:grpSpMk id="22" creationId="{B9783007-E82C-FDC9-26A2-79C23C22898C}"/>
          </ac:grpSpMkLst>
        </pc:grpChg>
      </pc:sldChg>
      <pc:sldChg chg="addSp delSp modSp mod">
        <pc:chgData name="Kateryna Levchuk (UA)" userId="5dbb0cbd-4dc1-41d4-910d-5f884aef466d" providerId="ADAL" clId="{3D0DB7AE-1BA7-45E8-B6C7-4A63B94ABB52}" dt="2024-06-10T13:25:08.500" v="1040"/>
        <pc:sldMkLst>
          <pc:docMk/>
          <pc:sldMk cId="2037616446" sldId="2147481956"/>
        </pc:sldMkLst>
        <pc:spChg chg="mod">
          <ac:chgData name="Kateryna Levchuk (UA)" userId="5dbb0cbd-4dc1-41d4-910d-5f884aef466d" providerId="ADAL" clId="{3D0DB7AE-1BA7-45E8-B6C7-4A63B94ABB52}" dt="2024-06-10T10:52:35.781" v="560" actId="403"/>
          <ac:spMkLst>
            <pc:docMk/>
            <pc:sldMk cId="2037616446" sldId="2147481956"/>
            <ac:spMk id="9" creationId="{E60771D5-36B1-5846-E0FD-EE10BA67E143}"/>
          </ac:spMkLst>
        </pc:spChg>
        <pc:spChg chg="mod">
          <ac:chgData name="Kateryna Levchuk (UA)" userId="5dbb0cbd-4dc1-41d4-910d-5f884aef466d" providerId="ADAL" clId="{3D0DB7AE-1BA7-45E8-B6C7-4A63B94ABB52}" dt="2024-06-10T10:52:27.282" v="559" actId="403"/>
          <ac:spMkLst>
            <pc:docMk/>
            <pc:sldMk cId="2037616446" sldId="2147481956"/>
            <ac:spMk id="10" creationId="{0E3AF958-70C4-357F-D986-53A75E5CF63B}"/>
          </ac:spMkLst>
        </pc:spChg>
        <pc:spChg chg="mod">
          <ac:chgData name="Kateryna Levchuk (UA)" userId="5dbb0cbd-4dc1-41d4-910d-5f884aef466d" providerId="ADAL" clId="{3D0DB7AE-1BA7-45E8-B6C7-4A63B94ABB52}" dt="2024-06-10T13:25:08.500" v="1040"/>
          <ac:spMkLst>
            <pc:docMk/>
            <pc:sldMk cId="2037616446" sldId="2147481956"/>
            <ac:spMk id="27" creationId="{40C72817-0168-2147-1DC7-663B13D0836F}"/>
          </ac:spMkLst>
        </pc:spChg>
        <pc:spChg chg="mod">
          <ac:chgData name="Kateryna Levchuk (UA)" userId="5dbb0cbd-4dc1-41d4-910d-5f884aef466d" providerId="ADAL" clId="{3D0DB7AE-1BA7-45E8-B6C7-4A63B94ABB52}" dt="2024-06-10T13:25:08.500" v="1040"/>
          <ac:spMkLst>
            <pc:docMk/>
            <pc:sldMk cId="2037616446" sldId="2147481956"/>
            <ac:spMk id="28" creationId="{96B018D0-43D3-DA81-3781-CC87B8649BF5}"/>
          </ac:spMkLst>
        </pc:spChg>
        <pc:spChg chg="mod">
          <ac:chgData name="Kateryna Levchuk (UA)" userId="5dbb0cbd-4dc1-41d4-910d-5f884aef466d" providerId="ADAL" clId="{3D0DB7AE-1BA7-45E8-B6C7-4A63B94ABB52}" dt="2024-06-10T13:25:08.500" v="1040"/>
          <ac:spMkLst>
            <pc:docMk/>
            <pc:sldMk cId="2037616446" sldId="2147481956"/>
            <ac:spMk id="29" creationId="{4F15EC1D-F788-C90D-1409-3B37FFEB397E}"/>
          </ac:spMkLst>
        </pc:spChg>
        <pc:spChg chg="mod">
          <ac:chgData name="Kateryna Levchuk (UA)" userId="5dbb0cbd-4dc1-41d4-910d-5f884aef466d" providerId="ADAL" clId="{3D0DB7AE-1BA7-45E8-B6C7-4A63B94ABB52}" dt="2024-06-10T13:25:08.500" v="1040"/>
          <ac:spMkLst>
            <pc:docMk/>
            <pc:sldMk cId="2037616446" sldId="2147481956"/>
            <ac:spMk id="30" creationId="{2F2C5E84-ACA8-6A03-F7C3-80CA61A1B1D0}"/>
          </ac:spMkLst>
        </pc:spChg>
        <pc:spChg chg="mod">
          <ac:chgData name="Kateryna Levchuk (UA)" userId="5dbb0cbd-4dc1-41d4-910d-5f884aef466d" providerId="ADAL" clId="{3D0DB7AE-1BA7-45E8-B6C7-4A63B94ABB52}" dt="2024-06-10T13:25:08.500" v="1040"/>
          <ac:spMkLst>
            <pc:docMk/>
            <pc:sldMk cId="2037616446" sldId="2147481956"/>
            <ac:spMk id="31" creationId="{4181783C-25F1-DF2A-4D53-C85DB7346FCD}"/>
          </ac:spMkLst>
        </pc:spChg>
        <pc:spChg chg="mod">
          <ac:chgData name="Kateryna Levchuk (UA)" userId="5dbb0cbd-4dc1-41d4-910d-5f884aef466d" providerId="ADAL" clId="{3D0DB7AE-1BA7-45E8-B6C7-4A63B94ABB52}" dt="2024-06-10T13:25:08.500" v="1040"/>
          <ac:spMkLst>
            <pc:docMk/>
            <pc:sldMk cId="2037616446" sldId="2147481956"/>
            <ac:spMk id="32" creationId="{C1842AFC-8A41-9C27-9A53-AC3B8D57FF5F}"/>
          </ac:spMkLst>
        </pc:spChg>
        <pc:grpChg chg="add mod">
          <ac:chgData name="Kateryna Levchuk (UA)" userId="5dbb0cbd-4dc1-41d4-910d-5f884aef466d" providerId="ADAL" clId="{3D0DB7AE-1BA7-45E8-B6C7-4A63B94ABB52}" dt="2024-06-10T13:25:08.500" v="1040"/>
          <ac:grpSpMkLst>
            <pc:docMk/>
            <pc:sldMk cId="2037616446" sldId="2147481956"/>
            <ac:grpSpMk id="16" creationId="{F7BDAE4F-E10E-BB2B-3E92-8D736AFC7CBE}"/>
          </ac:grpSpMkLst>
        </pc:grpChg>
        <pc:grpChg chg="del">
          <ac:chgData name="Kateryna Levchuk (UA)" userId="5dbb0cbd-4dc1-41d4-910d-5f884aef466d" providerId="ADAL" clId="{3D0DB7AE-1BA7-45E8-B6C7-4A63B94ABB52}" dt="2024-06-10T13:24:35.571" v="1031" actId="478"/>
          <ac:grpSpMkLst>
            <pc:docMk/>
            <pc:sldMk cId="2037616446" sldId="2147481956"/>
            <ac:grpSpMk id="35" creationId="{4216885A-4A4B-1C3E-A617-B432B7DE257E}"/>
          </ac:grpSpMkLst>
        </pc:grpChg>
      </pc:sldChg>
      <pc:sldChg chg="addSp delSp modSp mod">
        <pc:chgData name="Kateryna Levchuk (UA)" userId="5dbb0cbd-4dc1-41d4-910d-5f884aef466d" providerId="ADAL" clId="{3D0DB7AE-1BA7-45E8-B6C7-4A63B94ABB52}" dt="2024-06-10T13:45:09.863" v="1275" actId="14100"/>
        <pc:sldMkLst>
          <pc:docMk/>
          <pc:sldMk cId="329214126" sldId="2147481959"/>
        </pc:sldMkLst>
        <pc:spChg chg="mod">
          <ac:chgData name="Kateryna Levchuk (UA)" userId="5dbb0cbd-4dc1-41d4-910d-5f884aef466d" providerId="ADAL" clId="{3D0DB7AE-1BA7-45E8-B6C7-4A63B94ABB52}" dt="2024-06-10T13:44:10.767" v="1265" actId="1076"/>
          <ac:spMkLst>
            <pc:docMk/>
            <pc:sldMk cId="329214126" sldId="2147481959"/>
            <ac:spMk id="2" creationId="{B1F6A68B-1597-6DFC-9E7D-71CFDA319A8C}"/>
          </ac:spMkLst>
        </pc:spChg>
        <pc:spChg chg="mod">
          <ac:chgData name="Kateryna Levchuk (UA)" userId="5dbb0cbd-4dc1-41d4-910d-5f884aef466d" providerId="ADAL" clId="{3D0DB7AE-1BA7-45E8-B6C7-4A63B94ABB52}" dt="2024-06-10T13:41:29.867" v="1189" actId="14100"/>
          <ac:spMkLst>
            <pc:docMk/>
            <pc:sldMk cId="329214126" sldId="2147481959"/>
            <ac:spMk id="5" creationId="{4698077E-5F06-B355-0606-A7F29A25D317}"/>
          </ac:spMkLst>
        </pc:spChg>
        <pc:spChg chg="mod topLvl">
          <ac:chgData name="Kateryna Levchuk (UA)" userId="5dbb0cbd-4dc1-41d4-910d-5f884aef466d" providerId="ADAL" clId="{3D0DB7AE-1BA7-45E8-B6C7-4A63B94ABB52}" dt="2024-06-10T13:30:28.513" v="1074" actId="164"/>
          <ac:spMkLst>
            <pc:docMk/>
            <pc:sldMk cId="329214126" sldId="2147481959"/>
            <ac:spMk id="8" creationId="{3DFFD00F-D0DF-7F84-FFD0-EF989C35F86B}"/>
          </ac:spMkLst>
        </pc:spChg>
        <pc:spChg chg="mod topLvl">
          <ac:chgData name="Kateryna Levchuk (UA)" userId="5dbb0cbd-4dc1-41d4-910d-5f884aef466d" providerId="ADAL" clId="{3D0DB7AE-1BA7-45E8-B6C7-4A63B94ABB52}" dt="2024-06-10T13:30:28.513" v="1074" actId="164"/>
          <ac:spMkLst>
            <pc:docMk/>
            <pc:sldMk cId="329214126" sldId="2147481959"/>
            <ac:spMk id="9" creationId="{02D61EFE-3B80-47F6-5A47-078F49031281}"/>
          </ac:spMkLst>
        </pc:spChg>
        <pc:spChg chg="mod topLvl">
          <ac:chgData name="Kateryna Levchuk (UA)" userId="5dbb0cbd-4dc1-41d4-910d-5f884aef466d" providerId="ADAL" clId="{3D0DB7AE-1BA7-45E8-B6C7-4A63B94ABB52}" dt="2024-06-10T13:30:28.513" v="1074" actId="164"/>
          <ac:spMkLst>
            <pc:docMk/>
            <pc:sldMk cId="329214126" sldId="2147481959"/>
            <ac:spMk id="10" creationId="{E7620417-CA25-4C85-685A-F9654D084E1A}"/>
          </ac:spMkLst>
        </pc:spChg>
        <pc:spChg chg="mod topLvl">
          <ac:chgData name="Kateryna Levchuk (UA)" userId="5dbb0cbd-4dc1-41d4-910d-5f884aef466d" providerId="ADAL" clId="{3D0DB7AE-1BA7-45E8-B6C7-4A63B94ABB52}" dt="2024-06-10T13:30:28.513" v="1074" actId="164"/>
          <ac:spMkLst>
            <pc:docMk/>
            <pc:sldMk cId="329214126" sldId="2147481959"/>
            <ac:spMk id="11" creationId="{416EA174-AF69-E288-DE3A-FC6ADA020D52}"/>
          </ac:spMkLst>
        </pc:spChg>
        <pc:spChg chg="mod topLvl">
          <ac:chgData name="Kateryna Levchuk (UA)" userId="5dbb0cbd-4dc1-41d4-910d-5f884aef466d" providerId="ADAL" clId="{3D0DB7AE-1BA7-45E8-B6C7-4A63B94ABB52}" dt="2024-06-10T13:30:28.513" v="1074" actId="164"/>
          <ac:spMkLst>
            <pc:docMk/>
            <pc:sldMk cId="329214126" sldId="2147481959"/>
            <ac:spMk id="12" creationId="{D704CE20-9536-92A4-D490-043CA68244AE}"/>
          </ac:spMkLst>
        </pc:spChg>
        <pc:spChg chg="mod topLvl">
          <ac:chgData name="Kateryna Levchuk (UA)" userId="5dbb0cbd-4dc1-41d4-910d-5f884aef466d" providerId="ADAL" clId="{3D0DB7AE-1BA7-45E8-B6C7-4A63B94ABB52}" dt="2024-06-10T13:30:28.513" v="1074" actId="164"/>
          <ac:spMkLst>
            <pc:docMk/>
            <pc:sldMk cId="329214126" sldId="2147481959"/>
            <ac:spMk id="13" creationId="{04A46851-83AA-438A-B9EC-DD1194BC5271}"/>
          </ac:spMkLst>
        </pc:spChg>
        <pc:spChg chg="del mod topLvl">
          <ac:chgData name="Kateryna Levchuk (UA)" userId="5dbb0cbd-4dc1-41d4-910d-5f884aef466d" providerId="ADAL" clId="{3D0DB7AE-1BA7-45E8-B6C7-4A63B94ABB52}" dt="2024-06-10T13:30:20.538" v="1073" actId="478"/>
          <ac:spMkLst>
            <pc:docMk/>
            <pc:sldMk cId="329214126" sldId="2147481959"/>
            <ac:spMk id="14" creationId="{0CBE937F-3213-6795-4DF8-1626D9DA7EFC}"/>
          </ac:spMkLst>
        </pc:spChg>
        <pc:spChg chg="mod">
          <ac:chgData name="Kateryna Levchuk (UA)" userId="5dbb0cbd-4dc1-41d4-910d-5f884aef466d" providerId="ADAL" clId="{3D0DB7AE-1BA7-45E8-B6C7-4A63B94ABB52}" dt="2024-06-10T13:43:52.309" v="1255" actId="14100"/>
          <ac:spMkLst>
            <pc:docMk/>
            <pc:sldMk cId="329214126" sldId="2147481959"/>
            <ac:spMk id="15" creationId="{59122A1E-8BC3-09F4-97FB-705F528E5398}"/>
          </ac:spMkLst>
        </pc:spChg>
        <pc:spChg chg="mod">
          <ac:chgData name="Kateryna Levchuk (UA)" userId="5dbb0cbd-4dc1-41d4-910d-5f884aef466d" providerId="ADAL" clId="{3D0DB7AE-1BA7-45E8-B6C7-4A63B94ABB52}" dt="2024-06-10T13:43:52.309" v="1255" actId="14100"/>
          <ac:spMkLst>
            <pc:docMk/>
            <pc:sldMk cId="329214126" sldId="2147481959"/>
            <ac:spMk id="16" creationId="{4C1489AC-C832-C969-96C3-5B7A4ED02FB3}"/>
          </ac:spMkLst>
        </pc:spChg>
        <pc:spChg chg="mod">
          <ac:chgData name="Kateryna Levchuk (UA)" userId="5dbb0cbd-4dc1-41d4-910d-5f884aef466d" providerId="ADAL" clId="{3D0DB7AE-1BA7-45E8-B6C7-4A63B94ABB52}" dt="2024-06-10T13:43:47.695" v="1252" actId="14100"/>
          <ac:spMkLst>
            <pc:docMk/>
            <pc:sldMk cId="329214126" sldId="2147481959"/>
            <ac:spMk id="17" creationId="{D67163D0-AFF2-0F5B-BEF8-713B9C5550B9}"/>
          </ac:spMkLst>
        </pc:spChg>
        <pc:spChg chg="mod">
          <ac:chgData name="Kateryna Levchuk (UA)" userId="5dbb0cbd-4dc1-41d4-910d-5f884aef466d" providerId="ADAL" clId="{3D0DB7AE-1BA7-45E8-B6C7-4A63B94ABB52}" dt="2024-06-10T13:43:45.188" v="1249" actId="14100"/>
          <ac:spMkLst>
            <pc:docMk/>
            <pc:sldMk cId="329214126" sldId="2147481959"/>
            <ac:spMk id="18" creationId="{D3932FD6-4833-DAF0-8321-A600DDDF2D68}"/>
          </ac:spMkLst>
        </pc:spChg>
        <pc:spChg chg="mod">
          <ac:chgData name="Kateryna Levchuk (UA)" userId="5dbb0cbd-4dc1-41d4-910d-5f884aef466d" providerId="ADAL" clId="{3D0DB7AE-1BA7-45E8-B6C7-4A63B94ABB52}" dt="2024-06-10T13:41:17.723" v="1180" actId="14100"/>
          <ac:spMkLst>
            <pc:docMk/>
            <pc:sldMk cId="329214126" sldId="2147481959"/>
            <ac:spMk id="19" creationId="{106AC05F-A272-513E-EF01-E89A9509C706}"/>
          </ac:spMkLst>
        </pc:spChg>
        <pc:spChg chg="mod">
          <ac:chgData name="Kateryna Levchuk (UA)" userId="5dbb0cbd-4dc1-41d4-910d-5f884aef466d" providerId="ADAL" clId="{3D0DB7AE-1BA7-45E8-B6C7-4A63B94ABB52}" dt="2024-06-10T13:45:09.863" v="1275" actId="14100"/>
          <ac:spMkLst>
            <pc:docMk/>
            <pc:sldMk cId="329214126" sldId="2147481959"/>
            <ac:spMk id="20" creationId="{420F2629-D747-1650-347F-99EDC0529C8F}"/>
          </ac:spMkLst>
        </pc:spChg>
        <pc:spChg chg="mod">
          <ac:chgData name="Kateryna Levchuk (UA)" userId="5dbb0cbd-4dc1-41d4-910d-5f884aef466d" providerId="ADAL" clId="{3D0DB7AE-1BA7-45E8-B6C7-4A63B94ABB52}" dt="2024-06-10T13:45:04.182" v="1274" actId="1076"/>
          <ac:spMkLst>
            <pc:docMk/>
            <pc:sldMk cId="329214126" sldId="2147481959"/>
            <ac:spMk id="21" creationId="{036DED66-E299-1067-9D43-ADF12C7A1CC7}"/>
          </ac:spMkLst>
        </pc:spChg>
        <pc:spChg chg="mod">
          <ac:chgData name="Kateryna Levchuk (UA)" userId="5dbb0cbd-4dc1-41d4-910d-5f884aef466d" providerId="ADAL" clId="{3D0DB7AE-1BA7-45E8-B6C7-4A63B94ABB52}" dt="2024-06-10T13:45:04.182" v="1274" actId="1076"/>
          <ac:spMkLst>
            <pc:docMk/>
            <pc:sldMk cId="329214126" sldId="2147481959"/>
            <ac:spMk id="22" creationId="{5945FFC4-B564-FA15-EA24-EE9B63FADFEC}"/>
          </ac:spMkLst>
        </pc:spChg>
        <pc:spChg chg="mod">
          <ac:chgData name="Kateryna Levchuk (UA)" userId="5dbb0cbd-4dc1-41d4-910d-5f884aef466d" providerId="ADAL" clId="{3D0DB7AE-1BA7-45E8-B6C7-4A63B94ABB52}" dt="2024-06-10T13:39:31.382" v="1161" actId="14100"/>
          <ac:spMkLst>
            <pc:docMk/>
            <pc:sldMk cId="329214126" sldId="2147481959"/>
            <ac:spMk id="23" creationId="{40D304C9-A45C-F440-2AD0-14A290FE5C9A}"/>
          </ac:spMkLst>
        </pc:spChg>
        <pc:spChg chg="mod">
          <ac:chgData name="Kateryna Levchuk (UA)" userId="5dbb0cbd-4dc1-41d4-910d-5f884aef466d" providerId="ADAL" clId="{3D0DB7AE-1BA7-45E8-B6C7-4A63B94ABB52}" dt="2024-06-10T13:39:40.442" v="1162" actId="1076"/>
          <ac:spMkLst>
            <pc:docMk/>
            <pc:sldMk cId="329214126" sldId="2147481959"/>
            <ac:spMk id="24" creationId="{4125062F-480F-BBF3-EB3F-3D86985D4CAF}"/>
          </ac:spMkLst>
        </pc:spChg>
        <pc:spChg chg="mod">
          <ac:chgData name="Kateryna Levchuk (UA)" userId="5dbb0cbd-4dc1-41d4-910d-5f884aef466d" providerId="ADAL" clId="{3D0DB7AE-1BA7-45E8-B6C7-4A63B94ABB52}" dt="2024-06-10T13:44:44.014" v="1269" actId="404"/>
          <ac:spMkLst>
            <pc:docMk/>
            <pc:sldMk cId="329214126" sldId="2147481959"/>
            <ac:spMk id="25" creationId="{AC45CEB6-E989-C8E7-CB62-A8DB26594D29}"/>
          </ac:spMkLst>
        </pc:spChg>
        <pc:spChg chg="mod">
          <ac:chgData name="Kateryna Levchuk (UA)" userId="5dbb0cbd-4dc1-41d4-910d-5f884aef466d" providerId="ADAL" clId="{3D0DB7AE-1BA7-45E8-B6C7-4A63B94ABB52}" dt="2024-06-10T13:42:21.729" v="1208" actId="571"/>
          <ac:spMkLst>
            <pc:docMk/>
            <pc:sldMk cId="329214126" sldId="2147481959"/>
            <ac:spMk id="30" creationId="{681CAC23-193E-418C-253D-7E560EF4DAB7}"/>
          </ac:spMkLst>
        </pc:spChg>
        <pc:spChg chg="mod">
          <ac:chgData name="Kateryna Levchuk (UA)" userId="5dbb0cbd-4dc1-41d4-910d-5f884aef466d" providerId="ADAL" clId="{3D0DB7AE-1BA7-45E8-B6C7-4A63B94ABB52}" dt="2024-06-10T13:42:21.729" v="1208" actId="571"/>
          <ac:spMkLst>
            <pc:docMk/>
            <pc:sldMk cId="329214126" sldId="2147481959"/>
            <ac:spMk id="32" creationId="{B21B6081-93A2-E5AF-DB00-8AB92C7FA71D}"/>
          </ac:spMkLst>
        </pc:spChg>
        <pc:spChg chg="mod">
          <ac:chgData name="Kateryna Levchuk (UA)" userId="5dbb0cbd-4dc1-41d4-910d-5f884aef466d" providerId="ADAL" clId="{3D0DB7AE-1BA7-45E8-B6C7-4A63B94ABB52}" dt="2024-06-10T13:41:32.304" v="1191" actId="14100"/>
          <ac:spMkLst>
            <pc:docMk/>
            <pc:sldMk cId="329214126" sldId="2147481959"/>
            <ac:spMk id="33" creationId="{5B2A4D2C-CD75-341E-580A-957F809C2018}"/>
          </ac:spMkLst>
        </pc:spChg>
        <pc:spChg chg="mod">
          <ac:chgData name="Kateryna Levchuk (UA)" userId="5dbb0cbd-4dc1-41d4-910d-5f884aef466d" providerId="ADAL" clId="{3D0DB7AE-1BA7-45E8-B6C7-4A63B94ABB52}" dt="2024-06-10T13:44:03.036" v="1264" actId="1076"/>
          <ac:spMkLst>
            <pc:docMk/>
            <pc:sldMk cId="329214126" sldId="2147481959"/>
            <ac:spMk id="37" creationId="{16C10275-D1DB-BDFC-B1ED-A4402FA73250}"/>
          </ac:spMkLst>
        </pc:spChg>
        <pc:spChg chg="mod">
          <ac:chgData name="Kateryna Levchuk (UA)" userId="5dbb0cbd-4dc1-41d4-910d-5f884aef466d" providerId="ADAL" clId="{3D0DB7AE-1BA7-45E8-B6C7-4A63B94ABB52}" dt="2024-06-10T13:44:01.376" v="1262" actId="14100"/>
          <ac:spMkLst>
            <pc:docMk/>
            <pc:sldMk cId="329214126" sldId="2147481959"/>
            <ac:spMk id="55" creationId="{01DEE395-A1D3-A782-B617-02A79709E740}"/>
          </ac:spMkLst>
        </pc:spChg>
        <pc:spChg chg="mod">
          <ac:chgData name="Kateryna Levchuk (UA)" userId="5dbb0cbd-4dc1-41d4-910d-5f884aef466d" providerId="ADAL" clId="{3D0DB7AE-1BA7-45E8-B6C7-4A63B94ABB52}" dt="2024-06-10T13:44:52.876" v="1271" actId="14100"/>
          <ac:spMkLst>
            <pc:docMk/>
            <pc:sldMk cId="329214126" sldId="2147481959"/>
            <ac:spMk id="64" creationId="{67FBBA03-31E4-D7C8-090F-638F677E6A35}"/>
          </ac:spMkLst>
        </pc:spChg>
        <pc:spChg chg="mod">
          <ac:chgData name="Kateryna Levchuk (UA)" userId="5dbb0cbd-4dc1-41d4-910d-5f884aef466d" providerId="ADAL" clId="{3D0DB7AE-1BA7-45E8-B6C7-4A63B94ABB52}" dt="2024-06-10T13:39:56.561" v="1164" actId="1076"/>
          <ac:spMkLst>
            <pc:docMk/>
            <pc:sldMk cId="329214126" sldId="2147481959"/>
            <ac:spMk id="65" creationId="{894E5700-E975-D8D2-5AD3-2E35DE8CE365}"/>
          </ac:spMkLst>
        </pc:spChg>
        <pc:spChg chg="mod">
          <ac:chgData name="Kateryna Levchuk (UA)" userId="5dbb0cbd-4dc1-41d4-910d-5f884aef466d" providerId="ADAL" clId="{3D0DB7AE-1BA7-45E8-B6C7-4A63B94ABB52}" dt="2024-06-10T13:44:40.731" v="1268" actId="404"/>
          <ac:spMkLst>
            <pc:docMk/>
            <pc:sldMk cId="329214126" sldId="2147481959"/>
            <ac:spMk id="66" creationId="{8D4E5B49-05F7-6DC9-B647-FEF3369AD289}"/>
          </ac:spMkLst>
        </pc:spChg>
        <pc:grpChg chg="add mod">
          <ac:chgData name="Kateryna Levchuk (UA)" userId="5dbb0cbd-4dc1-41d4-910d-5f884aef466d" providerId="ADAL" clId="{3D0DB7AE-1BA7-45E8-B6C7-4A63B94ABB52}" dt="2024-06-10T13:30:32.211" v="1075" actId="1076"/>
          <ac:grpSpMkLst>
            <pc:docMk/>
            <pc:sldMk cId="329214126" sldId="2147481959"/>
            <ac:grpSpMk id="3" creationId="{098D06C8-BDF3-A3DA-7D2A-F811209F6DCE}"/>
          </ac:grpSpMkLst>
        </pc:grpChg>
        <pc:grpChg chg="del">
          <ac:chgData name="Kateryna Levchuk (UA)" userId="5dbb0cbd-4dc1-41d4-910d-5f884aef466d" providerId="ADAL" clId="{3D0DB7AE-1BA7-45E8-B6C7-4A63B94ABB52}" dt="2024-06-10T13:30:17.684" v="1072" actId="165"/>
          <ac:grpSpMkLst>
            <pc:docMk/>
            <pc:sldMk cId="329214126" sldId="2147481959"/>
            <ac:grpSpMk id="7" creationId="{BCD0AA48-9F08-F075-1407-FAA6F01E4B45}"/>
          </ac:grpSpMkLst>
        </pc:grpChg>
        <pc:grpChg chg="add mod">
          <ac:chgData name="Kateryna Levchuk (UA)" userId="5dbb0cbd-4dc1-41d4-910d-5f884aef466d" providerId="ADAL" clId="{3D0DB7AE-1BA7-45E8-B6C7-4A63B94ABB52}" dt="2024-06-10T13:42:21.729" v="1208" actId="571"/>
          <ac:grpSpMkLst>
            <pc:docMk/>
            <pc:sldMk cId="329214126" sldId="2147481959"/>
            <ac:grpSpMk id="28" creationId="{23C7BB45-A763-97C1-6848-1200039566F8}"/>
          </ac:grpSpMkLst>
        </pc:grpChg>
        <pc:grpChg chg="mod">
          <ac:chgData name="Kateryna Levchuk (UA)" userId="5dbb0cbd-4dc1-41d4-910d-5f884aef466d" providerId="ADAL" clId="{3D0DB7AE-1BA7-45E8-B6C7-4A63B94ABB52}" dt="2024-06-10T13:42:21.729" v="1208" actId="571"/>
          <ac:grpSpMkLst>
            <pc:docMk/>
            <pc:sldMk cId="329214126" sldId="2147481959"/>
            <ac:grpSpMk id="29" creationId="{726D16FA-518B-0D17-C053-C6EE6B0B35CA}"/>
          </ac:grpSpMkLst>
        </pc:grpChg>
        <pc:grpChg chg="mod">
          <ac:chgData name="Kateryna Levchuk (UA)" userId="5dbb0cbd-4dc1-41d4-910d-5f884aef466d" providerId="ADAL" clId="{3D0DB7AE-1BA7-45E8-B6C7-4A63B94ABB52}" dt="2024-06-10T13:44:19.735" v="1266" actId="1076"/>
          <ac:grpSpMkLst>
            <pc:docMk/>
            <pc:sldMk cId="329214126" sldId="2147481959"/>
            <ac:grpSpMk id="74" creationId="{DC8D4467-09A5-99C5-1A03-64C59D279CAE}"/>
          </ac:grpSpMkLst>
        </pc:grpChg>
        <pc:grpChg chg="mod">
          <ac:chgData name="Kateryna Levchuk (UA)" userId="5dbb0cbd-4dc1-41d4-910d-5f884aef466d" providerId="ADAL" clId="{3D0DB7AE-1BA7-45E8-B6C7-4A63B94ABB52}" dt="2024-06-10T13:44:28.005" v="1267" actId="1076"/>
          <ac:grpSpMkLst>
            <pc:docMk/>
            <pc:sldMk cId="329214126" sldId="2147481959"/>
            <ac:grpSpMk id="79" creationId="{1F87BE46-ED96-5EBD-6F76-787AB1C42B50}"/>
          </ac:grpSpMkLst>
        </pc:grpChg>
        <pc:cxnChg chg="mod">
          <ac:chgData name="Kateryna Levchuk (UA)" userId="5dbb0cbd-4dc1-41d4-910d-5f884aef466d" providerId="ADAL" clId="{3D0DB7AE-1BA7-45E8-B6C7-4A63B94ABB52}" dt="2024-06-10T13:42:21.729" v="1208" actId="571"/>
          <ac:cxnSpMkLst>
            <pc:docMk/>
            <pc:sldMk cId="329214126" sldId="2147481959"/>
            <ac:cxnSpMk id="31" creationId="{DC0A5246-D100-A66C-50F8-1F1257E5B098}"/>
          </ac:cxnSpMkLst>
        </pc:cxnChg>
      </pc:sldChg>
      <pc:sldChg chg="addSp delSp modSp add mod">
        <pc:chgData name="Kateryna Levchuk (UA)" userId="5dbb0cbd-4dc1-41d4-910d-5f884aef466d" providerId="ADAL" clId="{3D0DB7AE-1BA7-45E8-B6C7-4A63B94ABB52}" dt="2024-06-10T13:25:14.972" v="1044"/>
        <pc:sldMkLst>
          <pc:docMk/>
          <pc:sldMk cId="2987133819" sldId="2147481961"/>
        </pc:sldMkLst>
        <pc:spChg chg="del">
          <ac:chgData name="Kateryna Levchuk (UA)" userId="5dbb0cbd-4dc1-41d4-910d-5f884aef466d" providerId="ADAL" clId="{3D0DB7AE-1BA7-45E8-B6C7-4A63B94ABB52}" dt="2024-06-10T09:24:10.577" v="2" actId="478"/>
          <ac:spMkLst>
            <pc:docMk/>
            <pc:sldMk cId="2987133819" sldId="2147481961"/>
            <ac:spMk id="5" creationId="{8F5E4F9B-4FD0-1DD2-57B2-599862CD76E9}"/>
          </ac:spMkLst>
        </pc:spChg>
        <pc:spChg chg="add del">
          <ac:chgData name="Kateryna Levchuk (UA)" userId="5dbb0cbd-4dc1-41d4-910d-5f884aef466d" providerId="ADAL" clId="{3D0DB7AE-1BA7-45E8-B6C7-4A63B94ABB52}" dt="2024-06-10T13:24:46.161" v="1035" actId="478"/>
          <ac:spMkLst>
            <pc:docMk/>
            <pc:sldMk cId="2987133819" sldId="2147481961"/>
            <ac:spMk id="10" creationId="{7610D19B-EB2C-1658-E6CA-6B8C44EAC1A8}"/>
          </ac:spMkLst>
        </pc:spChg>
        <pc:spChg chg="mod">
          <ac:chgData name="Kateryna Levchuk (UA)" userId="5dbb0cbd-4dc1-41d4-910d-5f884aef466d" providerId="ADAL" clId="{3D0DB7AE-1BA7-45E8-B6C7-4A63B94ABB52}" dt="2024-06-10T13:25:14.972" v="1044"/>
          <ac:spMkLst>
            <pc:docMk/>
            <pc:sldMk cId="2987133819" sldId="2147481961"/>
            <ac:spMk id="13" creationId="{4982B0CB-8E26-0A1D-1FDA-12CBFCBD75FC}"/>
          </ac:spMkLst>
        </pc:spChg>
        <pc:spChg chg="mod">
          <ac:chgData name="Kateryna Levchuk (UA)" userId="5dbb0cbd-4dc1-41d4-910d-5f884aef466d" providerId="ADAL" clId="{3D0DB7AE-1BA7-45E8-B6C7-4A63B94ABB52}" dt="2024-06-10T13:25:14.972" v="1044"/>
          <ac:spMkLst>
            <pc:docMk/>
            <pc:sldMk cId="2987133819" sldId="2147481961"/>
            <ac:spMk id="14" creationId="{9C74431C-200D-C465-61CC-16178A5C5A23}"/>
          </ac:spMkLst>
        </pc:spChg>
        <pc:spChg chg="mod">
          <ac:chgData name="Kateryna Levchuk (UA)" userId="5dbb0cbd-4dc1-41d4-910d-5f884aef466d" providerId="ADAL" clId="{3D0DB7AE-1BA7-45E8-B6C7-4A63B94ABB52}" dt="2024-06-10T10:30:24.764" v="270" actId="1076"/>
          <ac:spMkLst>
            <pc:docMk/>
            <pc:sldMk cId="2987133819" sldId="2147481961"/>
            <ac:spMk id="15" creationId="{646673C4-B9B9-74BB-E212-CD6427C9067F}"/>
          </ac:spMkLst>
        </pc:spChg>
        <pc:spChg chg="mod">
          <ac:chgData name="Kateryna Levchuk (UA)" userId="5dbb0cbd-4dc1-41d4-910d-5f884aef466d" providerId="ADAL" clId="{3D0DB7AE-1BA7-45E8-B6C7-4A63B94ABB52}" dt="2024-06-10T13:25:14.972" v="1044"/>
          <ac:spMkLst>
            <pc:docMk/>
            <pc:sldMk cId="2987133819" sldId="2147481961"/>
            <ac:spMk id="17" creationId="{681B4A72-B2C5-25CA-F74F-4F1BCFE52EAB}"/>
          </ac:spMkLst>
        </pc:spChg>
        <pc:spChg chg="mod">
          <ac:chgData name="Kateryna Levchuk (UA)" userId="5dbb0cbd-4dc1-41d4-910d-5f884aef466d" providerId="ADAL" clId="{3D0DB7AE-1BA7-45E8-B6C7-4A63B94ABB52}" dt="2024-06-10T13:25:14.972" v="1044"/>
          <ac:spMkLst>
            <pc:docMk/>
            <pc:sldMk cId="2987133819" sldId="2147481961"/>
            <ac:spMk id="18" creationId="{D28B2455-260B-7B67-A5EB-B46628345014}"/>
          </ac:spMkLst>
        </pc:spChg>
        <pc:spChg chg="mod">
          <ac:chgData name="Kateryna Levchuk (UA)" userId="5dbb0cbd-4dc1-41d4-910d-5f884aef466d" providerId="ADAL" clId="{3D0DB7AE-1BA7-45E8-B6C7-4A63B94ABB52}" dt="2024-06-10T13:25:14.972" v="1044"/>
          <ac:spMkLst>
            <pc:docMk/>
            <pc:sldMk cId="2987133819" sldId="2147481961"/>
            <ac:spMk id="19" creationId="{6FEDA6F8-B45B-97C1-BECC-19EF93499038}"/>
          </ac:spMkLst>
        </pc:spChg>
        <pc:spChg chg="mod">
          <ac:chgData name="Kateryna Levchuk (UA)" userId="5dbb0cbd-4dc1-41d4-910d-5f884aef466d" providerId="ADAL" clId="{3D0DB7AE-1BA7-45E8-B6C7-4A63B94ABB52}" dt="2024-06-10T13:25:14.972" v="1044"/>
          <ac:spMkLst>
            <pc:docMk/>
            <pc:sldMk cId="2987133819" sldId="2147481961"/>
            <ac:spMk id="20" creationId="{85C15322-DB01-7F79-B529-7C91BF2B3E1E}"/>
          </ac:spMkLst>
        </pc:spChg>
        <pc:spChg chg="mod">
          <ac:chgData name="Kateryna Levchuk (UA)" userId="5dbb0cbd-4dc1-41d4-910d-5f884aef466d" providerId="ADAL" clId="{3D0DB7AE-1BA7-45E8-B6C7-4A63B94ABB52}" dt="2024-06-10T10:32:15.864" v="287" actId="1076"/>
          <ac:spMkLst>
            <pc:docMk/>
            <pc:sldMk cId="2987133819" sldId="2147481961"/>
            <ac:spMk id="51" creationId="{2F6DC4B8-9940-E974-DFE7-A68FEC09CF64}"/>
          </ac:spMkLst>
        </pc:spChg>
        <pc:spChg chg="mod">
          <ac:chgData name="Kateryna Levchuk (UA)" userId="5dbb0cbd-4dc1-41d4-910d-5f884aef466d" providerId="ADAL" clId="{3D0DB7AE-1BA7-45E8-B6C7-4A63B94ABB52}" dt="2024-06-10T10:30:13.104" v="268" actId="14100"/>
          <ac:spMkLst>
            <pc:docMk/>
            <pc:sldMk cId="2987133819" sldId="2147481961"/>
            <ac:spMk id="52" creationId="{754EAF21-8364-40B5-103F-C971798338FA}"/>
          </ac:spMkLst>
        </pc:spChg>
        <pc:spChg chg="mod">
          <ac:chgData name="Kateryna Levchuk (UA)" userId="5dbb0cbd-4dc1-41d4-910d-5f884aef466d" providerId="ADAL" clId="{3D0DB7AE-1BA7-45E8-B6C7-4A63B94ABB52}" dt="2024-06-10T10:28:27.347" v="253" actId="1076"/>
          <ac:spMkLst>
            <pc:docMk/>
            <pc:sldMk cId="2987133819" sldId="2147481961"/>
            <ac:spMk id="53" creationId="{6E6AD103-92DC-77F5-2DD7-C9640CA704CA}"/>
          </ac:spMkLst>
        </pc:spChg>
        <pc:spChg chg="mod">
          <ac:chgData name="Kateryna Levchuk (UA)" userId="5dbb0cbd-4dc1-41d4-910d-5f884aef466d" providerId="ADAL" clId="{3D0DB7AE-1BA7-45E8-B6C7-4A63B94ABB52}" dt="2024-06-10T10:25:56.506" v="236" actId="1076"/>
          <ac:spMkLst>
            <pc:docMk/>
            <pc:sldMk cId="2987133819" sldId="2147481961"/>
            <ac:spMk id="54" creationId="{4CD0B799-859D-8D06-4ACC-37DFFC5D70E2}"/>
          </ac:spMkLst>
        </pc:spChg>
        <pc:spChg chg="mod">
          <ac:chgData name="Kateryna Levchuk (UA)" userId="5dbb0cbd-4dc1-41d4-910d-5f884aef466d" providerId="ADAL" clId="{3D0DB7AE-1BA7-45E8-B6C7-4A63B94ABB52}" dt="2024-06-10T10:27:35.103" v="246" actId="1076"/>
          <ac:spMkLst>
            <pc:docMk/>
            <pc:sldMk cId="2987133819" sldId="2147481961"/>
            <ac:spMk id="59" creationId="{CE37DEFD-F7E1-1D17-896D-4B833690D0B7}"/>
          </ac:spMkLst>
        </pc:spChg>
        <pc:spChg chg="mod">
          <ac:chgData name="Kateryna Levchuk (UA)" userId="5dbb0cbd-4dc1-41d4-910d-5f884aef466d" providerId="ADAL" clId="{3D0DB7AE-1BA7-45E8-B6C7-4A63B94ABB52}" dt="2024-06-10T10:29:52.725" v="265" actId="1076"/>
          <ac:spMkLst>
            <pc:docMk/>
            <pc:sldMk cId="2987133819" sldId="2147481961"/>
            <ac:spMk id="60" creationId="{F3A9469B-C6D4-CEE4-8E04-A57D05ED614E}"/>
          </ac:spMkLst>
        </pc:spChg>
        <pc:spChg chg="mod">
          <ac:chgData name="Kateryna Levchuk (UA)" userId="5dbb0cbd-4dc1-41d4-910d-5f884aef466d" providerId="ADAL" clId="{3D0DB7AE-1BA7-45E8-B6C7-4A63B94ABB52}" dt="2024-06-10T10:26:31.579" v="240" actId="1076"/>
          <ac:spMkLst>
            <pc:docMk/>
            <pc:sldMk cId="2987133819" sldId="2147481961"/>
            <ac:spMk id="61" creationId="{9BADE996-6B0E-D4E1-5041-CC505899D892}"/>
          </ac:spMkLst>
        </pc:spChg>
        <pc:spChg chg="mod">
          <ac:chgData name="Kateryna Levchuk (UA)" userId="5dbb0cbd-4dc1-41d4-910d-5f884aef466d" providerId="ADAL" clId="{3D0DB7AE-1BA7-45E8-B6C7-4A63B94ABB52}" dt="2024-06-10T10:00:08.293" v="172" actId="14100"/>
          <ac:spMkLst>
            <pc:docMk/>
            <pc:sldMk cId="2987133819" sldId="2147481961"/>
            <ac:spMk id="62" creationId="{5FAADB15-4E21-3C09-8DC6-C494DF454908}"/>
          </ac:spMkLst>
        </pc:spChg>
        <pc:spChg chg="mod">
          <ac:chgData name="Kateryna Levchuk (UA)" userId="5dbb0cbd-4dc1-41d4-910d-5f884aef466d" providerId="ADAL" clId="{3D0DB7AE-1BA7-45E8-B6C7-4A63B94ABB52}" dt="2024-06-10T10:30:36.206" v="272" actId="1076"/>
          <ac:spMkLst>
            <pc:docMk/>
            <pc:sldMk cId="2987133819" sldId="2147481961"/>
            <ac:spMk id="70" creationId="{3F316D1B-3703-9EE0-5513-9FC627F0D3C4}"/>
          </ac:spMkLst>
        </pc:spChg>
        <pc:spChg chg="mod">
          <ac:chgData name="Kateryna Levchuk (UA)" userId="5dbb0cbd-4dc1-41d4-910d-5f884aef466d" providerId="ADAL" clId="{3D0DB7AE-1BA7-45E8-B6C7-4A63B94ABB52}" dt="2024-06-10T10:11:06.973" v="225" actId="196"/>
          <ac:spMkLst>
            <pc:docMk/>
            <pc:sldMk cId="2987133819" sldId="2147481961"/>
            <ac:spMk id="86" creationId="{648F3B61-9E01-3FED-9478-2DF9456AD92A}"/>
          </ac:spMkLst>
        </pc:spChg>
        <pc:spChg chg="mod">
          <ac:chgData name="Kateryna Levchuk (UA)" userId="5dbb0cbd-4dc1-41d4-910d-5f884aef466d" providerId="ADAL" clId="{3D0DB7AE-1BA7-45E8-B6C7-4A63B94ABB52}" dt="2024-06-10T10:11:06.973" v="225" actId="196"/>
          <ac:spMkLst>
            <pc:docMk/>
            <pc:sldMk cId="2987133819" sldId="2147481961"/>
            <ac:spMk id="87" creationId="{42505ED0-AC34-45B6-C247-BB91AC54A687}"/>
          </ac:spMkLst>
        </pc:spChg>
        <pc:spChg chg="mod">
          <ac:chgData name="Kateryna Levchuk (UA)" userId="5dbb0cbd-4dc1-41d4-910d-5f884aef466d" providerId="ADAL" clId="{3D0DB7AE-1BA7-45E8-B6C7-4A63B94ABB52}" dt="2024-06-10T10:11:06.973" v="225" actId="196"/>
          <ac:spMkLst>
            <pc:docMk/>
            <pc:sldMk cId="2987133819" sldId="2147481961"/>
            <ac:spMk id="88" creationId="{B91EEFEC-A7F9-6A62-0B87-F926087694FF}"/>
          </ac:spMkLst>
        </pc:spChg>
        <pc:grpChg chg="add mod">
          <ac:chgData name="Kateryna Levchuk (UA)" userId="5dbb0cbd-4dc1-41d4-910d-5f884aef466d" providerId="ADAL" clId="{3D0DB7AE-1BA7-45E8-B6C7-4A63B94ABB52}" dt="2024-06-10T13:25:14.972" v="1044"/>
          <ac:grpSpMkLst>
            <pc:docMk/>
            <pc:sldMk cId="2987133819" sldId="2147481961"/>
            <ac:grpSpMk id="6" creationId="{D8542C70-6D2C-37FF-2344-13D6E43F02FB}"/>
          </ac:grpSpMkLst>
        </pc:grpChg>
        <pc:grpChg chg="del">
          <ac:chgData name="Kateryna Levchuk (UA)" userId="5dbb0cbd-4dc1-41d4-910d-5f884aef466d" providerId="ADAL" clId="{3D0DB7AE-1BA7-45E8-B6C7-4A63B94ABB52}" dt="2024-06-10T13:24:47.819" v="1036" actId="478"/>
          <ac:grpSpMkLst>
            <pc:docMk/>
            <pc:sldMk cId="2987133819" sldId="2147481961"/>
            <ac:grpSpMk id="24" creationId="{F563CE39-E9A0-FC8F-917A-CBE225CFC4D4}"/>
          </ac:grpSpMkLst>
        </pc:grpChg>
        <pc:grpChg chg="mod">
          <ac:chgData name="Kateryna Levchuk (UA)" userId="5dbb0cbd-4dc1-41d4-910d-5f884aef466d" providerId="ADAL" clId="{3D0DB7AE-1BA7-45E8-B6C7-4A63B94ABB52}" dt="2024-06-10T10:11:06.973" v="225" actId="196"/>
          <ac:grpSpMkLst>
            <pc:docMk/>
            <pc:sldMk cId="2987133819" sldId="2147481961"/>
            <ac:grpSpMk id="50" creationId="{35EBB9EC-EE3B-02CA-F3CD-1BDA4B3D07E0}"/>
          </ac:grpSpMkLst>
        </pc:grpChg>
        <pc:grpChg chg="mod">
          <ac:chgData name="Kateryna Levchuk (UA)" userId="5dbb0cbd-4dc1-41d4-910d-5f884aef466d" providerId="ADAL" clId="{3D0DB7AE-1BA7-45E8-B6C7-4A63B94ABB52}" dt="2024-06-10T10:30:04.649" v="266" actId="1076"/>
          <ac:grpSpMkLst>
            <pc:docMk/>
            <pc:sldMk cId="2987133819" sldId="2147481961"/>
            <ac:grpSpMk id="55" creationId="{5A08E9D9-732E-C3C0-E6FC-71325A279E1C}"/>
          </ac:grpSpMkLst>
        </pc:grpChg>
        <pc:grpChg chg="mod">
          <ac:chgData name="Kateryna Levchuk (UA)" userId="5dbb0cbd-4dc1-41d4-910d-5f884aef466d" providerId="ADAL" clId="{3D0DB7AE-1BA7-45E8-B6C7-4A63B94ABB52}" dt="2024-06-10T10:26:02.727" v="237" actId="1076"/>
          <ac:grpSpMkLst>
            <pc:docMk/>
            <pc:sldMk cId="2987133819" sldId="2147481961"/>
            <ac:grpSpMk id="56" creationId="{AA7B7E6B-8319-0E2B-CC1C-1DB84B6C9107}"/>
          </ac:grpSpMkLst>
        </pc:grpChg>
        <pc:grpChg chg="mod">
          <ac:chgData name="Kateryna Levchuk (UA)" userId="5dbb0cbd-4dc1-41d4-910d-5f884aef466d" providerId="ADAL" clId="{3D0DB7AE-1BA7-45E8-B6C7-4A63B94ABB52}" dt="2024-06-10T10:32:01.372" v="285" actId="1076"/>
          <ac:grpSpMkLst>
            <pc:docMk/>
            <pc:sldMk cId="2987133819" sldId="2147481961"/>
            <ac:grpSpMk id="57" creationId="{BA1ACCB5-893B-3A37-D18B-1A8EB31DFE03}"/>
          </ac:grpSpMkLst>
        </pc:grpChg>
        <pc:grpChg chg="mod">
          <ac:chgData name="Kateryna Levchuk (UA)" userId="5dbb0cbd-4dc1-41d4-910d-5f884aef466d" providerId="ADAL" clId="{3D0DB7AE-1BA7-45E8-B6C7-4A63B94ABB52}" dt="2024-06-10T10:28:43.360" v="254" actId="1076"/>
          <ac:grpSpMkLst>
            <pc:docMk/>
            <pc:sldMk cId="2987133819" sldId="2147481961"/>
            <ac:grpSpMk id="58" creationId="{6EC27B63-BDDA-61E7-C413-9296D3BA9668}"/>
          </ac:grpSpMkLst>
        </pc:grpChg>
        <pc:grpChg chg="mod">
          <ac:chgData name="Kateryna Levchuk (UA)" userId="5dbb0cbd-4dc1-41d4-910d-5f884aef466d" providerId="ADAL" clId="{3D0DB7AE-1BA7-45E8-B6C7-4A63B94ABB52}" dt="2024-06-10T09:59:30.966" v="166" actId="1076"/>
          <ac:grpSpMkLst>
            <pc:docMk/>
            <pc:sldMk cId="2987133819" sldId="2147481961"/>
            <ac:grpSpMk id="63" creationId="{1B8D2600-D139-04F3-5D68-144782AFE9F1}"/>
          </ac:grpSpMkLst>
        </pc:grpChg>
        <pc:grpChg chg="mod">
          <ac:chgData name="Kateryna Levchuk (UA)" userId="5dbb0cbd-4dc1-41d4-910d-5f884aef466d" providerId="ADAL" clId="{3D0DB7AE-1BA7-45E8-B6C7-4A63B94ABB52}" dt="2024-06-10T10:29:37.991" v="262" actId="1076"/>
          <ac:grpSpMkLst>
            <pc:docMk/>
            <pc:sldMk cId="2987133819" sldId="2147481961"/>
            <ac:grpSpMk id="64" creationId="{61A85F62-FF91-BD23-93B9-59A5FDE686AE}"/>
          </ac:grpSpMkLst>
        </pc:grpChg>
      </pc:sldChg>
      <pc:sldChg chg="addSp modSp">
        <pc:chgData name="Kateryna Levchuk (UA)" userId="5dbb0cbd-4dc1-41d4-910d-5f884aef466d" providerId="ADAL" clId="{3D0DB7AE-1BA7-45E8-B6C7-4A63B94ABB52}" dt="2024-06-10T11:56:09.668" v="1006"/>
        <pc:sldMkLst>
          <pc:docMk/>
          <pc:sldMk cId="1527880861" sldId="2147481962"/>
        </pc:sldMkLst>
        <pc:spChg chg="mod">
          <ac:chgData name="Kateryna Levchuk (UA)" userId="5dbb0cbd-4dc1-41d4-910d-5f884aef466d" providerId="ADAL" clId="{3D0DB7AE-1BA7-45E8-B6C7-4A63B94ABB52}" dt="2024-06-10T11:56:09.668" v="1006"/>
          <ac:spMkLst>
            <pc:docMk/>
            <pc:sldMk cId="1527880861" sldId="2147481962"/>
            <ac:spMk id="4" creationId="{43330872-D27D-F3A1-95D2-5BE4E3008F65}"/>
          </ac:spMkLst>
        </pc:spChg>
        <pc:spChg chg="mod">
          <ac:chgData name="Kateryna Levchuk (UA)" userId="5dbb0cbd-4dc1-41d4-910d-5f884aef466d" providerId="ADAL" clId="{3D0DB7AE-1BA7-45E8-B6C7-4A63B94ABB52}" dt="2024-06-10T11:56:09.668" v="1006"/>
          <ac:spMkLst>
            <pc:docMk/>
            <pc:sldMk cId="1527880861" sldId="2147481962"/>
            <ac:spMk id="5" creationId="{6D71C6C4-7684-BC9D-B75C-C257983AD7E0}"/>
          </ac:spMkLst>
        </pc:spChg>
        <pc:spChg chg="mod">
          <ac:chgData name="Kateryna Levchuk (UA)" userId="5dbb0cbd-4dc1-41d4-910d-5f884aef466d" providerId="ADAL" clId="{3D0DB7AE-1BA7-45E8-B6C7-4A63B94ABB52}" dt="2024-06-10T11:56:09.668" v="1006"/>
          <ac:spMkLst>
            <pc:docMk/>
            <pc:sldMk cId="1527880861" sldId="2147481962"/>
            <ac:spMk id="6" creationId="{0BA0293A-22D0-B783-C1AA-0D38BE6724EC}"/>
          </ac:spMkLst>
        </pc:spChg>
        <pc:spChg chg="mod">
          <ac:chgData name="Kateryna Levchuk (UA)" userId="5dbb0cbd-4dc1-41d4-910d-5f884aef466d" providerId="ADAL" clId="{3D0DB7AE-1BA7-45E8-B6C7-4A63B94ABB52}" dt="2024-06-10T11:56:09.668" v="1006"/>
          <ac:spMkLst>
            <pc:docMk/>
            <pc:sldMk cId="1527880861" sldId="2147481962"/>
            <ac:spMk id="8" creationId="{0551F53E-BCD3-E8A6-3736-9DA95DFBC0B7}"/>
          </ac:spMkLst>
        </pc:spChg>
        <pc:spChg chg="mod">
          <ac:chgData name="Kateryna Levchuk (UA)" userId="5dbb0cbd-4dc1-41d4-910d-5f884aef466d" providerId="ADAL" clId="{3D0DB7AE-1BA7-45E8-B6C7-4A63B94ABB52}" dt="2024-06-10T11:56:09.668" v="1006"/>
          <ac:spMkLst>
            <pc:docMk/>
            <pc:sldMk cId="1527880861" sldId="2147481962"/>
            <ac:spMk id="9" creationId="{50578BE8-D1A1-88A9-5335-3EAB03A09671}"/>
          </ac:spMkLst>
        </pc:spChg>
        <pc:spChg chg="mod">
          <ac:chgData name="Kateryna Levchuk (UA)" userId="5dbb0cbd-4dc1-41d4-910d-5f884aef466d" providerId="ADAL" clId="{3D0DB7AE-1BA7-45E8-B6C7-4A63B94ABB52}" dt="2024-06-10T11:56:09.668" v="1006"/>
          <ac:spMkLst>
            <pc:docMk/>
            <pc:sldMk cId="1527880861" sldId="2147481962"/>
            <ac:spMk id="10" creationId="{50BE4780-E61C-31B4-1ACF-27C5F7103AC4}"/>
          </ac:spMkLst>
        </pc:spChg>
        <pc:spChg chg="mod">
          <ac:chgData name="Kateryna Levchuk (UA)" userId="5dbb0cbd-4dc1-41d4-910d-5f884aef466d" providerId="ADAL" clId="{3D0DB7AE-1BA7-45E8-B6C7-4A63B94ABB52}" dt="2024-06-10T11:56:09.668" v="1006"/>
          <ac:spMkLst>
            <pc:docMk/>
            <pc:sldMk cId="1527880861" sldId="2147481962"/>
            <ac:spMk id="11" creationId="{7FA87CEC-7AB3-0FB4-8474-060F6EEFB071}"/>
          </ac:spMkLst>
        </pc:spChg>
        <pc:grpChg chg="add mod">
          <ac:chgData name="Kateryna Levchuk (UA)" userId="5dbb0cbd-4dc1-41d4-910d-5f884aef466d" providerId="ADAL" clId="{3D0DB7AE-1BA7-45E8-B6C7-4A63B94ABB52}" dt="2024-06-10T11:56:09.668" v="1006"/>
          <ac:grpSpMkLst>
            <pc:docMk/>
            <pc:sldMk cId="1527880861" sldId="2147481962"/>
            <ac:grpSpMk id="2" creationId="{ECAE55E1-A001-CEFC-4B22-12C7E105490E}"/>
          </ac:grpSpMkLst>
        </pc:grpChg>
      </pc:sldChg>
      <pc:sldChg chg="addSp modSp">
        <pc:chgData name="Kateryna Levchuk (UA)" userId="5dbb0cbd-4dc1-41d4-910d-5f884aef466d" providerId="ADAL" clId="{3D0DB7AE-1BA7-45E8-B6C7-4A63B94ABB52}" dt="2024-06-10T11:56:11.734" v="1007"/>
        <pc:sldMkLst>
          <pc:docMk/>
          <pc:sldMk cId="3140329955" sldId="2147481963"/>
        </pc:sldMkLst>
        <pc:spChg chg="mod">
          <ac:chgData name="Kateryna Levchuk (UA)" userId="5dbb0cbd-4dc1-41d4-910d-5f884aef466d" providerId="ADAL" clId="{3D0DB7AE-1BA7-45E8-B6C7-4A63B94ABB52}" dt="2024-06-10T11:56:11.734" v="1007"/>
          <ac:spMkLst>
            <pc:docMk/>
            <pc:sldMk cId="3140329955" sldId="2147481963"/>
            <ac:spMk id="4" creationId="{DF8C69DC-17C1-3195-057E-9F0624CA0DBC}"/>
          </ac:spMkLst>
        </pc:spChg>
        <pc:spChg chg="mod">
          <ac:chgData name="Kateryna Levchuk (UA)" userId="5dbb0cbd-4dc1-41d4-910d-5f884aef466d" providerId="ADAL" clId="{3D0DB7AE-1BA7-45E8-B6C7-4A63B94ABB52}" dt="2024-06-10T11:56:11.734" v="1007"/>
          <ac:spMkLst>
            <pc:docMk/>
            <pc:sldMk cId="3140329955" sldId="2147481963"/>
            <ac:spMk id="5" creationId="{3B8A3C94-7C8D-8519-03BA-4A78679C9CE7}"/>
          </ac:spMkLst>
        </pc:spChg>
        <pc:spChg chg="mod">
          <ac:chgData name="Kateryna Levchuk (UA)" userId="5dbb0cbd-4dc1-41d4-910d-5f884aef466d" providerId="ADAL" clId="{3D0DB7AE-1BA7-45E8-B6C7-4A63B94ABB52}" dt="2024-06-10T11:56:11.734" v="1007"/>
          <ac:spMkLst>
            <pc:docMk/>
            <pc:sldMk cId="3140329955" sldId="2147481963"/>
            <ac:spMk id="6" creationId="{C8E062A3-CD48-7056-80FE-2725FD0A290C}"/>
          </ac:spMkLst>
        </pc:spChg>
        <pc:spChg chg="mod">
          <ac:chgData name="Kateryna Levchuk (UA)" userId="5dbb0cbd-4dc1-41d4-910d-5f884aef466d" providerId="ADAL" clId="{3D0DB7AE-1BA7-45E8-B6C7-4A63B94ABB52}" dt="2024-06-10T11:56:11.734" v="1007"/>
          <ac:spMkLst>
            <pc:docMk/>
            <pc:sldMk cId="3140329955" sldId="2147481963"/>
            <ac:spMk id="8" creationId="{7D9B02D0-FA72-8213-6EAA-69E56B433B60}"/>
          </ac:spMkLst>
        </pc:spChg>
        <pc:spChg chg="mod">
          <ac:chgData name="Kateryna Levchuk (UA)" userId="5dbb0cbd-4dc1-41d4-910d-5f884aef466d" providerId="ADAL" clId="{3D0DB7AE-1BA7-45E8-B6C7-4A63B94ABB52}" dt="2024-06-10T11:56:11.734" v="1007"/>
          <ac:spMkLst>
            <pc:docMk/>
            <pc:sldMk cId="3140329955" sldId="2147481963"/>
            <ac:spMk id="9" creationId="{8FC8408B-57CC-06D8-7D9A-309A5E5CA2A3}"/>
          </ac:spMkLst>
        </pc:spChg>
        <pc:spChg chg="mod">
          <ac:chgData name="Kateryna Levchuk (UA)" userId="5dbb0cbd-4dc1-41d4-910d-5f884aef466d" providerId="ADAL" clId="{3D0DB7AE-1BA7-45E8-B6C7-4A63B94ABB52}" dt="2024-06-10T11:56:11.734" v="1007"/>
          <ac:spMkLst>
            <pc:docMk/>
            <pc:sldMk cId="3140329955" sldId="2147481963"/>
            <ac:spMk id="10" creationId="{63F5CE96-13F8-ED02-B713-F5FD4280B1D6}"/>
          </ac:spMkLst>
        </pc:spChg>
        <pc:spChg chg="mod">
          <ac:chgData name="Kateryna Levchuk (UA)" userId="5dbb0cbd-4dc1-41d4-910d-5f884aef466d" providerId="ADAL" clId="{3D0DB7AE-1BA7-45E8-B6C7-4A63B94ABB52}" dt="2024-06-10T11:56:11.734" v="1007"/>
          <ac:spMkLst>
            <pc:docMk/>
            <pc:sldMk cId="3140329955" sldId="2147481963"/>
            <ac:spMk id="11" creationId="{4DFC66AE-B5DB-09EE-9021-A1175820FA51}"/>
          </ac:spMkLst>
        </pc:spChg>
        <pc:grpChg chg="add mod">
          <ac:chgData name="Kateryna Levchuk (UA)" userId="5dbb0cbd-4dc1-41d4-910d-5f884aef466d" providerId="ADAL" clId="{3D0DB7AE-1BA7-45E8-B6C7-4A63B94ABB52}" dt="2024-06-10T11:56:11.734" v="1007"/>
          <ac:grpSpMkLst>
            <pc:docMk/>
            <pc:sldMk cId="3140329955" sldId="2147481963"/>
            <ac:grpSpMk id="2" creationId="{837E6BD3-01FD-8171-7D26-B95141EA14C9}"/>
          </ac:grpSpMkLst>
        </pc:grpChg>
      </pc:sldChg>
      <pc:sldChg chg="addSp delSp modSp add mod">
        <pc:chgData name="Kateryna Levchuk (UA)" userId="5dbb0cbd-4dc1-41d4-910d-5f884aef466d" providerId="ADAL" clId="{3D0DB7AE-1BA7-45E8-B6C7-4A63B94ABB52}" dt="2024-06-10T13:25:10.252" v="1041"/>
        <pc:sldMkLst>
          <pc:docMk/>
          <pc:sldMk cId="2374614574" sldId="2147481964"/>
        </pc:sldMkLst>
        <pc:spChg chg="add mod">
          <ac:chgData name="Kateryna Levchuk (UA)" userId="5dbb0cbd-4dc1-41d4-910d-5f884aef466d" providerId="ADAL" clId="{3D0DB7AE-1BA7-45E8-B6C7-4A63B94ABB52}" dt="2024-06-10T10:48:56.112" v="507" actId="14100"/>
          <ac:spMkLst>
            <pc:docMk/>
            <pc:sldMk cId="2374614574" sldId="2147481964"/>
            <ac:spMk id="4" creationId="{25A187D6-C46F-CFDF-7C76-C02C3DA02A97}"/>
          </ac:spMkLst>
        </pc:spChg>
        <pc:spChg chg="del">
          <ac:chgData name="Kateryna Levchuk (UA)" userId="5dbb0cbd-4dc1-41d4-910d-5f884aef466d" providerId="ADAL" clId="{3D0DB7AE-1BA7-45E8-B6C7-4A63B94ABB52}" dt="2024-06-10T10:32:53.615" v="289" actId="478"/>
          <ac:spMkLst>
            <pc:docMk/>
            <pc:sldMk cId="2374614574" sldId="2147481964"/>
            <ac:spMk id="6" creationId="{9E46D0B5-F361-0943-4454-3E5586C21CCA}"/>
          </ac:spMkLst>
        </pc:spChg>
        <pc:spChg chg="mod">
          <ac:chgData name="Kateryna Levchuk (UA)" userId="5dbb0cbd-4dc1-41d4-910d-5f884aef466d" providerId="ADAL" clId="{3D0DB7AE-1BA7-45E8-B6C7-4A63B94ABB52}" dt="2024-06-10T10:33:06.002" v="291" actId="403"/>
          <ac:spMkLst>
            <pc:docMk/>
            <pc:sldMk cId="2374614574" sldId="2147481964"/>
            <ac:spMk id="9" creationId="{E60771D5-36B1-5846-E0FD-EE10BA67E143}"/>
          </ac:spMkLst>
        </pc:spChg>
        <pc:spChg chg="mod">
          <ac:chgData name="Kateryna Levchuk (UA)" userId="5dbb0cbd-4dc1-41d4-910d-5f884aef466d" providerId="ADAL" clId="{3D0DB7AE-1BA7-45E8-B6C7-4A63B94ABB52}" dt="2024-06-10T10:33:03.152" v="290" actId="403"/>
          <ac:spMkLst>
            <pc:docMk/>
            <pc:sldMk cId="2374614574" sldId="2147481964"/>
            <ac:spMk id="10" creationId="{0E3AF958-70C4-357F-D986-53A75E5CF63B}"/>
          </ac:spMkLst>
        </pc:spChg>
        <pc:spChg chg="del">
          <ac:chgData name="Kateryna Levchuk (UA)" userId="5dbb0cbd-4dc1-41d4-910d-5f884aef466d" providerId="ADAL" clId="{3D0DB7AE-1BA7-45E8-B6C7-4A63B94ABB52}" dt="2024-06-10T10:33:20.279" v="293" actId="478"/>
          <ac:spMkLst>
            <pc:docMk/>
            <pc:sldMk cId="2374614574" sldId="2147481964"/>
            <ac:spMk id="19" creationId="{3A07BD72-5576-53C1-BD24-E93959AEEC0C}"/>
          </ac:spMkLst>
        </pc:spChg>
        <pc:spChg chg="del">
          <ac:chgData name="Kateryna Levchuk (UA)" userId="5dbb0cbd-4dc1-41d4-910d-5f884aef466d" providerId="ADAL" clId="{3D0DB7AE-1BA7-45E8-B6C7-4A63B94ABB52}" dt="2024-06-10T10:33:21.198" v="294" actId="478"/>
          <ac:spMkLst>
            <pc:docMk/>
            <pc:sldMk cId="2374614574" sldId="2147481964"/>
            <ac:spMk id="20" creationId="{65DB62E6-BFFA-886D-687D-AC30DD6D33FB}"/>
          </ac:spMkLst>
        </pc:spChg>
        <pc:spChg chg="mod">
          <ac:chgData name="Kateryna Levchuk (UA)" userId="5dbb0cbd-4dc1-41d4-910d-5f884aef466d" providerId="ADAL" clId="{3D0DB7AE-1BA7-45E8-B6C7-4A63B94ABB52}" dt="2024-06-10T10:33:17.878" v="292"/>
          <ac:spMkLst>
            <pc:docMk/>
            <pc:sldMk cId="2374614574" sldId="2147481964"/>
            <ac:spMk id="26" creationId="{F31A449E-BB32-1C78-9F6C-07B64EDD22CF}"/>
          </ac:spMkLst>
        </pc:spChg>
        <pc:spChg chg="mod">
          <ac:chgData name="Kateryna Levchuk (UA)" userId="5dbb0cbd-4dc1-41d4-910d-5f884aef466d" providerId="ADAL" clId="{3D0DB7AE-1BA7-45E8-B6C7-4A63B94ABB52}" dt="2024-06-10T10:33:17.878" v="292"/>
          <ac:spMkLst>
            <pc:docMk/>
            <pc:sldMk cId="2374614574" sldId="2147481964"/>
            <ac:spMk id="27" creationId="{F2C91D2E-F199-00D4-8607-ECA823B4FEE8}"/>
          </ac:spMkLst>
        </pc:spChg>
        <pc:spChg chg="add mod">
          <ac:chgData name="Kateryna Levchuk (UA)" userId="5dbb0cbd-4dc1-41d4-910d-5f884aef466d" providerId="ADAL" clId="{3D0DB7AE-1BA7-45E8-B6C7-4A63B94ABB52}" dt="2024-06-10T10:40:10.103" v="383" actId="465"/>
          <ac:spMkLst>
            <pc:docMk/>
            <pc:sldMk cId="2374614574" sldId="2147481964"/>
            <ac:spMk id="28" creationId="{2209F6F9-D782-0291-E15B-6D2117955F34}"/>
          </ac:spMkLst>
        </pc:spChg>
        <pc:spChg chg="mod">
          <ac:chgData name="Kateryna Levchuk (UA)" userId="5dbb0cbd-4dc1-41d4-910d-5f884aef466d" providerId="ADAL" clId="{3D0DB7AE-1BA7-45E8-B6C7-4A63B94ABB52}" dt="2024-06-10T10:34:44.982" v="309"/>
          <ac:spMkLst>
            <pc:docMk/>
            <pc:sldMk cId="2374614574" sldId="2147481964"/>
            <ac:spMk id="30" creationId="{E3CF45F3-83CA-E7C7-8568-6590D97FFAF7}"/>
          </ac:spMkLst>
        </pc:spChg>
        <pc:spChg chg="mod">
          <ac:chgData name="Kateryna Levchuk (UA)" userId="5dbb0cbd-4dc1-41d4-910d-5f884aef466d" providerId="ADAL" clId="{3D0DB7AE-1BA7-45E8-B6C7-4A63B94ABB52}" dt="2024-06-10T10:34:44.982" v="309"/>
          <ac:spMkLst>
            <pc:docMk/>
            <pc:sldMk cId="2374614574" sldId="2147481964"/>
            <ac:spMk id="31" creationId="{6A82F08F-FAEA-8968-F2F9-C0CAC631922A}"/>
          </ac:spMkLst>
        </pc:spChg>
        <pc:spChg chg="add mod">
          <ac:chgData name="Kateryna Levchuk (UA)" userId="5dbb0cbd-4dc1-41d4-910d-5f884aef466d" providerId="ADAL" clId="{3D0DB7AE-1BA7-45E8-B6C7-4A63B94ABB52}" dt="2024-06-10T10:40:10.103" v="383" actId="465"/>
          <ac:spMkLst>
            <pc:docMk/>
            <pc:sldMk cId="2374614574" sldId="2147481964"/>
            <ac:spMk id="32" creationId="{C98CA82A-07BF-C73A-5BA1-329649C75B5E}"/>
          </ac:spMkLst>
        </pc:spChg>
        <pc:spChg chg="mod">
          <ac:chgData name="Kateryna Levchuk (UA)" userId="5dbb0cbd-4dc1-41d4-910d-5f884aef466d" providerId="ADAL" clId="{3D0DB7AE-1BA7-45E8-B6C7-4A63B94ABB52}" dt="2024-06-10T10:35:01.887" v="314"/>
          <ac:spMkLst>
            <pc:docMk/>
            <pc:sldMk cId="2374614574" sldId="2147481964"/>
            <ac:spMk id="35" creationId="{71A15FA8-EE1A-D7F3-8B32-062A4720968C}"/>
          </ac:spMkLst>
        </pc:spChg>
        <pc:spChg chg="mod">
          <ac:chgData name="Kateryna Levchuk (UA)" userId="5dbb0cbd-4dc1-41d4-910d-5f884aef466d" providerId="ADAL" clId="{3D0DB7AE-1BA7-45E8-B6C7-4A63B94ABB52}" dt="2024-06-10T10:35:01.887" v="314"/>
          <ac:spMkLst>
            <pc:docMk/>
            <pc:sldMk cId="2374614574" sldId="2147481964"/>
            <ac:spMk id="36" creationId="{CA9F9F44-947B-F338-1C09-1CA8EAC899AF}"/>
          </ac:spMkLst>
        </pc:spChg>
        <pc:spChg chg="add mod">
          <ac:chgData name="Kateryna Levchuk (UA)" userId="5dbb0cbd-4dc1-41d4-910d-5f884aef466d" providerId="ADAL" clId="{3D0DB7AE-1BA7-45E8-B6C7-4A63B94ABB52}" dt="2024-06-10T10:40:10.103" v="383" actId="465"/>
          <ac:spMkLst>
            <pc:docMk/>
            <pc:sldMk cId="2374614574" sldId="2147481964"/>
            <ac:spMk id="37" creationId="{CE88B349-A429-604A-7CDD-5879C0601232}"/>
          </ac:spMkLst>
        </pc:spChg>
        <pc:spChg chg="mod">
          <ac:chgData name="Kateryna Levchuk (UA)" userId="5dbb0cbd-4dc1-41d4-910d-5f884aef466d" providerId="ADAL" clId="{3D0DB7AE-1BA7-45E8-B6C7-4A63B94ABB52}" dt="2024-06-10T10:35:57.994" v="322"/>
          <ac:spMkLst>
            <pc:docMk/>
            <pc:sldMk cId="2374614574" sldId="2147481964"/>
            <ac:spMk id="39" creationId="{96854456-832C-548D-6FFD-5631A37B5C7F}"/>
          </ac:spMkLst>
        </pc:spChg>
        <pc:spChg chg="mod">
          <ac:chgData name="Kateryna Levchuk (UA)" userId="5dbb0cbd-4dc1-41d4-910d-5f884aef466d" providerId="ADAL" clId="{3D0DB7AE-1BA7-45E8-B6C7-4A63B94ABB52}" dt="2024-06-10T10:35:57.994" v="322"/>
          <ac:spMkLst>
            <pc:docMk/>
            <pc:sldMk cId="2374614574" sldId="2147481964"/>
            <ac:spMk id="40" creationId="{52F31D1E-ED35-18CF-BC75-7BE33BA6CA89}"/>
          </ac:spMkLst>
        </pc:spChg>
        <pc:spChg chg="add mod">
          <ac:chgData name="Kateryna Levchuk (UA)" userId="5dbb0cbd-4dc1-41d4-910d-5f884aef466d" providerId="ADAL" clId="{3D0DB7AE-1BA7-45E8-B6C7-4A63B94ABB52}" dt="2024-06-10T10:40:10.103" v="383" actId="465"/>
          <ac:spMkLst>
            <pc:docMk/>
            <pc:sldMk cId="2374614574" sldId="2147481964"/>
            <ac:spMk id="41" creationId="{63274C70-918A-2BCB-91E2-34E82C9BFE41}"/>
          </ac:spMkLst>
        </pc:spChg>
        <pc:spChg chg="mod">
          <ac:chgData name="Kateryna Levchuk (UA)" userId="5dbb0cbd-4dc1-41d4-910d-5f884aef466d" providerId="ADAL" clId="{3D0DB7AE-1BA7-45E8-B6C7-4A63B94ABB52}" dt="2024-06-10T10:36:25.327" v="328"/>
          <ac:spMkLst>
            <pc:docMk/>
            <pc:sldMk cId="2374614574" sldId="2147481964"/>
            <ac:spMk id="43" creationId="{2D09481F-6C27-F310-4DDC-1B64888BBBD8}"/>
          </ac:spMkLst>
        </pc:spChg>
        <pc:spChg chg="mod">
          <ac:chgData name="Kateryna Levchuk (UA)" userId="5dbb0cbd-4dc1-41d4-910d-5f884aef466d" providerId="ADAL" clId="{3D0DB7AE-1BA7-45E8-B6C7-4A63B94ABB52}" dt="2024-06-10T10:36:25.327" v="328"/>
          <ac:spMkLst>
            <pc:docMk/>
            <pc:sldMk cId="2374614574" sldId="2147481964"/>
            <ac:spMk id="44" creationId="{F5837D83-B764-27B3-DAB7-A4D90471ED14}"/>
          </ac:spMkLst>
        </pc:spChg>
        <pc:spChg chg="add mod">
          <ac:chgData name="Kateryna Levchuk (UA)" userId="5dbb0cbd-4dc1-41d4-910d-5f884aef466d" providerId="ADAL" clId="{3D0DB7AE-1BA7-45E8-B6C7-4A63B94ABB52}" dt="2024-06-10T10:40:10.103" v="383" actId="465"/>
          <ac:spMkLst>
            <pc:docMk/>
            <pc:sldMk cId="2374614574" sldId="2147481964"/>
            <ac:spMk id="45" creationId="{EE02E21D-7A66-BE54-7253-DF686F9759C9}"/>
          </ac:spMkLst>
        </pc:spChg>
        <pc:spChg chg="mod">
          <ac:chgData name="Kateryna Levchuk (UA)" userId="5dbb0cbd-4dc1-41d4-910d-5f884aef466d" providerId="ADAL" clId="{3D0DB7AE-1BA7-45E8-B6C7-4A63B94ABB52}" dt="2024-06-10T10:36:48.154" v="333"/>
          <ac:spMkLst>
            <pc:docMk/>
            <pc:sldMk cId="2374614574" sldId="2147481964"/>
            <ac:spMk id="47" creationId="{30E2AD97-D957-69F5-6397-C70EACD261A3}"/>
          </ac:spMkLst>
        </pc:spChg>
        <pc:spChg chg="mod">
          <ac:chgData name="Kateryna Levchuk (UA)" userId="5dbb0cbd-4dc1-41d4-910d-5f884aef466d" providerId="ADAL" clId="{3D0DB7AE-1BA7-45E8-B6C7-4A63B94ABB52}" dt="2024-06-10T10:36:48.154" v="333"/>
          <ac:spMkLst>
            <pc:docMk/>
            <pc:sldMk cId="2374614574" sldId="2147481964"/>
            <ac:spMk id="48" creationId="{B3ABC3F1-E60C-86D6-BB15-6A9637943537}"/>
          </ac:spMkLst>
        </pc:spChg>
        <pc:spChg chg="add mod">
          <ac:chgData name="Kateryna Levchuk (UA)" userId="5dbb0cbd-4dc1-41d4-910d-5f884aef466d" providerId="ADAL" clId="{3D0DB7AE-1BA7-45E8-B6C7-4A63B94ABB52}" dt="2024-06-10T10:40:10.103" v="383" actId="465"/>
          <ac:spMkLst>
            <pc:docMk/>
            <pc:sldMk cId="2374614574" sldId="2147481964"/>
            <ac:spMk id="49" creationId="{87A165B9-E942-8469-ACC8-FF007624F25D}"/>
          </ac:spMkLst>
        </pc:spChg>
        <pc:spChg chg="mod">
          <ac:chgData name="Kateryna Levchuk (UA)" userId="5dbb0cbd-4dc1-41d4-910d-5f884aef466d" providerId="ADAL" clId="{3D0DB7AE-1BA7-45E8-B6C7-4A63B94ABB52}" dt="2024-06-10T10:37:11.732" v="338"/>
          <ac:spMkLst>
            <pc:docMk/>
            <pc:sldMk cId="2374614574" sldId="2147481964"/>
            <ac:spMk id="51" creationId="{5CD0E6A0-465C-C30B-323F-6760C1FF4060}"/>
          </ac:spMkLst>
        </pc:spChg>
        <pc:spChg chg="mod">
          <ac:chgData name="Kateryna Levchuk (UA)" userId="5dbb0cbd-4dc1-41d4-910d-5f884aef466d" providerId="ADAL" clId="{3D0DB7AE-1BA7-45E8-B6C7-4A63B94ABB52}" dt="2024-06-10T10:37:11.732" v="338"/>
          <ac:spMkLst>
            <pc:docMk/>
            <pc:sldMk cId="2374614574" sldId="2147481964"/>
            <ac:spMk id="52" creationId="{E40D02BB-EF6E-3D2F-AD73-8DCE3B550AED}"/>
          </ac:spMkLst>
        </pc:spChg>
        <pc:spChg chg="add mod">
          <ac:chgData name="Kateryna Levchuk (UA)" userId="5dbb0cbd-4dc1-41d4-910d-5f884aef466d" providerId="ADAL" clId="{3D0DB7AE-1BA7-45E8-B6C7-4A63B94ABB52}" dt="2024-06-10T10:39:40.378" v="381" actId="1076"/>
          <ac:spMkLst>
            <pc:docMk/>
            <pc:sldMk cId="2374614574" sldId="2147481964"/>
            <ac:spMk id="53" creationId="{DD1A79B2-8C88-6493-28A2-986CDF4F2197}"/>
          </ac:spMkLst>
        </pc:spChg>
        <pc:spChg chg="mod">
          <ac:chgData name="Kateryna Levchuk (UA)" userId="5dbb0cbd-4dc1-41d4-910d-5f884aef466d" providerId="ADAL" clId="{3D0DB7AE-1BA7-45E8-B6C7-4A63B94ABB52}" dt="2024-06-10T10:37:38.084" v="344"/>
          <ac:spMkLst>
            <pc:docMk/>
            <pc:sldMk cId="2374614574" sldId="2147481964"/>
            <ac:spMk id="55" creationId="{50F1AE1F-09DC-A1CC-FC04-8F56F7AB229C}"/>
          </ac:spMkLst>
        </pc:spChg>
        <pc:spChg chg="mod">
          <ac:chgData name="Kateryna Levchuk (UA)" userId="5dbb0cbd-4dc1-41d4-910d-5f884aef466d" providerId="ADAL" clId="{3D0DB7AE-1BA7-45E8-B6C7-4A63B94ABB52}" dt="2024-06-10T10:37:38.084" v="344"/>
          <ac:spMkLst>
            <pc:docMk/>
            <pc:sldMk cId="2374614574" sldId="2147481964"/>
            <ac:spMk id="56" creationId="{423787B1-6C92-DE23-974F-20D7F93D4D79}"/>
          </ac:spMkLst>
        </pc:spChg>
        <pc:spChg chg="add del mod">
          <ac:chgData name="Kateryna Levchuk (UA)" userId="5dbb0cbd-4dc1-41d4-910d-5f884aef466d" providerId="ADAL" clId="{3D0DB7AE-1BA7-45E8-B6C7-4A63B94ABB52}" dt="2024-06-10T10:39:35.076" v="380"/>
          <ac:spMkLst>
            <pc:docMk/>
            <pc:sldMk cId="2374614574" sldId="2147481964"/>
            <ac:spMk id="57" creationId="{21F5CD77-7AAE-44A5-09E4-F83CE292D3BE}"/>
          </ac:spMkLst>
        </pc:spChg>
        <pc:spChg chg="mod">
          <ac:chgData name="Kateryna Levchuk (UA)" userId="5dbb0cbd-4dc1-41d4-910d-5f884aef466d" providerId="ADAL" clId="{3D0DB7AE-1BA7-45E8-B6C7-4A63B94ABB52}" dt="2024-06-10T10:39:34.030" v="379"/>
          <ac:spMkLst>
            <pc:docMk/>
            <pc:sldMk cId="2374614574" sldId="2147481964"/>
            <ac:spMk id="59" creationId="{56E69B06-E578-2A7D-C260-781C268A0684}"/>
          </ac:spMkLst>
        </pc:spChg>
        <pc:spChg chg="mod">
          <ac:chgData name="Kateryna Levchuk (UA)" userId="5dbb0cbd-4dc1-41d4-910d-5f884aef466d" providerId="ADAL" clId="{3D0DB7AE-1BA7-45E8-B6C7-4A63B94ABB52}" dt="2024-06-10T10:39:34.030" v="379"/>
          <ac:spMkLst>
            <pc:docMk/>
            <pc:sldMk cId="2374614574" sldId="2147481964"/>
            <ac:spMk id="60" creationId="{8ADA655F-3777-CEC0-7B77-503A61BD45DA}"/>
          </ac:spMkLst>
        </pc:spChg>
        <pc:spChg chg="mod">
          <ac:chgData name="Kateryna Levchuk (UA)" userId="5dbb0cbd-4dc1-41d4-910d-5f884aef466d" providerId="ADAL" clId="{3D0DB7AE-1BA7-45E8-B6C7-4A63B94ABB52}" dt="2024-06-10T10:40:37.356" v="384"/>
          <ac:spMkLst>
            <pc:docMk/>
            <pc:sldMk cId="2374614574" sldId="2147481964"/>
            <ac:spMk id="62" creationId="{9A5409C4-3DEA-E7EF-5B47-DEE299412CDF}"/>
          </ac:spMkLst>
        </pc:spChg>
        <pc:spChg chg="mod">
          <ac:chgData name="Kateryna Levchuk (UA)" userId="5dbb0cbd-4dc1-41d4-910d-5f884aef466d" providerId="ADAL" clId="{3D0DB7AE-1BA7-45E8-B6C7-4A63B94ABB52}" dt="2024-06-10T10:40:37.356" v="384"/>
          <ac:spMkLst>
            <pc:docMk/>
            <pc:sldMk cId="2374614574" sldId="2147481964"/>
            <ac:spMk id="63" creationId="{061C45B5-B256-159B-F609-D82115B29269}"/>
          </ac:spMkLst>
        </pc:spChg>
        <pc:spChg chg="mod">
          <ac:chgData name="Kateryna Levchuk (UA)" userId="5dbb0cbd-4dc1-41d4-910d-5f884aef466d" providerId="ADAL" clId="{3D0DB7AE-1BA7-45E8-B6C7-4A63B94ABB52}" dt="2024-06-10T10:40:37.356" v="384"/>
          <ac:spMkLst>
            <pc:docMk/>
            <pc:sldMk cId="2374614574" sldId="2147481964"/>
            <ac:spMk id="65" creationId="{91D33BF5-46DF-BDE9-0819-B516288A4C69}"/>
          </ac:spMkLst>
        </pc:spChg>
        <pc:spChg chg="mod">
          <ac:chgData name="Kateryna Levchuk (UA)" userId="5dbb0cbd-4dc1-41d4-910d-5f884aef466d" providerId="ADAL" clId="{3D0DB7AE-1BA7-45E8-B6C7-4A63B94ABB52}" dt="2024-06-10T10:40:37.356" v="384"/>
          <ac:spMkLst>
            <pc:docMk/>
            <pc:sldMk cId="2374614574" sldId="2147481964"/>
            <ac:spMk id="66" creationId="{C28CF947-1CAC-79A4-A4B1-1D4CDBC7B010}"/>
          </ac:spMkLst>
        </pc:spChg>
        <pc:spChg chg="mod">
          <ac:chgData name="Kateryna Levchuk (UA)" userId="5dbb0cbd-4dc1-41d4-910d-5f884aef466d" providerId="ADAL" clId="{3D0DB7AE-1BA7-45E8-B6C7-4A63B94ABB52}" dt="2024-06-10T10:40:37.356" v="384"/>
          <ac:spMkLst>
            <pc:docMk/>
            <pc:sldMk cId="2374614574" sldId="2147481964"/>
            <ac:spMk id="68" creationId="{2A1A4C8D-CEFF-8A74-29B3-0BABB62E46D6}"/>
          </ac:spMkLst>
        </pc:spChg>
        <pc:spChg chg="mod">
          <ac:chgData name="Kateryna Levchuk (UA)" userId="5dbb0cbd-4dc1-41d4-910d-5f884aef466d" providerId="ADAL" clId="{3D0DB7AE-1BA7-45E8-B6C7-4A63B94ABB52}" dt="2024-06-10T10:40:37.356" v="384"/>
          <ac:spMkLst>
            <pc:docMk/>
            <pc:sldMk cId="2374614574" sldId="2147481964"/>
            <ac:spMk id="69" creationId="{C9E9CB2C-D486-29E5-3A57-34C7475497DC}"/>
          </ac:spMkLst>
        </pc:spChg>
        <pc:spChg chg="mod">
          <ac:chgData name="Kateryna Levchuk (UA)" userId="5dbb0cbd-4dc1-41d4-910d-5f884aef466d" providerId="ADAL" clId="{3D0DB7AE-1BA7-45E8-B6C7-4A63B94ABB52}" dt="2024-06-10T10:40:37.356" v="384"/>
          <ac:spMkLst>
            <pc:docMk/>
            <pc:sldMk cId="2374614574" sldId="2147481964"/>
            <ac:spMk id="71" creationId="{C7ED61B0-02A3-7584-5A6F-B73807CCDB88}"/>
          </ac:spMkLst>
        </pc:spChg>
        <pc:spChg chg="mod">
          <ac:chgData name="Kateryna Levchuk (UA)" userId="5dbb0cbd-4dc1-41d4-910d-5f884aef466d" providerId="ADAL" clId="{3D0DB7AE-1BA7-45E8-B6C7-4A63B94ABB52}" dt="2024-06-10T10:40:37.356" v="384"/>
          <ac:spMkLst>
            <pc:docMk/>
            <pc:sldMk cId="2374614574" sldId="2147481964"/>
            <ac:spMk id="72" creationId="{E86C3E3B-ABF3-BA16-3001-549D05172582}"/>
          </ac:spMkLst>
        </pc:spChg>
        <pc:spChg chg="mod">
          <ac:chgData name="Kateryna Levchuk (UA)" userId="5dbb0cbd-4dc1-41d4-910d-5f884aef466d" providerId="ADAL" clId="{3D0DB7AE-1BA7-45E8-B6C7-4A63B94ABB52}" dt="2024-06-10T10:40:37.356" v="384"/>
          <ac:spMkLst>
            <pc:docMk/>
            <pc:sldMk cId="2374614574" sldId="2147481964"/>
            <ac:spMk id="74" creationId="{0995BC85-9BDE-61EC-CCDB-B36A24F63758}"/>
          </ac:spMkLst>
        </pc:spChg>
        <pc:spChg chg="mod">
          <ac:chgData name="Kateryna Levchuk (UA)" userId="5dbb0cbd-4dc1-41d4-910d-5f884aef466d" providerId="ADAL" clId="{3D0DB7AE-1BA7-45E8-B6C7-4A63B94ABB52}" dt="2024-06-10T10:40:37.356" v="384"/>
          <ac:spMkLst>
            <pc:docMk/>
            <pc:sldMk cId="2374614574" sldId="2147481964"/>
            <ac:spMk id="75" creationId="{0F29CCF2-DE1B-C77D-3B79-B05A23DE3F58}"/>
          </ac:spMkLst>
        </pc:spChg>
        <pc:spChg chg="add mod">
          <ac:chgData name="Kateryna Levchuk (UA)" userId="5dbb0cbd-4dc1-41d4-910d-5f884aef466d" providerId="ADAL" clId="{3D0DB7AE-1BA7-45E8-B6C7-4A63B94ABB52}" dt="2024-06-10T10:52:09.981" v="557" actId="14100"/>
          <ac:spMkLst>
            <pc:docMk/>
            <pc:sldMk cId="2374614574" sldId="2147481964"/>
            <ac:spMk id="76" creationId="{4BEC8D14-DCD4-6D5A-3729-16483CA61BD3}"/>
          </ac:spMkLst>
        </pc:spChg>
        <pc:spChg chg="add mod">
          <ac:chgData name="Kateryna Levchuk (UA)" userId="5dbb0cbd-4dc1-41d4-910d-5f884aef466d" providerId="ADAL" clId="{3D0DB7AE-1BA7-45E8-B6C7-4A63B94ABB52}" dt="2024-06-10T10:52:12.183" v="558" actId="14100"/>
          <ac:spMkLst>
            <pc:docMk/>
            <pc:sldMk cId="2374614574" sldId="2147481964"/>
            <ac:spMk id="77" creationId="{A62B391C-D62B-0A29-8B56-E451E90FC334}"/>
          </ac:spMkLst>
        </pc:spChg>
        <pc:spChg chg="add mod">
          <ac:chgData name="Kateryna Levchuk (UA)" userId="5dbb0cbd-4dc1-41d4-910d-5f884aef466d" providerId="ADAL" clId="{3D0DB7AE-1BA7-45E8-B6C7-4A63B94ABB52}" dt="2024-06-10T10:52:03.237" v="554" actId="14100"/>
          <ac:spMkLst>
            <pc:docMk/>
            <pc:sldMk cId="2374614574" sldId="2147481964"/>
            <ac:spMk id="78" creationId="{C161FB05-0F43-9DAD-BDB6-D0F917936CED}"/>
          </ac:spMkLst>
        </pc:spChg>
        <pc:spChg chg="add mod">
          <ac:chgData name="Kateryna Levchuk (UA)" userId="5dbb0cbd-4dc1-41d4-910d-5f884aef466d" providerId="ADAL" clId="{3D0DB7AE-1BA7-45E8-B6C7-4A63B94ABB52}" dt="2024-06-10T10:52:05.120" v="555" actId="14100"/>
          <ac:spMkLst>
            <pc:docMk/>
            <pc:sldMk cId="2374614574" sldId="2147481964"/>
            <ac:spMk id="79" creationId="{8E21E994-D42B-0D26-5C8A-D2F7046F5581}"/>
          </ac:spMkLst>
        </pc:spChg>
        <pc:spChg chg="add mod">
          <ac:chgData name="Kateryna Levchuk (UA)" userId="5dbb0cbd-4dc1-41d4-910d-5f884aef466d" providerId="ADAL" clId="{3D0DB7AE-1BA7-45E8-B6C7-4A63B94ABB52}" dt="2024-06-10T10:52:07.207" v="556" actId="14100"/>
          <ac:spMkLst>
            <pc:docMk/>
            <pc:sldMk cId="2374614574" sldId="2147481964"/>
            <ac:spMk id="80" creationId="{2EA01A62-58A4-C397-DFF9-AD440CB577B2}"/>
          </ac:spMkLst>
        </pc:spChg>
        <pc:spChg chg="add del mod">
          <ac:chgData name="Kateryna Levchuk (UA)" userId="5dbb0cbd-4dc1-41d4-910d-5f884aef466d" providerId="ADAL" clId="{3D0DB7AE-1BA7-45E8-B6C7-4A63B94ABB52}" dt="2024-06-10T10:50:07.398" v="535" actId="478"/>
          <ac:spMkLst>
            <pc:docMk/>
            <pc:sldMk cId="2374614574" sldId="2147481964"/>
            <ac:spMk id="81" creationId="{D2E816FD-CFE1-6634-8A73-EE475256A0F4}"/>
          </ac:spMkLst>
        </pc:spChg>
        <pc:spChg chg="mod">
          <ac:chgData name="Kateryna Levchuk (UA)" userId="5dbb0cbd-4dc1-41d4-910d-5f884aef466d" providerId="ADAL" clId="{3D0DB7AE-1BA7-45E8-B6C7-4A63B94ABB52}" dt="2024-06-10T10:51:28.905" v="550"/>
          <ac:spMkLst>
            <pc:docMk/>
            <pc:sldMk cId="2374614574" sldId="2147481964"/>
            <ac:spMk id="83" creationId="{A182E841-211F-4BFF-CCCF-8AE01C5752C3}"/>
          </ac:spMkLst>
        </pc:spChg>
        <pc:spChg chg="mod">
          <ac:chgData name="Kateryna Levchuk (UA)" userId="5dbb0cbd-4dc1-41d4-910d-5f884aef466d" providerId="ADAL" clId="{3D0DB7AE-1BA7-45E8-B6C7-4A63B94ABB52}" dt="2024-06-10T10:51:28.905" v="550"/>
          <ac:spMkLst>
            <pc:docMk/>
            <pc:sldMk cId="2374614574" sldId="2147481964"/>
            <ac:spMk id="84" creationId="{C99AB1B2-C96E-056E-EBA9-AF51C1A045EF}"/>
          </ac:spMkLst>
        </pc:spChg>
        <pc:spChg chg="mod">
          <ac:chgData name="Kateryna Levchuk (UA)" userId="5dbb0cbd-4dc1-41d4-910d-5f884aef466d" providerId="ADAL" clId="{3D0DB7AE-1BA7-45E8-B6C7-4A63B94ABB52}" dt="2024-06-10T10:51:28.905" v="550"/>
          <ac:spMkLst>
            <pc:docMk/>
            <pc:sldMk cId="2374614574" sldId="2147481964"/>
            <ac:spMk id="86" creationId="{89F8DF12-ED22-C341-2083-611CA3AE071D}"/>
          </ac:spMkLst>
        </pc:spChg>
        <pc:spChg chg="mod">
          <ac:chgData name="Kateryna Levchuk (UA)" userId="5dbb0cbd-4dc1-41d4-910d-5f884aef466d" providerId="ADAL" clId="{3D0DB7AE-1BA7-45E8-B6C7-4A63B94ABB52}" dt="2024-06-10T10:51:28.905" v="550"/>
          <ac:spMkLst>
            <pc:docMk/>
            <pc:sldMk cId="2374614574" sldId="2147481964"/>
            <ac:spMk id="87" creationId="{AAE5A134-B9E4-214F-C0D2-97B435F7A989}"/>
          </ac:spMkLst>
        </pc:spChg>
        <pc:spChg chg="mod">
          <ac:chgData name="Kateryna Levchuk (UA)" userId="5dbb0cbd-4dc1-41d4-910d-5f884aef466d" providerId="ADAL" clId="{3D0DB7AE-1BA7-45E8-B6C7-4A63B94ABB52}" dt="2024-06-10T10:51:28.905" v="550"/>
          <ac:spMkLst>
            <pc:docMk/>
            <pc:sldMk cId="2374614574" sldId="2147481964"/>
            <ac:spMk id="89" creationId="{5650C16F-2CDB-6CC0-BDD1-4F3FA02780A1}"/>
          </ac:spMkLst>
        </pc:spChg>
        <pc:spChg chg="mod">
          <ac:chgData name="Kateryna Levchuk (UA)" userId="5dbb0cbd-4dc1-41d4-910d-5f884aef466d" providerId="ADAL" clId="{3D0DB7AE-1BA7-45E8-B6C7-4A63B94ABB52}" dt="2024-06-10T10:51:28.905" v="550"/>
          <ac:spMkLst>
            <pc:docMk/>
            <pc:sldMk cId="2374614574" sldId="2147481964"/>
            <ac:spMk id="90" creationId="{F48B3D76-BAA9-38B3-274D-1A5C06F88F6C}"/>
          </ac:spMkLst>
        </pc:spChg>
        <pc:spChg chg="mod">
          <ac:chgData name="Kateryna Levchuk (UA)" userId="5dbb0cbd-4dc1-41d4-910d-5f884aef466d" providerId="ADAL" clId="{3D0DB7AE-1BA7-45E8-B6C7-4A63B94ABB52}" dt="2024-06-10T10:51:28.905" v="550"/>
          <ac:spMkLst>
            <pc:docMk/>
            <pc:sldMk cId="2374614574" sldId="2147481964"/>
            <ac:spMk id="92" creationId="{0222F0C2-75AE-C919-0530-0CD11EEE7E2E}"/>
          </ac:spMkLst>
        </pc:spChg>
        <pc:spChg chg="mod">
          <ac:chgData name="Kateryna Levchuk (UA)" userId="5dbb0cbd-4dc1-41d4-910d-5f884aef466d" providerId="ADAL" clId="{3D0DB7AE-1BA7-45E8-B6C7-4A63B94ABB52}" dt="2024-06-10T10:51:28.905" v="550"/>
          <ac:spMkLst>
            <pc:docMk/>
            <pc:sldMk cId="2374614574" sldId="2147481964"/>
            <ac:spMk id="93" creationId="{D9276B21-2485-DE92-F54A-43A58484D2BC}"/>
          </ac:spMkLst>
        </pc:spChg>
        <pc:spChg chg="mod">
          <ac:chgData name="Kateryna Levchuk (UA)" userId="5dbb0cbd-4dc1-41d4-910d-5f884aef466d" providerId="ADAL" clId="{3D0DB7AE-1BA7-45E8-B6C7-4A63B94ABB52}" dt="2024-06-10T10:51:28.905" v="550"/>
          <ac:spMkLst>
            <pc:docMk/>
            <pc:sldMk cId="2374614574" sldId="2147481964"/>
            <ac:spMk id="95" creationId="{C67052FF-53F8-055F-149B-4759C882B756}"/>
          </ac:spMkLst>
        </pc:spChg>
        <pc:spChg chg="mod">
          <ac:chgData name="Kateryna Levchuk (UA)" userId="5dbb0cbd-4dc1-41d4-910d-5f884aef466d" providerId="ADAL" clId="{3D0DB7AE-1BA7-45E8-B6C7-4A63B94ABB52}" dt="2024-06-10T10:51:28.905" v="550"/>
          <ac:spMkLst>
            <pc:docMk/>
            <pc:sldMk cId="2374614574" sldId="2147481964"/>
            <ac:spMk id="96" creationId="{4205EC8E-AE3E-9A4A-2011-E70FF5E85D74}"/>
          </ac:spMkLst>
        </pc:spChg>
        <pc:spChg chg="mod">
          <ac:chgData name="Kateryna Levchuk (UA)" userId="5dbb0cbd-4dc1-41d4-910d-5f884aef466d" providerId="ADAL" clId="{3D0DB7AE-1BA7-45E8-B6C7-4A63B94ABB52}" dt="2024-06-10T13:25:10.252" v="1041"/>
          <ac:spMkLst>
            <pc:docMk/>
            <pc:sldMk cId="2374614574" sldId="2147481964"/>
            <ac:spMk id="98" creationId="{AAF66931-D77A-3CD1-F99C-1ED077236170}"/>
          </ac:spMkLst>
        </pc:spChg>
        <pc:spChg chg="mod">
          <ac:chgData name="Kateryna Levchuk (UA)" userId="5dbb0cbd-4dc1-41d4-910d-5f884aef466d" providerId="ADAL" clId="{3D0DB7AE-1BA7-45E8-B6C7-4A63B94ABB52}" dt="2024-06-10T13:25:10.252" v="1041"/>
          <ac:spMkLst>
            <pc:docMk/>
            <pc:sldMk cId="2374614574" sldId="2147481964"/>
            <ac:spMk id="99" creationId="{73AA1312-ED71-28A8-BCDA-20DCE3B803AF}"/>
          </ac:spMkLst>
        </pc:spChg>
        <pc:spChg chg="mod">
          <ac:chgData name="Kateryna Levchuk (UA)" userId="5dbb0cbd-4dc1-41d4-910d-5f884aef466d" providerId="ADAL" clId="{3D0DB7AE-1BA7-45E8-B6C7-4A63B94ABB52}" dt="2024-06-10T13:25:10.252" v="1041"/>
          <ac:spMkLst>
            <pc:docMk/>
            <pc:sldMk cId="2374614574" sldId="2147481964"/>
            <ac:spMk id="100" creationId="{021E07F3-AEA5-E3C6-3D95-650DDB6DFF2C}"/>
          </ac:spMkLst>
        </pc:spChg>
        <pc:spChg chg="mod">
          <ac:chgData name="Kateryna Levchuk (UA)" userId="5dbb0cbd-4dc1-41d4-910d-5f884aef466d" providerId="ADAL" clId="{3D0DB7AE-1BA7-45E8-B6C7-4A63B94ABB52}" dt="2024-06-10T13:25:10.252" v="1041"/>
          <ac:spMkLst>
            <pc:docMk/>
            <pc:sldMk cId="2374614574" sldId="2147481964"/>
            <ac:spMk id="101" creationId="{B3D9B08A-8B79-74DB-DCC6-DC32429B3E57}"/>
          </ac:spMkLst>
        </pc:spChg>
        <pc:spChg chg="mod">
          <ac:chgData name="Kateryna Levchuk (UA)" userId="5dbb0cbd-4dc1-41d4-910d-5f884aef466d" providerId="ADAL" clId="{3D0DB7AE-1BA7-45E8-B6C7-4A63B94ABB52}" dt="2024-06-10T13:25:10.252" v="1041"/>
          <ac:spMkLst>
            <pc:docMk/>
            <pc:sldMk cId="2374614574" sldId="2147481964"/>
            <ac:spMk id="102" creationId="{F002A1F8-0155-B94E-0CDB-64EC7C7D2C83}"/>
          </ac:spMkLst>
        </pc:spChg>
        <pc:spChg chg="mod">
          <ac:chgData name="Kateryna Levchuk (UA)" userId="5dbb0cbd-4dc1-41d4-910d-5f884aef466d" providerId="ADAL" clId="{3D0DB7AE-1BA7-45E8-B6C7-4A63B94ABB52}" dt="2024-06-10T13:25:10.252" v="1041"/>
          <ac:spMkLst>
            <pc:docMk/>
            <pc:sldMk cId="2374614574" sldId="2147481964"/>
            <ac:spMk id="103" creationId="{6332771C-1722-E014-BFA0-C30BA4478A2F}"/>
          </ac:spMkLst>
        </pc:spChg>
        <pc:grpChg chg="add mod">
          <ac:chgData name="Kateryna Levchuk (UA)" userId="5dbb0cbd-4dc1-41d4-910d-5f884aef466d" providerId="ADAL" clId="{3D0DB7AE-1BA7-45E8-B6C7-4A63B94ABB52}" dt="2024-06-10T10:39:23.339" v="376" actId="14100"/>
          <ac:grpSpMkLst>
            <pc:docMk/>
            <pc:sldMk cId="2374614574" sldId="2147481964"/>
            <ac:grpSpMk id="25" creationId="{1E055E3B-7E37-6FEC-B3F6-C4027E6BCA27}"/>
          </ac:grpSpMkLst>
        </pc:grpChg>
        <pc:grpChg chg="add mod">
          <ac:chgData name="Kateryna Levchuk (UA)" userId="5dbb0cbd-4dc1-41d4-910d-5f884aef466d" providerId="ADAL" clId="{3D0DB7AE-1BA7-45E8-B6C7-4A63B94ABB52}" dt="2024-06-10T10:39:55.172" v="382" actId="465"/>
          <ac:grpSpMkLst>
            <pc:docMk/>
            <pc:sldMk cId="2374614574" sldId="2147481964"/>
            <ac:grpSpMk id="29" creationId="{1557C772-899E-94BB-AF06-1D87BCD109F9}"/>
          </ac:grpSpMkLst>
        </pc:grpChg>
        <pc:grpChg chg="del">
          <ac:chgData name="Kateryna Levchuk (UA)" userId="5dbb0cbd-4dc1-41d4-910d-5f884aef466d" providerId="ADAL" clId="{3D0DB7AE-1BA7-45E8-B6C7-4A63B94ABB52}" dt="2024-06-10T13:24:37.540" v="1032" actId="478"/>
          <ac:grpSpMkLst>
            <pc:docMk/>
            <pc:sldMk cId="2374614574" sldId="2147481964"/>
            <ac:grpSpMk id="33" creationId="{97B78DF5-D688-FC90-51A7-E3DCA72B1ACA}"/>
          </ac:grpSpMkLst>
        </pc:grpChg>
        <pc:grpChg chg="add mod">
          <ac:chgData name="Kateryna Levchuk (UA)" userId="5dbb0cbd-4dc1-41d4-910d-5f884aef466d" providerId="ADAL" clId="{3D0DB7AE-1BA7-45E8-B6C7-4A63B94ABB52}" dt="2024-06-10T10:39:55.172" v="382" actId="465"/>
          <ac:grpSpMkLst>
            <pc:docMk/>
            <pc:sldMk cId="2374614574" sldId="2147481964"/>
            <ac:grpSpMk id="34" creationId="{6C2E591A-08D0-AA76-645D-F0D81CC9C9D6}"/>
          </ac:grpSpMkLst>
        </pc:grpChg>
        <pc:grpChg chg="add mod">
          <ac:chgData name="Kateryna Levchuk (UA)" userId="5dbb0cbd-4dc1-41d4-910d-5f884aef466d" providerId="ADAL" clId="{3D0DB7AE-1BA7-45E8-B6C7-4A63B94ABB52}" dt="2024-06-10T10:39:55.172" v="382" actId="465"/>
          <ac:grpSpMkLst>
            <pc:docMk/>
            <pc:sldMk cId="2374614574" sldId="2147481964"/>
            <ac:grpSpMk id="38" creationId="{15B95CF3-7738-A184-C0D2-0BF2CD425CCC}"/>
          </ac:grpSpMkLst>
        </pc:grpChg>
        <pc:grpChg chg="add mod">
          <ac:chgData name="Kateryna Levchuk (UA)" userId="5dbb0cbd-4dc1-41d4-910d-5f884aef466d" providerId="ADAL" clId="{3D0DB7AE-1BA7-45E8-B6C7-4A63B94ABB52}" dt="2024-06-10T10:39:55.172" v="382" actId="465"/>
          <ac:grpSpMkLst>
            <pc:docMk/>
            <pc:sldMk cId="2374614574" sldId="2147481964"/>
            <ac:grpSpMk id="42" creationId="{B586DB99-0D7D-6F66-683F-9D659D61CFD7}"/>
          </ac:grpSpMkLst>
        </pc:grpChg>
        <pc:grpChg chg="add mod">
          <ac:chgData name="Kateryna Levchuk (UA)" userId="5dbb0cbd-4dc1-41d4-910d-5f884aef466d" providerId="ADAL" clId="{3D0DB7AE-1BA7-45E8-B6C7-4A63B94ABB52}" dt="2024-06-10T10:39:55.172" v="382" actId="465"/>
          <ac:grpSpMkLst>
            <pc:docMk/>
            <pc:sldMk cId="2374614574" sldId="2147481964"/>
            <ac:grpSpMk id="46" creationId="{2A0FE5AA-FD4F-8651-2603-42AE12BD777C}"/>
          </ac:grpSpMkLst>
        </pc:grpChg>
        <pc:grpChg chg="add mod">
          <ac:chgData name="Kateryna Levchuk (UA)" userId="5dbb0cbd-4dc1-41d4-910d-5f884aef466d" providerId="ADAL" clId="{3D0DB7AE-1BA7-45E8-B6C7-4A63B94ABB52}" dt="2024-06-10T10:39:55.172" v="382" actId="465"/>
          <ac:grpSpMkLst>
            <pc:docMk/>
            <pc:sldMk cId="2374614574" sldId="2147481964"/>
            <ac:grpSpMk id="50" creationId="{A4C51F50-2AC9-88C8-DB72-702C2D0C7B81}"/>
          </ac:grpSpMkLst>
        </pc:grpChg>
        <pc:grpChg chg="add mod">
          <ac:chgData name="Kateryna Levchuk (UA)" userId="5dbb0cbd-4dc1-41d4-910d-5f884aef466d" providerId="ADAL" clId="{3D0DB7AE-1BA7-45E8-B6C7-4A63B94ABB52}" dt="2024-06-10T10:39:40.378" v="381" actId="1076"/>
          <ac:grpSpMkLst>
            <pc:docMk/>
            <pc:sldMk cId="2374614574" sldId="2147481964"/>
            <ac:grpSpMk id="54" creationId="{D3AEC4FA-C8EE-5232-86D5-CC17319F82D4}"/>
          </ac:grpSpMkLst>
        </pc:grpChg>
        <pc:grpChg chg="add del mod">
          <ac:chgData name="Kateryna Levchuk (UA)" userId="5dbb0cbd-4dc1-41d4-910d-5f884aef466d" providerId="ADAL" clId="{3D0DB7AE-1BA7-45E8-B6C7-4A63B94ABB52}" dt="2024-06-10T10:39:35.076" v="380"/>
          <ac:grpSpMkLst>
            <pc:docMk/>
            <pc:sldMk cId="2374614574" sldId="2147481964"/>
            <ac:grpSpMk id="58" creationId="{ABE17645-7095-FAD8-618F-F69F32AE06B3}"/>
          </ac:grpSpMkLst>
        </pc:grpChg>
        <pc:grpChg chg="add del mod">
          <ac:chgData name="Kateryna Levchuk (UA)" userId="5dbb0cbd-4dc1-41d4-910d-5f884aef466d" providerId="ADAL" clId="{3D0DB7AE-1BA7-45E8-B6C7-4A63B94ABB52}" dt="2024-06-10T10:48:28.933" v="493" actId="478"/>
          <ac:grpSpMkLst>
            <pc:docMk/>
            <pc:sldMk cId="2374614574" sldId="2147481964"/>
            <ac:grpSpMk id="61" creationId="{0385A028-BCD7-D1EF-79A0-63A705758CA0}"/>
          </ac:grpSpMkLst>
        </pc:grpChg>
        <pc:grpChg chg="add del mod">
          <ac:chgData name="Kateryna Levchuk (UA)" userId="5dbb0cbd-4dc1-41d4-910d-5f884aef466d" providerId="ADAL" clId="{3D0DB7AE-1BA7-45E8-B6C7-4A63B94ABB52}" dt="2024-06-10T10:48:25.920" v="489" actId="478"/>
          <ac:grpSpMkLst>
            <pc:docMk/>
            <pc:sldMk cId="2374614574" sldId="2147481964"/>
            <ac:grpSpMk id="64" creationId="{B3992DCC-0473-5105-C02F-1816948E383F}"/>
          </ac:grpSpMkLst>
        </pc:grpChg>
        <pc:grpChg chg="add del mod">
          <ac:chgData name="Kateryna Levchuk (UA)" userId="5dbb0cbd-4dc1-41d4-910d-5f884aef466d" providerId="ADAL" clId="{3D0DB7AE-1BA7-45E8-B6C7-4A63B94ABB52}" dt="2024-06-10T10:48:26.694" v="490" actId="478"/>
          <ac:grpSpMkLst>
            <pc:docMk/>
            <pc:sldMk cId="2374614574" sldId="2147481964"/>
            <ac:grpSpMk id="67" creationId="{C765C372-1140-9EC7-48D7-073DE3DFDD69}"/>
          </ac:grpSpMkLst>
        </pc:grpChg>
        <pc:grpChg chg="add del mod">
          <ac:chgData name="Kateryna Levchuk (UA)" userId="5dbb0cbd-4dc1-41d4-910d-5f884aef466d" providerId="ADAL" clId="{3D0DB7AE-1BA7-45E8-B6C7-4A63B94ABB52}" dt="2024-06-10T10:48:27.513" v="491" actId="478"/>
          <ac:grpSpMkLst>
            <pc:docMk/>
            <pc:sldMk cId="2374614574" sldId="2147481964"/>
            <ac:grpSpMk id="70" creationId="{D73B935D-DE5B-4B27-EBB7-A19F73D6B35C}"/>
          </ac:grpSpMkLst>
        </pc:grpChg>
        <pc:grpChg chg="add del mod">
          <ac:chgData name="Kateryna Levchuk (UA)" userId="5dbb0cbd-4dc1-41d4-910d-5f884aef466d" providerId="ADAL" clId="{3D0DB7AE-1BA7-45E8-B6C7-4A63B94ABB52}" dt="2024-06-10T10:48:28.071" v="492" actId="478"/>
          <ac:grpSpMkLst>
            <pc:docMk/>
            <pc:sldMk cId="2374614574" sldId="2147481964"/>
            <ac:grpSpMk id="73" creationId="{64512257-8A78-555C-6A1D-05DEB69412ED}"/>
          </ac:grpSpMkLst>
        </pc:grpChg>
        <pc:grpChg chg="add mod">
          <ac:chgData name="Kateryna Levchuk (UA)" userId="5dbb0cbd-4dc1-41d4-910d-5f884aef466d" providerId="ADAL" clId="{3D0DB7AE-1BA7-45E8-B6C7-4A63B94ABB52}" dt="2024-06-10T10:51:47.348" v="552" actId="1076"/>
          <ac:grpSpMkLst>
            <pc:docMk/>
            <pc:sldMk cId="2374614574" sldId="2147481964"/>
            <ac:grpSpMk id="82" creationId="{E9D671BA-4CF3-D440-0D01-2CF4A0E7A381}"/>
          </ac:grpSpMkLst>
        </pc:grpChg>
        <pc:grpChg chg="add mod">
          <ac:chgData name="Kateryna Levchuk (UA)" userId="5dbb0cbd-4dc1-41d4-910d-5f884aef466d" providerId="ADAL" clId="{3D0DB7AE-1BA7-45E8-B6C7-4A63B94ABB52}" dt="2024-06-10T10:51:47.348" v="552" actId="1076"/>
          <ac:grpSpMkLst>
            <pc:docMk/>
            <pc:sldMk cId="2374614574" sldId="2147481964"/>
            <ac:grpSpMk id="85" creationId="{4BACE212-9EE2-CE6E-5817-539E42E6E5E2}"/>
          </ac:grpSpMkLst>
        </pc:grpChg>
        <pc:grpChg chg="add mod">
          <ac:chgData name="Kateryna Levchuk (UA)" userId="5dbb0cbd-4dc1-41d4-910d-5f884aef466d" providerId="ADAL" clId="{3D0DB7AE-1BA7-45E8-B6C7-4A63B94ABB52}" dt="2024-06-10T10:51:47.348" v="552" actId="1076"/>
          <ac:grpSpMkLst>
            <pc:docMk/>
            <pc:sldMk cId="2374614574" sldId="2147481964"/>
            <ac:grpSpMk id="88" creationId="{49940A1C-944A-C443-F9A3-8E59E6D5D9BB}"/>
          </ac:grpSpMkLst>
        </pc:grpChg>
        <pc:grpChg chg="add mod">
          <ac:chgData name="Kateryna Levchuk (UA)" userId="5dbb0cbd-4dc1-41d4-910d-5f884aef466d" providerId="ADAL" clId="{3D0DB7AE-1BA7-45E8-B6C7-4A63B94ABB52}" dt="2024-06-10T10:51:47.348" v="552" actId="1076"/>
          <ac:grpSpMkLst>
            <pc:docMk/>
            <pc:sldMk cId="2374614574" sldId="2147481964"/>
            <ac:grpSpMk id="91" creationId="{4E62F7DD-F2FF-8259-A439-1A57BC776ABC}"/>
          </ac:grpSpMkLst>
        </pc:grpChg>
        <pc:grpChg chg="add mod">
          <ac:chgData name="Kateryna Levchuk (UA)" userId="5dbb0cbd-4dc1-41d4-910d-5f884aef466d" providerId="ADAL" clId="{3D0DB7AE-1BA7-45E8-B6C7-4A63B94ABB52}" dt="2024-06-10T10:51:47.348" v="552" actId="1076"/>
          <ac:grpSpMkLst>
            <pc:docMk/>
            <pc:sldMk cId="2374614574" sldId="2147481964"/>
            <ac:grpSpMk id="94" creationId="{F84C8B3E-143B-562F-C812-DFC011A819B9}"/>
          </ac:grpSpMkLst>
        </pc:grpChg>
        <pc:grpChg chg="add mod">
          <ac:chgData name="Kateryna Levchuk (UA)" userId="5dbb0cbd-4dc1-41d4-910d-5f884aef466d" providerId="ADAL" clId="{3D0DB7AE-1BA7-45E8-B6C7-4A63B94ABB52}" dt="2024-06-10T13:25:10.252" v="1041"/>
          <ac:grpSpMkLst>
            <pc:docMk/>
            <pc:sldMk cId="2374614574" sldId="2147481964"/>
            <ac:grpSpMk id="97" creationId="{62E4319F-D9C4-CE7E-8441-9C59CF043125}"/>
          </ac:grpSpMkLst>
        </pc:grpChg>
      </pc:sldChg>
      <pc:sldChg chg="addSp delSp modSp add mod">
        <pc:chgData name="Kateryna Levchuk (UA)" userId="5dbb0cbd-4dc1-41d4-910d-5f884aef466d" providerId="ADAL" clId="{3D0DB7AE-1BA7-45E8-B6C7-4A63B94ABB52}" dt="2024-06-10T13:51:35.605" v="1362" actId="1076"/>
        <pc:sldMkLst>
          <pc:docMk/>
          <pc:sldMk cId="2752004613" sldId="2147481965"/>
        </pc:sldMkLst>
        <pc:spChg chg="del">
          <ac:chgData name="Kateryna Levchuk (UA)" userId="5dbb0cbd-4dc1-41d4-910d-5f884aef466d" providerId="ADAL" clId="{3D0DB7AE-1BA7-45E8-B6C7-4A63B94ABB52}" dt="2024-06-10T10:52:52.011" v="563" actId="478"/>
          <ac:spMkLst>
            <pc:docMk/>
            <pc:sldMk cId="2752004613" sldId="2147481965"/>
            <ac:spMk id="4" creationId="{90309381-2350-E32A-D998-0DE68AD8DA4A}"/>
          </ac:spMkLst>
        </pc:spChg>
        <pc:spChg chg="mod">
          <ac:chgData name="Kateryna Levchuk (UA)" userId="5dbb0cbd-4dc1-41d4-910d-5f884aef466d" providerId="ADAL" clId="{3D0DB7AE-1BA7-45E8-B6C7-4A63B94ABB52}" dt="2024-06-10T11:44:29.249" v="853" actId="14100"/>
          <ac:spMkLst>
            <pc:docMk/>
            <pc:sldMk cId="2752004613" sldId="2147481965"/>
            <ac:spMk id="9" creationId="{E60771D5-36B1-5846-E0FD-EE10BA67E143}"/>
          </ac:spMkLst>
        </pc:spChg>
        <pc:spChg chg="mod">
          <ac:chgData name="Kateryna Levchuk (UA)" userId="5dbb0cbd-4dc1-41d4-910d-5f884aef466d" providerId="ADAL" clId="{3D0DB7AE-1BA7-45E8-B6C7-4A63B94ABB52}" dt="2024-06-10T11:45:52.495" v="889" actId="14100"/>
          <ac:spMkLst>
            <pc:docMk/>
            <pc:sldMk cId="2752004613" sldId="2147481965"/>
            <ac:spMk id="10" creationId="{0E3AF958-70C4-357F-D986-53A75E5CF63B}"/>
          </ac:spMkLst>
        </pc:spChg>
        <pc:spChg chg="mod">
          <ac:chgData name="Kateryna Levchuk (UA)" userId="5dbb0cbd-4dc1-41d4-910d-5f884aef466d" providerId="ADAL" clId="{3D0DB7AE-1BA7-45E8-B6C7-4A63B94ABB52}" dt="2024-06-10T11:44:26.097" v="852" actId="1076"/>
          <ac:spMkLst>
            <pc:docMk/>
            <pc:sldMk cId="2752004613" sldId="2147481965"/>
            <ac:spMk id="12" creationId="{9FE544F4-5FE9-EB4A-60A5-5DB0C11FA6FA}"/>
          </ac:spMkLst>
        </pc:spChg>
        <pc:spChg chg="del">
          <ac:chgData name="Kateryna Levchuk (UA)" userId="5dbb0cbd-4dc1-41d4-910d-5f884aef466d" providerId="ADAL" clId="{3D0DB7AE-1BA7-45E8-B6C7-4A63B94ABB52}" dt="2024-06-10T10:52:49.152" v="562" actId="478"/>
          <ac:spMkLst>
            <pc:docMk/>
            <pc:sldMk cId="2752004613" sldId="2147481965"/>
            <ac:spMk id="14" creationId="{5B5D085A-3398-3BD7-B8AA-EE3669531778}"/>
          </ac:spMkLst>
        </pc:spChg>
        <pc:spChg chg="add del mod">
          <ac:chgData name="Kateryna Levchuk (UA)" userId="5dbb0cbd-4dc1-41d4-910d-5f884aef466d" providerId="ADAL" clId="{3D0DB7AE-1BA7-45E8-B6C7-4A63B94ABB52}" dt="2024-06-10T10:53:56.991" v="576"/>
          <ac:spMkLst>
            <pc:docMk/>
            <pc:sldMk cId="2752004613" sldId="2147481965"/>
            <ac:spMk id="16" creationId="{911C036C-F7FF-EA82-CAF0-A16D37FB8600}"/>
          </ac:spMkLst>
        </pc:spChg>
        <pc:spChg chg="mod topLvl">
          <ac:chgData name="Kateryna Levchuk (UA)" userId="5dbb0cbd-4dc1-41d4-910d-5f884aef466d" providerId="ADAL" clId="{3D0DB7AE-1BA7-45E8-B6C7-4A63B94ABB52}" dt="2024-06-10T13:24:26.372" v="1029" actId="164"/>
          <ac:spMkLst>
            <pc:docMk/>
            <pc:sldMk cId="2752004613" sldId="2147481965"/>
            <ac:spMk id="17" creationId="{63E7A5D7-CFE1-520D-819B-3703E53CBA5E}"/>
          </ac:spMkLst>
        </pc:spChg>
        <pc:spChg chg="mod topLvl">
          <ac:chgData name="Kateryna Levchuk (UA)" userId="5dbb0cbd-4dc1-41d4-910d-5f884aef466d" providerId="ADAL" clId="{3D0DB7AE-1BA7-45E8-B6C7-4A63B94ABB52}" dt="2024-06-10T13:24:26.372" v="1029" actId="164"/>
          <ac:spMkLst>
            <pc:docMk/>
            <pc:sldMk cId="2752004613" sldId="2147481965"/>
            <ac:spMk id="19" creationId="{AF00175B-FD76-4FA8-F7C9-6353DF9C6180}"/>
          </ac:spMkLst>
        </pc:spChg>
        <pc:spChg chg="del">
          <ac:chgData name="Kateryna Levchuk (UA)" userId="5dbb0cbd-4dc1-41d4-910d-5f884aef466d" providerId="ADAL" clId="{3D0DB7AE-1BA7-45E8-B6C7-4A63B94ABB52}" dt="2024-06-10T10:52:52.613" v="564" actId="478"/>
          <ac:spMkLst>
            <pc:docMk/>
            <pc:sldMk cId="2752004613" sldId="2147481965"/>
            <ac:spMk id="20" creationId="{65DB62E6-BFFA-886D-687D-AC30DD6D33FB}"/>
          </ac:spMkLst>
        </pc:spChg>
        <pc:spChg chg="mod topLvl">
          <ac:chgData name="Kateryna Levchuk (UA)" userId="5dbb0cbd-4dc1-41d4-910d-5f884aef466d" providerId="ADAL" clId="{3D0DB7AE-1BA7-45E8-B6C7-4A63B94ABB52}" dt="2024-06-10T13:24:26.372" v="1029" actId="164"/>
          <ac:spMkLst>
            <pc:docMk/>
            <pc:sldMk cId="2752004613" sldId="2147481965"/>
            <ac:spMk id="22" creationId="{857FB673-D176-EF67-AF60-57DCFAC4504F}"/>
          </ac:spMkLst>
        </pc:spChg>
        <pc:spChg chg="mod topLvl">
          <ac:chgData name="Kateryna Levchuk (UA)" userId="5dbb0cbd-4dc1-41d4-910d-5f884aef466d" providerId="ADAL" clId="{3D0DB7AE-1BA7-45E8-B6C7-4A63B94ABB52}" dt="2024-06-10T13:24:26.372" v="1029" actId="164"/>
          <ac:spMkLst>
            <pc:docMk/>
            <pc:sldMk cId="2752004613" sldId="2147481965"/>
            <ac:spMk id="23" creationId="{E12C62DC-039B-5926-D174-B1A8FEF347F6}"/>
          </ac:spMkLst>
        </pc:spChg>
        <pc:spChg chg="mod topLvl">
          <ac:chgData name="Kateryna Levchuk (UA)" userId="5dbb0cbd-4dc1-41d4-910d-5f884aef466d" providerId="ADAL" clId="{3D0DB7AE-1BA7-45E8-B6C7-4A63B94ABB52}" dt="2024-06-10T13:24:26.372" v="1029" actId="164"/>
          <ac:spMkLst>
            <pc:docMk/>
            <pc:sldMk cId="2752004613" sldId="2147481965"/>
            <ac:spMk id="24" creationId="{2706F6E9-69C2-27CC-E989-8D9A11DBAD98}"/>
          </ac:spMkLst>
        </pc:spChg>
        <pc:spChg chg="mod topLvl">
          <ac:chgData name="Kateryna Levchuk (UA)" userId="5dbb0cbd-4dc1-41d4-910d-5f884aef466d" providerId="ADAL" clId="{3D0DB7AE-1BA7-45E8-B6C7-4A63B94ABB52}" dt="2024-06-10T13:24:26.372" v="1029" actId="164"/>
          <ac:spMkLst>
            <pc:docMk/>
            <pc:sldMk cId="2752004613" sldId="2147481965"/>
            <ac:spMk id="25" creationId="{85ED544C-9FDB-E688-FE2E-B5D5B48793F5}"/>
          </ac:spMkLst>
        </pc:spChg>
        <pc:spChg chg="del mod topLvl">
          <ac:chgData name="Kateryna Levchuk (UA)" userId="5dbb0cbd-4dc1-41d4-910d-5f884aef466d" providerId="ADAL" clId="{3D0DB7AE-1BA7-45E8-B6C7-4A63B94ABB52}" dt="2024-06-10T13:24:13.289" v="1028" actId="478"/>
          <ac:spMkLst>
            <pc:docMk/>
            <pc:sldMk cId="2752004613" sldId="2147481965"/>
            <ac:spMk id="26" creationId="{FE7BC0BF-8C78-F495-FA3D-D543FB5830DB}"/>
          </ac:spMkLst>
        </pc:spChg>
        <pc:spChg chg="add del mod">
          <ac:chgData name="Kateryna Levchuk (UA)" userId="5dbb0cbd-4dc1-41d4-910d-5f884aef466d" providerId="ADAL" clId="{3D0DB7AE-1BA7-45E8-B6C7-4A63B94ABB52}" dt="2024-06-10T10:53:56.991" v="576"/>
          <ac:spMkLst>
            <pc:docMk/>
            <pc:sldMk cId="2752004613" sldId="2147481965"/>
            <ac:spMk id="27" creationId="{347BB2CE-6AE0-BD5E-B7F9-36D3D930C4C5}"/>
          </ac:spMkLst>
        </pc:spChg>
        <pc:spChg chg="add del mod">
          <ac:chgData name="Kateryna Levchuk (UA)" userId="5dbb0cbd-4dc1-41d4-910d-5f884aef466d" providerId="ADAL" clId="{3D0DB7AE-1BA7-45E8-B6C7-4A63B94ABB52}" dt="2024-06-10T10:53:56.991" v="576"/>
          <ac:spMkLst>
            <pc:docMk/>
            <pc:sldMk cId="2752004613" sldId="2147481965"/>
            <ac:spMk id="28" creationId="{F80DC647-8A51-AD4D-221F-67A0964FFB7B}"/>
          </ac:spMkLst>
        </pc:spChg>
        <pc:spChg chg="add del mod">
          <ac:chgData name="Kateryna Levchuk (UA)" userId="5dbb0cbd-4dc1-41d4-910d-5f884aef466d" providerId="ADAL" clId="{3D0DB7AE-1BA7-45E8-B6C7-4A63B94ABB52}" dt="2024-06-10T10:53:56.991" v="576"/>
          <ac:spMkLst>
            <pc:docMk/>
            <pc:sldMk cId="2752004613" sldId="2147481965"/>
            <ac:spMk id="29" creationId="{9773C127-3641-74A9-9BD6-1177169D5217}"/>
          </ac:spMkLst>
        </pc:spChg>
        <pc:spChg chg="add del mod">
          <ac:chgData name="Kateryna Levchuk (UA)" userId="5dbb0cbd-4dc1-41d4-910d-5f884aef466d" providerId="ADAL" clId="{3D0DB7AE-1BA7-45E8-B6C7-4A63B94ABB52}" dt="2024-06-10T10:53:56.991" v="576"/>
          <ac:spMkLst>
            <pc:docMk/>
            <pc:sldMk cId="2752004613" sldId="2147481965"/>
            <ac:spMk id="30" creationId="{13F15C1F-09E1-DA57-69C8-92E96546F641}"/>
          </ac:spMkLst>
        </pc:spChg>
        <pc:spChg chg="add del mod">
          <ac:chgData name="Kateryna Levchuk (UA)" userId="5dbb0cbd-4dc1-41d4-910d-5f884aef466d" providerId="ADAL" clId="{3D0DB7AE-1BA7-45E8-B6C7-4A63B94ABB52}" dt="2024-06-10T10:53:56.991" v="576"/>
          <ac:spMkLst>
            <pc:docMk/>
            <pc:sldMk cId="2752004613" sldId="2147481965"/>
            <ac:spMk id="31" creationId="{094D9726-A21F-20AE-8D71-AC3F4B966362}"/>
          </ac:spMkLst>
        </pc:spChg>
        <pc:spChg chg="add del mod">
          <ac:chgData name="Kateryna Levchuk (UA)" userId="5dbb0cbd-4dc1-41d4-910d-5f884aef466d" providerId="ADAL" clId="{3D0DB7AE-1BA7-45E8-B6C7-4A63B94ABB52}" dt="2024-06-10T10:53:56.991" v="576"/>
          <ac:spMkLst>
            <pc:docMk/>
            <pc:sldMk cId="2752004613" sldId="2147481965"/>
            <ac:spMk id="32" creationId="{5AD371FC-CC0F-764F-2E4A-7A3168929550}"/>
          </ac:spMkLst>
        </pc:spChg>
        <pc:spChg chg="mod">
          <ac:chgData name="Kateryna Levchuk (UA)" userId="5dbb0cbd-4dc1-41d4-910d-5f884aef466d" providerId="ADAL" clId="{3D0DB7AE-1BA7-45E8-B6C7-4A63B94ABB52}" dt="2024-06-10T10:53:40.074" v="567"/>
          <ac:spMkLst>
            <pc:docMk/>
            <pc:sldMk cId="2752004613" sldId="2147481965"/>
            <ac:spMk id="34" creationId="{F9D8A673-AC3B-EC04-9783-3437D5CF58FE}"/>
          </ac:spMkLst>
        </pc:spChg>
        <pc:spChg chg="mod">
          <ac:chgData name="Kateryna Levchuk (UA)" userId="5dbb0cbd-4dc1-41d4-910d-5f884aef466d" providerId="ADAL" clId="{3D0DB7AE-1BA7-45E8-B6C7-4A63B94ABB52}" dt="2024-06-10T10:53:40.074" v="567"/>
          <ac:spMkLst>
            <pc:docMk/>
            <pc:sldMk cId="2752004613" sldId="2147481965"/>
            <ac:spMk id="36" creationId="{4A88F8CB-8045-FB15-B7D8-C79F7BE2BC12}"/>
          </ac:spMkLst>
        </pc:spChg>
        <pc:spChg chg="mod">
          <ac:chgData name="Kateryna Levchuk (UA)" userId="5dbb0cbd-4dc1-41d4-910d-5f884aef466d" providerId="ADAL" clId="{3D0DB7AE-1BA7-45E8-B6C7-4A63B94ABB52}" dt="2024-06-10T10:53:40.074" v="567"/>
          <ac:spMkLst>
            <pc:docMk/>
            <pc:sldMk cId="2752004613" sldId="2147481965"/>
            <ac:spMk id="38" creationId="{ECCC0CE4-8533-611D-6DD8-23B2568ED4D2}"/>
          </ac:spMkLst>
        </pc:spChg>
        <pc:spChg chg="mod">
          <ac:chgData name="Kateryna Levchuk (UA)" userId="5dbb0cbd-4dc1-41d4-910d-5f884aef466d" providerId="ADAL" clId="{3D0DB7AE-1BA7-45E8-B6C7-4A63B94ABB52}" dt="2024-06-10T10:53:40.074" v="567"/>
          <ac:spMkLst>
            <pc:docMk/>
            <pc:sldMk cId="2752004613" sldId="2147481965"/>
            <ac:spMk id="39" creationId="{E6E1F02D-5462-6654-0296-E8B5D0CB3AA1}"/>
          </ac:spMkLst>
        </pc:spChg>
        <pc:spChg chg="mod">
          <ac:chgData name="Kateryna Levchuk (UA)" userId="5dbb0cbd-4dc1-41d4-910d-5f884aef466d" providerId="ADAL" clId="{3D0DB7AE-1BA7-45E8-B6C7-4A63B94ABB52}" dt="2024-06-10T10:53:40.074" v="567"/>
          <ac:spMkLst>
            <pc:docMk/>
            <pc:sldMk cId="2752004613" sldId="2147481965"/>
            <ac:spMk id="41" creationId="{EF2009B8-8646-A953-010C-EF175C4F0F2C}"/>
          </ac:spMkLst>
        </pc:spChg>
        <pc:spChg chg="mod">
          <ac:chgData name="Kateryna Levchuk (UA)" userId="5dbb0cbd-4dc1-41d4-910d-5f884aef466d" providerId="ADAL" clId="{3D0DB7AE-1BA7-45E8-B6C7-4A63B94ABB52}" dt="2024-06-10T10:53:40.074" v="567"/>
          <ac:spMkLst>
            <pc:docMk/>
            <pc:sldMk cId="2752004613" sldId="2147481965"/>
            <ac:spMk id="42" creationId="{7927B135-FE38-ABBD-69C5-6A3636D5F9D7}"/>
          </ac:spMkLst>
        </pc:spChg>
        <pc:spChg chg="mod">
          <ac:chgData name="Kateryna Levchuk (UA)" userId="5dbb0cbd-4dc1-41d4-910d-5f884aef466d" providerId="ADAL" clId="{3D0DB7AE-1BA7-45E8-B6C7-4A63B94ABB52}" dt="2024-06-10T10:53:40.074" v="567"/>
          <ac:spMkLst>
            <pc:docMk/>
            <pc:sldMk cId="2752004613" sldId="2147481965"/>
            <ac:spMk id="44" creationId="{59B3D407-F09E-931F-EBD3-10A938637134}"/>
          </ac:spMkLst>
        </pc:spChg>
        <pc:spChg chg="mod">
          <ac:chgData name="Kateryna Levchuk (UA)" userId="5dbb0cbd-4dc1-41d4-910d-5f884aef466d" providerId="ADAL" clId="{3D0DB7AE-1BA7-45E8-B6C7-4A63B94ABB52}" dt="2024-06-10T10:53:40.074" v="567"/>
          <ac:spMkLst>
            <pc:docMk/>
            <pc:sldMk cId="2752004613" sldId="2147481965"/>
            <ac:spMk id="45" creationId="{170F168B-66C6-DC3F-53DB-67E5824319EC}"/>
          </ac:spMkLst>
        </pc:spChg>
        <pc:spChg chg="mod">
          <ac:chgData name="Kateryna Levchuk (UA)" userId="5dbb0cbd-4dc1-41d4-910d-5f884aef466d" providerId="ADAL" clId="{3D0DB7AE-1BA7-45E8-B6C7-4A63B94ABB52}" dt="2024-06-10T10:53:40.074" v="567"/>
          <ac:spMkLst>
            <pc:docMk/>
            <pc:sldMk cId="2752004613" sldId="2147481965"/>
            <ac:spMk id="47" creationId="{826F7E2C-47D6-3C5D-A10B-F0BDDAB2E8D4}"/>
          </ac:spMkLst>
        </pc:spChg>
        <pc:spChg chg="mod">
          <ac:chgData name="Kateryna Levchuk (UA)" userId="5dbb0cbd-4dc1-41d4-910d-5f884aef466d" providerId="ADAL" clId="{3D0DB7AE-1BA7-45E8-B6C7-4A63B94ABB52}" dt="2024-06-10T10:53:40.074" v="567"/>
          <ac:spMkLst>
            <pc:docMk/>
            <pc:sldMk cId="2752004613" sldId="2147481965"/>
            <ac:spMk id="48" creationId="{4C9F6A38-882D-840A-E8D4-02468C07E1A5}"/>
          </ac:spMkLst>
        </pc:spChg>
        <pc:spChg chg="mod">
          <ac:chgData name="Kateryna Levchuk (UA)" userId="5dbb0cbd-4dc1-41d4-910d-5f884aef466d" providerId="ADAL" clId="{3D0DB7AE-1BA7-45E8-B6C7-4A63B94ABB52}" dt="2024-06-10T10:53:40.074" v="567"/>
          <ac:spMkLst>
            <pc:docMk/>
            <pc:sldMk cId="2752004613" sldId="2147481965"/>
            <ac:spMk id="50" creationId="{4E7AB2E9-212C-7483-C047-F41E4458E550}"/>
          </ac:spMkLst>
        </pc:spChg>
        <pc:spChg chg="mod">
          <ac:chgData name="Kateryna Levchuk (UA)" userId="5dbb0cbd-4dc1-41d4-910d-5f884aef466d" providerId="ADAL" clId="{3D0DB7AE-1BA7-45E8-B6C7-4A63B94ABB52}" dt="2024-06-10T10:53:40.074" v="567"/>
          <ac:spMkLst>
            <pc:docMk/>
            <pc:sldMk cId="2752004613" sldId="2147481965"/>
            <ac:spMk id="51" creationId="{ADA86F00-0020-F128-8AF2-26AB683EF756}"/>
          </ac:spMkLst>
        </pc:spChg>
        <pc:spChg chg="add del mod">
          <ac:chgData name="Kateryna Levchuk (UA)" userId="5dbb0cbd-4dc1-41d4-910d-5f884aef466d" providerId="ADAL" clId="{3D0DB7AE-1BA7-45E8-B6C7-4A63B94ABB52}" dt="2024-06-10T11:33:09.533" v="733" actId="478"/>
          <ac:spMkLst>
            <pc:docMk/>
            <pc:sldMk cId="2752004613" sldId="2147481965"/>
            <ac:spMk id="52" creationId="{9410B0E7-AC1A-677F-71C4-0364A660647A}"/>
          </ac:spMkLst>
        </pc:spChg>
        <pc:spChg chg="mod">
          <ac:chgData name="Kateryna Levchuk (UA)" userId="5dbb0cbd-4dc1-41d4-910d-5f884aef466d" providerId="ADAL" clId="{3D0DB7AE-1BA7-45E8-B6C7-4A63B94ABB52}" dt="2024-06-10T10:54:03.929" v="577"/>
          <ac:spMkLst>
            <pc:docMk/>
            <pc:sldMk cId="2752004613" sldId="2147481965"/>
            <ac:spMk id="54" creationId="{154F2415-EC65-D313-CDC4-6C8C9EB49588}"/>
          </ac:spMkLst>
        </pc:spChg>
        <pc:spChg chg="mod">
          <ac:chgData name="Kateryna Levchuk (UA)" userId="5dbb0cbd-4dc1-41d4-910d-5f884aef466d" providerId="ADAL" clId="{3D0DB7AE-1BA7-45E8-B6C7-4A63B94ABB52}" dt="2024-06-10T10:54:03.929" v="577"/>
          <ac:spMkLst>
            <pc:docMk/>
            <pc:sldMk cId="2752004613" sldId="2147481965"/>
            <ac:spMk id="55" creationId="{9CA32459-41B1-6887-9ED0-2C191B8D0811}"/>
          </ac:spMkLst>
        </pc:spChg>
        <pc:spChg chg="mod">
          <ac:chgData name="Kateryna Levchuk (UA)" userId="5dbb0cbd-4dc1-41d4-910d-5f884aef466d" providerId="ADAL" clId="{3D0DB7AE-1BA7-45E8-B6C7-4A63B94ABB52}" dt="2024-06-10T11:16:35.041" v="600"/>
          <ac:spMkLst>
            <pc:docMk/>
            <pc:sldMk cId="2752004613" sldId="2147481965"/>
            <ac:spMk id="57" creationId="{3943CCA7-4DCA-CE81-261F-BB30147FE557}"/>
          </ac:spMkLst>
        </pc:spChg>
        <pc:spChg chg="mod">
          <ac:chgData name="Kateryna Levchuk (UA)" userId="5dbb0cbd-4dc1-41d4-910d-5f884aef466d" providerId="ADAL" clId="{3D0DB7AE-1BA7-45E8-B6C7-4A63B94ABB52}" dt="2024-06-10T11:16:35.041" v="600"/>
          <ac:spMkLst>
            <pc:docMk/>
            <pc:sldMk cId="2752004613" sldId="2147481965"/>
            <ac:spMk id="58" creationId="{5A0B75FC-0A46-3038-6B50-CFD60EEA251D}"/>
          </ac:spMkLst>
        </pc:spChg>
        <pc:spChg chg="add del mod">
          <ac:chgData name="Kateryna Levchuk (UA)" userId="5dbb0cbd-4dc1-41d4-910d-5f884aef466d" providerId="ADAL" clId="{3D0DB7AE-1BA7-45E8-B6C7-4A63B94ABB52}" dt="2024-06-10T11:33:04.487" v="729" actId="478"/>
          <ac:spMkLst>
            <pc:docMk/>
            <pc:sldMk cId="2752004613" sldId="2147481965"/>
            <ac:spMk id="59" creationId="{18BD95C7-3A35-562D-6C14-4D776CF23A7D}"/>
          </ac:spMkLst>
        </pc:spChg>
        <pc:spChg chg="mod">
          <ac:chgData name="Kateryna Levchuk (UA)" userId="5dbb0cbd-4dc1-41d4-910d-5f884aef466d" providerId="ADAL" clId="{3D0DB7AE-1BA7-45E8-B6C7-4A63B94ABB52}" dt="2024-06-10T11:18:46.095" v="608"/>
          <ac:spMkLst>
            <pc:docMk/>
            <pc:sldMk cId="2752004613" sldId="2147481965"/>
            <ac:spMk id="61" creationId="{2630ABFD-9F6F-765A-6256-A4C7053A1A7A}"/>
          </ac:spMkLst>
        </pc:spChg>
        <pc:spChg chg="mod">
          <ac:chgData name="Kateryna Levchuk (UA)" userId="5dbb0cbd-4dc1-41d4-910d-5f884aef466d" providerId="ADAL" clId="{3D0DB7AE-1BA7-45E8-B6C7-4A63B94ABB52}" dt="2024-06-10T11:18:46.095" v="608"/>
          <ac:spMkLst>
            <pc:docMk/>
            <pc:sldMk cId="2752004613" sldId="2147481965"/>
            <ac:spMk id="62" creationId="{DED6656E-AB48-6B84-4F7E-F713A16ED54F}"/>
          </ac:spMkLst>
        </pc:spChg>
        <pc:spChg chg="add del mod">
          <ac:chgData name="Kateryna Levchuk (UA)" userId="5dbb0cbd-4dc1-41d4-910d-5f884aef466d" providerId="ADAL" clId="{3D0DB7AE-1BA7-45E8-B6C7-4A63B94ABB52}" dt="2024-06-10T11:33:04.487" v="729" actId="478"/>
          <ac:spMkLst>
            <pc:docMk/>
            <pc:sldMk cId="2752004613" sldId="2147481965"/>
            <ac:spMk id="63" creationId="{9740ED22-DA06-64B1-6223-8475C94E7497}"/>
          </ac:spMkLst>
        </pc:spChg>
        <pc:spChg chg="mod">
          <ac:chgData name="Kateryna Levchuk (UA)" userId="5dbb0cbd-4dc1-41d4-910d-5f884aef466d" providerId="ADAL" clId="{3D0DB7AE-1BA7-45E8-B6C7-4A63B94ABB52}" dt="2024-06-10T11:19:38.868" v="615"/>
          <ac:spMkLst>
            <pc:docMk/>
            <pc:sldMk cId="2752004613" sldId="2147481965"/>
            <ac:spMk id="65" creationId="{4E5A0C50-E5E6-E8EB-2E96-FD284BCFA142}"/>
          </ac:spMkLst>
        </pc:spChg>
        <pc:spChg chg="mod">
          <ac:chgData name="Kateryna Levchuk (UA)" userId="5dbb0cbd-4dc1-41d4-910d-5f884aef466d" providerId="ADAL" clId="{3D0DB7AE-1BA7-45E8-B6C7-4A63B94ABB52}" dt="2024-06-10T11:19:38.868" v="615"/>
          <ac:spMkLst>
            <pc:docMk/>
            <pc:sldMk cId="2752004613" sldId="2147481965"/>
            <ac:spMk id="66" creationId="{2F1D5E94-7362-C3DD-53F3-6D04AE6EDE20}"/>
          </ac:spMkLst>
        </pc:spChg>
        <pc:spChg chg="add del mod">
          <ac:chgData name="Kateryna Levchuk (UA)" userId="5dbb0cbd-4dc1-41d4-910d-5f884aef466d" providerId="ADAL" clId="{3D0DB7AE-1BA7-45E8-B6C7-4A63B94ABB52}" dt="2024-06-10T11:33:11.148" v="735" actId="478"/>
          <ac:spMkLst>
            <pc:docMk/>
            <pc:sldMk cId="2752004613" sldId="2147481965"/>
            <ac:spMk id="67" creationId="{5A4D6B89-AE15-C196-58BA-1F6ABC4DB280}"/>
          </ac:spMkLst>
        </pc:spChg>
        <pc:spChg chg="add del mod">
          <ac:chgData name="Kateryna Levchuk (UA)" userId="5dbb0cbd-4dc1-41d4-910d-5f884aef466d" providerId="ADAL" clId="{3D0DB7AE-1BA7-45E8-B6C7-4A63B94ABB52}" dt="2024-06-10T11:33:13.220" v="736" actId="478"/>
          <ac:spMkLst>
            <pc:docMk/>
            <pc:sldMk cId="2752004613" sldId="2147481965"/>
            <ac:spMk id="68" creationId="{C395691E-A398-9799-8556-08C1C8E91CCB}"/>
          </ac:spMkLst>
        </pc:spChg>
        <pc:spChg chg="mod">
          <ac:chgData name="Kateryna Levchuk (UA)" userId="5dbb0cbd-4dc1-41d4-910d-5f884aef466d" providerId="ADAL" clId="{3D0DB7AE-1BA7-45E8-B6C7-4A63B94ABB52}" dt="2024-06-10T11:22:44.541" v="630"/>
          <ac:spMkLst>
            <pc:docMk/>
            <pc:sldMk cId="2752004613" sldId="2147481965"/>
            <ac:spMk id="70" creationId="{A9498D87-9837-7528-3903-54B4AD024A9E}"/>
          </ac:spMkLst>
        </pc:spChg>
        <pc:spChg chg="mod">
          <ac:chgData name="Kateryna Levchuk (UA)" userId="5dbb0cbd-4dc1-41d4-910d-5f884aef466d" providerId="ADAL" clId="{3D0DB7AE-1BA7-45E8-B6C7-4A63B94ABB52}" dt="2024-06-10T11:22:44.541" v="630"/>
          <ac:spMkLst>
            <pc:docMk/>
            <pc:sldMk cId="2752004613" sldId="2147481965"/>
            <ac:spMk id="71" creationId="{37A41882-3EFF-AE6B-E293-4A5661AD27DC}"/>
          </ac:spMkLst>
        </pc:spChg>
        <pc:spChg chg="add del mod">
          <ac:chgData name="Kateryna Levchuk (UA)" userId="5dbb0cbd-4dc1-41d4-910d-5f884aef466d" providerId="ADAL" clId="{3D0DB7AE-1BA7-45E8-B6C7-4A63B94ABB52}" dt="2024-06-10T11:33:04.487" v="729" actId="478"/>
          <ac:spMkLst>
            <pc:docMk/>
            <pc:sldMk cId="2752004613" sldId="2147481965"/>
            <ac:spMk id="72" creationId="{A6C06CE5-8DE1-8565-5EF3-C57EC1C410CF}"/>
          </ac:spMkLst>
        </pc:spChg>
        <pc:spChg chg="mod">
          <ac:chgData name="Kateryna Levchuk (UA)" userId="5dbb0cbd-4dc1-41d4-910d-5f884aef466d" providerId="ADAL" clId="{3D0DB7AE-1BA7-45E8-B6C7-4A63B94ABB52}" dt="2024-06-10T11:25:32.200" v="638"/>
          <ac:spMkLst>
            <pc:docMk/>
            <pc:sldMk cId="2752004613" sldId="2147481965"/>
            <ac:spMk id="74" creationId="{0E61AA0F-3DF2-95E6-1C86-CE3B418C3A33}"/>
          </ac:spMkLst>
        </pc:spChg>
        <pc:spChg chg="mod">
          <ac:chgData name="Kateryna Levchuk (UA)" userId="5dbb0cbd-4dc1-41d4-910d-5f884aef466d" providerId="ADAL" clId="{3D0DB7AE-1BA7-45E8-B6C7-4A63B94ABB52}" dt="2024-06-10T11:25:32.200" v="638"/>
          <ac:spMkLst>
            <pc:docMk/>
            <pc:sldMk cId="2752004613" sldId="2147481965"/>
            <ac:spMk id="75" creationId="{F473D18C-9227-3627-7E13-55DA5FA5A628}"/>
          </ac:spMkLst>
        </pc:spChg>
        <pc:spChg chg="add del mod">
          <ac:chgData name="Kateryna Levchuk (UA)" userId="5dbb0cbd-4dc1-41d4-910d-5f884aef466d" providerId="ADAL" clId="{3D0DB7AE-1BA7-45E8-B6C7-4A63B94ABB52}" dt="2024-06-10T11:33:04.487" v="729" actId="478"/>
          <ac:spMkLst>
            <pc:docMk/>
            <pc:sldMk cId="2752004613" sldId="2147481965"/>
            <ac:spMk id="76" creationId="{5EEB6A95-BC38-4C3C-69B1-DAF8E138A9DA}"/>
          </ac:spMkLst>
        </pc:spChg>
        <pc:spChg chg="mod">
          <ac:chgData name="Kateryna Levchuk (UA)" userId="5dbb0cbd-4dc1-41d4-910d-5f884aef466d" providerId="ADAL" clId="{3D0DB7AE-1BA7-45E8-B6C7-4A63B94ABB52}" dt="2024-06-10T11:25:52.032" v="643"/>
          <ac:spMkLst>
            <pc:docMk/>
            <pc:sldMk cId="2752004613" sldId="2147481965"/>
            <ac:spMk id="78" creationId="{A973EAD7-BE8A-AE36-B9D4-D1DF9786A6C9}"/>
          </ac:spMkLst>
        </pc:spChg>
        <pc:spChg chg="mod">
          <ac:chgData name="Kateryna Levchuk (UA)" userId="5dbb0cbd-4dc1-41d4-910d-5f884aef466d" providerId="ADAL" clId="{3D0DB7AE-1BA7-45E8-B6C7-4A63B94ABB52}" dt="2024-06-10T11:25:52.032" v="643"/>
          <ac:spMkLst>
            <pc:docMk/>
            <pc:sldMk cId="2752004613" sldId="2147481965"/>
            <ac:spMk id="79" creationId="{68F9EC4C-F6FD-7AA5-2AC6-0598DED009B9}"/>
          </ac:spMkLst>
        </pc:spChg>
        <pc:spChg chg="mod">
          <ac:chgData name="Kateryna Levchuk (UA)" userId="5dbb0cbd-4dc1-41d4-910d-5f884aef466d" providerId="ADAL" clId="{3D0DB7AE-1BA7-45E8-B6C7-4A63B94ABB52}" dt="2024-06-10T11:26:29.008" v="649" actId="571"/>
          <ac:spMkLst>
            <pc:docMk/>
            <pc:sldMk cId="2752004613" sldId="2147481965"/>
            <ac:spMk id="81" creationId="{426BBEAF-548B-2EE8-86F1-938BE9925EE1}"/>
          </ac:spMkLst>
        </pc:spChg>
        <pc:spChg chg="mod">
          <ac:chgData name="Kateryna Levchuk (UA)" userId="5dbb0cbd-4dc1-41d4-910d-5f884aef466d" providerId="ADAL" clId="{3D0DB7AE-1BA7-45E8-B6C7-4A63B94ABB52}" dt="2024-06-10T11:26:29.008" v="649" actId="571"/>
          <ac:spMkLst>
            <pc:docMk/>
            <pc:sldMk cId="2752004613" sldId="2147481965"/>
            <ac:spMk id="82" creationId="{E41BE30C-1DD0-7B61-0761-B9B962B53277}"/>
          </ac:spMkLst>
        </pc:spChg>
        <pc:spChg chg="add mod">
          <ac:chgData name="Kateryna Levchuk (UA)" userId="5dbb0cbd-4dc1-41d4-910d-5f884aef466d" providerId="ADAL" clId="{3D0DB7AE-1BA7-45E8-B6C7-4A63B94ABB52}" dt="2024-06-10T11:26:29.008" v="649" actId="571"/>
          <ac:spMkLst>
            <pc:docMk/>
            <pc:sldMk cId="2752004613" sldId="2147481965"/>
            <ac:spMk id="83" creationId="{09C05B7D-0C3F-7326-4843-C44A892E7808}"/>
          </ac:spMkLst>
        </pc:spChg>
        <pc:spChg chg="mod">
          <ac:chgData name="Kateryna Levchuk (UA)" userId="5dbb0cbd-4dc1-41d4-910d-5f884aef466d" providerId="ADAL" clId="{3D0DB7AE-1BA7-45E8-B6C7-4A63B94ABB52}" dt="2024-06-10T11:27:35.605" v="689"/>
          <ac:spMkLst>
            <pc:docMk/>
            <pc:sldMk cId="2752004613" sldId="2147481965"/>
            <ac:spMk id="85" creationId="{38C1574C-71A1-A18C-3907-C80F008C3FAE}"/>
          </ac:spMkLst>
        </pc:spChg>
        <pc:spChg chg="mod">
          <ac:chgData name="Kateryna Levchuk (UA)" userId="5dbb0cbd-4dc1-41d4-910d-5f884aef466d" providerId="ADAL" clId="{3D0DB7AE-1BA7-45E8-B6C7-4A63B94ABB52}" dt="2024-06-10T11:27:35.605" v="689"/>
          <ac:spMkLst>
            <pc:docMk/>
            <pc:sldMk cId="2752004613" sldId="2147481965"/>
            <ac:spMk id="86" creationId="{B59ADAE4-5EB6-26F7-893D-3424D3FCE284}"/>
          </ac:spMkLst>
        </pc:spChg>
        <pc:spChg chg="mod">
          <ac:chgData name="Kateryna Levchuk (UA)" userId="5dbb0cbd-4dc1-41d4-910d-5f884aef466d" providerId="ADAL" clId="{3D0DB7AE-1BA7-45E8-B6C7-4A63B94ABB52}" dt="2024-06-10T11:28:02.159" v="696"/>
          <ac:spMkLst>
            <pc:docMk/>
            <pc:sldMk cId="2752004613" sldId="2147481965"/>
            <ac:spMk id="88" creationId="{57764107-A117-32C7-522B-6E37B70FB48C}"/>
          </ac:spMkLst>
        </pc:spChg>
        <pc:spChg chg="mod">
          <ac:chgData name="Kateryna Levchuk (UA)" userId="5dbb0cbd-4dc1-41d4-910d-5f884aef466d" providerId="ADAL" clId="{3D0DB7AE-1BA7-45E8-B6C7-4A63B94ABB52}" dt="2024-06-10T11:28:02.159" v="696"/>
          <ac:spMkLst>
            <pc:docMk/>
            <pc:sldMk cId="2752004613" sldId="2147481965"/>
            <ac:spMk id="89" creationId="{16C35B30-E121-31B4-2BFF-DFB65DE036B4}"/>
          </ac:spMkLst>
        </pc:spChg>
        <pc:spChg chg="mod">
          <ac:chgData name="Kateryna Levchuk (UA)" userId="5dbb0cbd-4dc1-41d4-910d-5f884aef466d" providerId="ADAL" clId="{3D0DB7AE-1BA7-45E8-B6C7-4A63B94ABB52}" dt="2024-06-10T11:29:56.831" v="706"/>
          <ac:spMkLst>
            <pc:docMk/>
            <pc:sldMk cId="2752004613" sldId="2147481965"/>
            <ac:spMk id="91" creationId="{5965F22E-0A47-5808-7FE1-9AA1A93BE753}"/>
          </ac:spMkLst>
        </pc:spChg>
        <pc:spChg chg="mod">
          <ac:chgData name="Kateryna Levchuk (UA)" userId="5dbb0cbd-4dc1-41d4-910d-5f884aef466d" providerId="ADAL" clId="{3D0DB7AE-1BA7-45E8-B6C7-4A63B94ABB52}" dt="2024-06-10T11:29:56.831" v="706"/>
          <ac:spMkLst>
            <pc:docMk/>
            <pc:sldMk cId="2752004613" sldId="2147481965"/>
            <ac:spMk id="92" creationId="{9862CDC3-5E8F-0160-89BF-E8E97A493565}"/>
          </ac:spMkLst>
        </pc:spChg>
        <pc:spChg chg="mod">
          <ac:chgData name="Kateryna Levchuk (UA)" userId="5dbb0cbd-4dc1-41d4-910d-5f884aef466d" providerId="ADAL" clId="{3D0DB7AE-1BA7-45E8-B6C7-4A63B94ABB52}" dt="2024-06-10T11:29:56.831" v="706"/>
          <ac:spMkLst>
            <pc:docMk/>
            <pc:sldMk cId="2752004613" sldId="2147481965"/>
            <ac:spMk id="94" creationId="{37F49B6E-7EDB-D0D5-80EB-BFAE61B393AF}"/>
          </ac:spMkLst>
        </pc:spChg>
        <pc:spChg chg="mod">
          <ac:chgData name="Kateryna Levchuk (UA)" userId="5dbb0cbd-4dc1-41d4-910d-5f884aef466d" providerId="ADAL" clId="{3D0DB7AE-1BA7-45E8-B6C7-4A63B94ABB52}" dt="2024-06-10T11:29:56.831" v="706"/>
          <ac:spMkLst>
            <pc:docMk/>
            <pc:sldMk cId="2752004613" sldId="2147481965"/>
            <ac:spMk id="95" creationId="{2F5308E2-F80C-FDF4-181B-8920AD1BA90E}"/>
          </ac:spMkLst>
        </pc:spChg>
        <pc:spChg chg="mod">
          <ac:chgData name="Kateryna Levchuk (UA)" userId="5dbb0cbd-4dc1-41d4-910d-5f884aef466d" providerId="ADAL" clId="{3D0DB7AE-1BA7-45E8-B6C7-4A63B94ABB52}" dt="2024-06-10T11:29:56.831" v="706"/>
          <ac:spMkLst>
            <pc:docMk/>
            <pc:sldMk cId="2752004613" sldId="2147481965"/>
            <ac:spMk id="97" creationId="{247B48DF-71B7-271D-09D1-37961F6552EE}"/>
          </ac:spMkLst>
        </pc:spChg>
        <pc:spChg chg="mod">
          <ac:chgData name="Kateryna Levchuk (UA)" userId="5dbb0cbd-4dc1-41d4-910d-5f884aef466d" providerId="ADAL" clId="{3D0DB7AE-1BA7-45E8-B6C7-4A63B94ABB52}" dt="2024-06-10T11:29:56.831" v="706"/>
          <ac:spMkLst>
            <pc:docMk/>
            <pc:sldMk cId="2752004613" sldId="2147481965"/>
            <ac:spMk id="98" creationId="{866F6F8D-A328-E978-E7D1-42540980B7DE}"/>
          </ac:spMkLst>
        </pc:spChg>
        <pc:spChg chg="add del mod">
          <ac:chgData name="Kateryna Levchuk (UA)" userId="5dbb0cbd-4dc1-41d4-910d-5f884aef466d" providerId="ADAL" clId="{3D0DB7AE-1BA7-45E8-B6C7-4A63B94ABB52}" dt="2024-06-10T13:49:51.072" v="1342" actId="478"/>
          <ac:spMkLst>
            <pc:docMk/>
            <pc:sldMk cId="2752004613" sldId="2147481965"/>
            <ac:spMk id="99" creationId="{BC1ADCAE-2AA7-CAFD-AD2B-D57737AB195D}"/>
          </ac:spMkLst>
        </pc:spChg>
        <pc:spChg chg="mod">
          <ac:chgData name="Kateryna Levchuk (UA)" userId="5dbb0cbd-4dc1-41d4-910d-5f884aef466d" providerId="ADAL" clId="{3D0DB7AE-1BA7-45E8-B6C7-4A63B94ABB52}" dt="2024-06-10T11:33:29.268" v="737"/>
          <ac:spMkLst>
            <pc:docMk/>
            <pc:sldMk cId="2752004613" sldId="2147481965"/>
            <ac:spMk id="101" creationId="{06DC70D3-E022-8752-44C4-F6B128C0C2BF}"/>
          </ac:spMkLst>
        </pc:spChg>
        <pc:spChg chg="mod">
          <ac:chgData name="Kateryna Levchuk (UA)" userId="5dbb0cbd-4dc1-41d4-910d-5f884aef466d" providerId="ADAL" clId="{3D0DB7AE-1BA7-45E8-B6C7-4A63B94ABB52}" dt="2024-06-10T11:33:29.268" v="737"/>
          <ac:spMkLst>
            <pc:docMk/>
            <pc:sldMk cId="2752004613" sldId="2147481965"/>
            <ac:spMk id="102" creationId="{9B3E43C0-9F9F-F160-36CA-382D7E4C09E6}"/>
          </ac:spMkLst>
        </pc:spChg>
        <pc:spChg chg="add mod">
          <ac:chgData name="Kateryna Levchuk (UA)" userId="5dbb0cbd-4dc1-41d4-910d-5f884aef466d" providerId="ADAL" clId="{3D0DB7AE-1BA7-45E8-B6C7-4A63B94ABB52}" dt="2024-06-10T13:50:26.759" v="1346" actId="1076"/>
          <ac:spMkLst>
            <pc:docMk/>
            <pc:sldMk cId="2752004613" sldId="2147481965"/>
            <ac:spMk id="103" creationId="{B8A2F7DC-E116-1BBE-5A6B-64C7E680F1BD}"/>
          </ac:spMkLst>
        </pc:spChg>
        <pc:spChg chg="mod">
          <ac:chgData name="Kateryna Levchuk (UA)" userId="5dbb0cbd-4dc1-41d4-910d-5f884aef466d" providerId="ADAL" clId="{3D0DB7AE-1BA7-45E8-B6C7-4A63B94ABB52}" dt="2024-06-10T11:34:55.146" v="760"/>
          <ac:spMkLst>
            <pc:docMk/>
            <pc:sldMk cId="2752004613" sldId="2147481965"/>
            <ac:spMk id="105" creationId="{C30A9F25-F36D-5555-D038-240EEB601C1F}"/>
          </ac:spMkLst>
        </pc:spChg>
        <pc:spChg chg="mod">
          <ac:chgData name="Kateryna Levchuk (UA)" userId="5dbb0cbd-4dc1-41d4-910d-5f884aef466d" providerId="ADAL" clId="{3D0DB7AE-1BA7-45E8-B6C7-4A63B94ABB52}" dt="2024-06-10T11:34:55.146" v="760"/>
          <ac:spMkLst>
            <pc:docMk/>
            <pc:sldMk cId="2752004613" sldId="2147481965"/>
            <ac:spMk id="106" creationId="{B37EB0E4-E837-5688-49AA-52E18DC8FAFA}"/>
          </ac:spMkLst>
        </pc:spChg>
        <pc:spChg chg="add mod">
          <ac:chgData name="Kateryna Levchuk (UA)" userId="5dbb0cbd-4dc1-41d4-910d-5f884aef466d" providerId="ADAL" clId="{3D0DB7AE-1BA7-45E8-B6C7-4A63B94ABB52}" dt="2024-06-10T13:51:35.605" v="1362" actId="1076"/>
          <ac:spMkLst>
            <pc:docMk/>
            <pc:sldMk cId="2752004613" sldId="2147481965"/>
            <ac:spMk id="107" creationId="{EEF73D00-2BC0-1F09-AB22-997BF5B5AEDC}"/>
          </ac:spMkLst>
        </pc:spChg>
        <pc:spChg chg="mod">
          <ac:chgData name="Kateryna Levchuk (UA)" userId="5dbb0cbd-4dc1-41d4-910d-5f884aef466d" providerId="ADAL" clId="{3D0DB7AE-1BA7-45E8-B6C7-4A63B94ABB52}" dt="2024-06-10T11:35:29.149" v="765"/>
          <ac:spMkLst>
            <pc:docMk/>
            <pc:sldMk cId="2752004613" sldId="2147481965"/>
            <ac:spMk id="109" creationId="{93E9D7FD-3881-7325-C29E-A4FD5901589C}"/>
          </ac:spMkLst>
        </pc:spChg>
        <pc:spChg chg="mod">
          <ac:chgData name="Kateryna Levchuk (UA)" userId="5dbb0cbd-4dc1-41d4-910d-5f884aef466d" providerId="ADAL" clId="{3D0DB7AE-1BA7-45E8-B6C7-4A63B94ABB52}" dt="2024-06-10T11:35:29.149" v="765"/>
          <ac:spMkLst>
            <pc:docMk/>
            <pc:sldMk cId="2752004613" sldId="2147481965"/>
            <ac:spMk id="110" creationId="{1D019FFA-CDFC-AE8A-4A4F-8888B90931A1}"/>
          </ac:spMkLst>
        </pc:spChg>
        <pc:spChg chg="add mod">
          <ac:chgData name="Kateryna Levchuk (UA)" userId="5dbb0cbd-4dc1-41d4-910d-5f884aef466d" providerId="ADAL" clId="{3D0DB7AE-1BA7-45E8-B6C7-4A63B94ABB52}" dt="2024-06-10T13:51:00.851" v="1352" actId="1076"/>
          <ac:spMkLst>
            <pc:docMk/>
            <pc:sldMk cId="2752004613" sldId="2147481965"/>
            <ac:spMk id="111" creationId="{2BE907A4-1571-B9F0-D513-57AB05B745BE}"/>
          </ac:spMkLst>
        </pc:spChg>
        <pc:spChg chg="mod">
          <ac:chgData name="Kateryna Levchuk (UA)" userId="5dbb0cbd-4dc1-41d4-910d-5f884aef466d" providerId="ADAL" clId="{3D0DB7AE-1BA7-45E8-B6C7-4A63B94ABB52}" dt="2024-06-10T11:35:55.921" v="772"/>
          <ac:spMkLst>
            <pc:docMk/>
            <pc:sldMk cId="2752004613" sldId="2147481965"/>
            <ac:spMk id="113" creationId="{424D2508-9F2A-7D63-DCE0-4194149163ED}"/>
          </ac:spMkLst>
        </pc:spChg>
        <pc:spChg chg="mod">
          <ac:chgData name="Kateryna Levchuk (UA)" userId="5dbb0cbd-4dc1-41d4-910d-5f884aef466d" providerId="ADAL" clId="{3D0DB7AE-1BA7-45E8-B6C7-4A63B94ABB52}" dt="2024-06-10T11:35:55.921" v="772"/>
          <ac:spMkLst>
            <pc:docMk/>
            <pc:sldMk cId="2752004613" sldId="2147481965"/>
            <ac:spMk id="114" creationId="{C3C1DC3F-9E5E-2706-5A64-A0609EC26421}"/>
          </ac:spMkLst>
        </pc:spChg>
        <pc:spChg chg="add mod">
          <ac:chgData name="Kateryna Levchuk (UA)" userId="5dbb0cbd-4dc1-41d4-910d-5f884aef466d" providerId="ADAL" clId="{3D0DB7AE-1BA7-45E8-B6C7-4A63B94ABB52}" dt="2024-06-10T13:50:42.597" v="1349" actId="1076"/>
          <ac:spMkLst>
            <pc:docMk/>
            <pc:sldMk cId="2752004613" sldId="2147481965"/>
            <ac:spMk id="115" creationId="{54FE79A9-8473-DE77-44E6-2C986EF74B03}"/>
          </ac:spMkLst>
        </pc:spChg>
        <pc:spChg chg="mod">
          <ac:chgData name="Kateryna Levchuk (UA)" userId="5dbb0cbd-4dc1-41d4-910d-5f884aef466d" providerId="ADAL" clId="{3D0DB7AE-1BA7-45E8-B6C7-4A63B94ABB52}" dt="2024-06-10T11:37:13.192" v="785"/>
          <ac:spMkLst>
            <pc:docMk/>
            <pc:sldMk cId="2752004613" sldId="2147481965"/>
            <ac:spMk id="117" creationId="{EA49F443-6FB7-A250-290E-40398FB084E3}"/>
          </ac:spMkLst>
        </pc:spChg>
        <pc:spChg chg="mod">
          <ac:chgData name="Kateryna Levchuk (UA)" userId="5dbb0cbd-4dc1-41d4-910d-5f884aef466d" providerId="ADAL" clId="{3D0DB7AE-1BA7-45E8-B6C7-4A63B94ABB52}" dt="2024-06-10T11:37:13.192" v="785"/>
          <ac:spMkLst>
            <pc:docMk/>
            <pc:sldMk cId="2752004613" sldId="2147481965"/>
            <ac:spMk id="118" creationId="{5237A12C-D992-4FC2-D3FC-563E010565F8}"/>
          </ac:spMkLst>
        </pc:spChg>
        <pc:spChg chg="add mod">
          <ac:chgData name="Kateryna Levchuk (UA)" userId="5dbb0cbd-4dc1-41d4-910d-5f884aef466d" providerId="ADAL" clId="{3D0DB7AE-1BA7-45E8-B6C7-4A63B94ABB52}" dt="2024-06-10T13:51:35.605" v="1362" actId="1076"/>
          <ac:spMkLst>
            <pc:docMk/>
            <pc:sldMk cId="2752004613" sldId="2147481965"/>
            <ac:spMk id="119" creationId="{25857B8E-3D4F-1175-6C7E-C82281D0DFB2}"/>
          </ac:spMkLst>
        </pc:spChg>
        <pc:spChg chg="mod">
          <ac:chgData name="Kateryna Levchuk (UA)" userId="5dbb0cbd-4dc1-41d4-910d-5f884aef466d" providerId="ADAL" clId="{3D0DB7AE-1BA7-45E8-B6C7-4A63B94ABB52}" dt="2024-06-10T11:37:42.335" v="790"/>
          <ac:spMkLst>
            <pc:docMk/>
            <pc:sldMk cId="2752004613" sldId="2147481965"/>
            <ac:spMk id="121" creationId="{17EA4172-19E5-7FF4-AE1F-1FA23FD5851B}"/>
          </ac:spMkLst>
        </pc:spChg>
        <pc:spChg chg="mod">
          <ac:chgData name="Kateryna Levchuk (UA)" userId="5dbb0cbd-4dc1-41d4-910d-5f884aef466d" providerId="ADAL" clId="{3D0DB7AE-1BA7-45E8-B6C7-4A63B94ABB52}" dt="2024-06-10T11:37:42.335" v="790"/>
          <ac:spMkLst>
            <pc:docMk/>
            <pc:sldMk cId="2752004613" sldId="2147481965"/>
            <ac:spMk id="122" creationId="{FB56EE0F-A068-878A-CF15-A50D5273AA30}"/>
          </ac:spMkLst>
        </pc:spChg>
        <pc:spChg chg="add mod">
          <ac:chgData name="Kateryna Levchuk (UA)" userId="5dbb0cbd-4dc1-41d4-910d-5f884aef466d" providerId="ADAL" clId="{3D0DB7AE-1BA7-45E8-B6C7-4A63B94ABB52}" dt="2024-06-10T13:51:35.605" v="1362" actId="1076"/>
          <ac:spMkLst>
            <pc:docMk/>
            <pc:sldMk cId="2752004613" sldId="2147481965"/>
            <ac:spMk id="123" creationId="{E540FF3B-2049-3D2C-DC6C-0CAFC95DAB95}"/>
          </ac:spMkLst>
        </pc:spChg>
        <pc:spChg chg="mod">
          <ac:chgData name="Kateryna Levchuk (UA)" userId="5dbb0cbd-4dc1-41d4-910d-5f884aef466d" providerId="ADAL" clId="{3D0DB7AE-1BA7-45E8-B6C7-4A63B94ABB52}" dt="2024-06-10T11:37:58.447" v="795"/>
          <ac:spMkLst>
            <pc:docMk/>
            <pc:sldMk cId="2752004613" sldId="2147481965"/>
            <ac:spMk id="125" creationId="{44775269-05F6-2220-82B2-9738C392BE8C}"/>
          </ac:spMkLst>
        </pc:spChg>
        <pc:spChg chg="mod">
          <ac:chgData name="Kateryna Levchuk (UA)" userId="5dbb0cbd-4dc1-41d4-910d-5f884aef466d" providerId="ADAL" clId="{3D0DB7AE-1BA7-45E8-B6C7-4A63B94ABB52}" dt="2024-06-10T11:37:58.447" v="795"/>
          <ac:spMkLst>
            <pc:docMk/>
            <pc:sldMk cId="2752004613" sldId="2147481965"/>
            <ac:spMk id="126" creationId="{09453CA1-9265-DF33-5500-6D4E39504FCC}"/>
          </ac:spMkLst>
        </pc:spChg>
        <pc:spChg chg="add mod">
          <ac:chgData name="Kateryna Levchuk (UA)" userId="5dbb0cbd-4dc1-41d4-910d-5f884aef466d" providerId="ADAL" clId="{3D0DB7AE-1BA7-45E8-B6C7-4A63B94ABB52}" dt="2024-06-10T11:49:36.519" v="959" actId="207"/>
          <ac:spMkLst>
            <pc:docMk/>
            <pc:sldMk cId="2752004613" sldId="2147481965"/>
            <ac:spMk id="127" creationId="{FFE4CFE7-10FB-E0F9-AE54-A456443B207D}"/>
          </ac:spMkLst>
        </pc:spChg>
        <pc:spChg chg="mod">
          <ac:chgData name="Kateryna Levchuk (UA)" userId="5dbb0cbd-4dc1-41d4-910d-5f884aef466d" providerId="ADAL" clId="{3D0DB7AE-1BA7-45E8-B6C7-4A63B94ABB52}" dt="2024-06-10T11:49:18.796" v="955"/>
          <ac:spMkLst>
            <pc:docMk/>
            <pc:sldMk cId="2752004613" sldId="2147481965"/>
            <ac:spMk id="129" creationId="{6F0906C6-628A-D503-7196-FC3F5EB12AE5}"/>
          </ac:spMkLst>
        </pc:spChg>
        <pc:spChg chg="mod">
          <ac:chgData name="Kateryna Levchuk (UA)" userId="5dbb0cbd-4dc1-41d4-910d-5f884aef466d" providerId="ADAL" clId="{3D0DB7AE-1BA7-45E8-B6C7-4A63B94ABB52}" dt="2024-06-10T11:49:18.796" v="955"/>
          <ac:spMkLst>
            <pc:docMk/>
            <pc:sldMk cId="2752004613" sldId="2147481965"/>
            <ac:spMk id="130" creationId="{A3694789-05D1-786D-1A40-7B94A9D99A68}"/>
          </ac:spMkLst>
        </pc:spChg>
        <pc:spChg chg="add mod">
          <ac:chgData name="Kateryna Levchuk (UA)" userId="5dbb0cbd-4dc1-41d4-910d-5f884aef466d" providerId="ADAL" clId="{3D0DB7AE-1BA7-45E8-B6C7-4A63B94ABB52}" dt="2024-06-10T11:49:47.059" v="962" actId="207"/>
          <ac:spMkLst>
            <pc:docMk/>
            <pc:sldMk cId="2752004613" sldId="2147481965"/>
            <ac:spMk id="131" creationId="{6764AC4B-FEF3-2CCD-15D3-7FDF812B793E}"/>
          </ac:spMkLst>
        </pc:spChg>
        <pc:spChg chg="mod">
          <ac:chgData name="Kateryna Levchuk (UA)" userId="5dbb0cbd-4dc1-41d4-910d-5f884aef466d" providerId="ADAL" clId="{3D0DB7AE-1BA7-45E8-B6C7-4A63B94ABB52}" dt="2024-06-10T11:49:18.796" v="955"/>
          <ac:spMkLst>
            <pc:docMk/>
            <pc:sldMk cId="2752004613" sldId="2147481965"/>
            <ac:spMk id="133" creationId="{1F7E517F-DE6E-C1B1-3D0C-E90088969514}"/>
          </ac:spMkLst>
        </pc:spChg>
        <pc:spChg chg="mod">
          <ac:chgData name="Kateryna Levchuk (UA)" userId="5dbb0cbd-4dc1-41d4-910d-5f884aef466d" providerId="ADAL" clId="{3D0DB7AE-1BA7-45E8-B6C7-4A63B94ABB52}" dt="2024-06-10T11:49:18.796" v="955"/>
          <ac:spMkLst>
            <pc:docMk/>
            <pc:sldMk cId="2752004613" sldId="2147481965"/>
            <ac:spMk id="134" creationId="{A08A436C-FC76-61AD-0FA1-E49A1DBFFD93}"/>
          </ac:spMkLst>
        </pc:spChg>
        <pc:spChg chg="add mod">
          <ac:chgData name="Kateryna Levchuk (UA)" userId="5dbb0cbd-4dc1-41d4-910d-5f884aef466d" providerId="ADAL" clId="{3D0DB7AE-1BA7-45E8-B6C7-4A63B94ABB52}" dt="2024-06-10T13:46:09.989" v="1281" actId="1076"/>
          <ac:spMkLst>
            <pc:docMk/>
            <pc:sldMk cId="2752004613" sldId="2147481965"/>
            <ac:spMk id="136" creationId="{B60BB224-6E63-2849-CFEF-1DB13A5F04B8}"/>
          </ac:spMkLst>
        </pc:spChg>
        <pc:spChg chg="mod">
          <ac:chgData name="Kateryna Levchuk (UA)" userId="5dbb0cbd-4dc1-41d4-910d-5f884aef466d" providerId="ADAL" clId="{3D0DB7AE-1BA7-45E8-B6C7-4A63B94ABB52}" dt="2024-06-10T13:46:45.424" v="1295" actId="1076"/>
          <ac:spMkLst>
            <pc:docMk/>
            <pc:sldMk cId="2752004613" sldId="2147481965"/>
            <ac:spMk id="138" creationId="{E308B147-A87B-7015-7F8A-BB373C591A4B}"/>
          </ac:spMkLst>
        </pc:spChg>
        <pc:spChg chg="mod">
          <ac:chgData name="Kateryna Levchuk (UA)" userId="5dbb0cbd-4dc1-41d4-910d-5f884aef466d" providerId="ADAL" clId="{3D0DB7AE-1BA7-45E8-B6C7-4A63B94ABB52}" dt="2024-06-10T13:46:17.983" v="1282"/>
          <ac:spMkLst>
            <pc:docMk/>
            <pc:sldMk cId="2752004613" sldId="2147481965"/>
            <ac:spMk id="139" creationId="{3EB40BA2-3797-4984-4259-E174D32A40B7}"/>
          </ac:spMkLst>
        </pc:spChg>
        <pc:spChg chg="mod">
          <ac:chgData name="Kateryna Levchuk (UA)" userId="5dbb0cbd-4dc1-41d4-910d-5f884aef466d" providerId="ADAL" clId="{3D0DB7AE-1BA7-45E8-B6C7-4A63B94ABB52}" dt="2024-06-10T13:47:32.140" v="1309"/>
          <ac:spMkLst>
            <pc:docMk/>
            <pc:sldMk cId="2752004613" sldId="2147481965"/>
            <ac:spMk id="141" creationId="{641AF128-F8E0-9B40-649F-471B3206EAFA}"/>
          </ac:spMkLst>
        </pc:spChg>
        <pc:spChg chg="mod">
          <ac:chgData name="Kateryna Levchuk (UA)" userId="5dbb0cbd-4dc1-41d4-910d-5f884aef466d" providerId="ADAL" clId="{3D0DB7AE-1BA7-45E8-B6C7-4A63B94ABB52}" dt="2024-06-10T13:47:32.140" v="1309"/>
          <ac:spMkLst>
            <pc:docMk/>
            <pc:sldMk cId="2752004613" sldId="2147481965"/>
            <ac:spMk id="142" creationId="{60D9951A-6E49-A69F-7585-4FEC816162AB}"/>
          </ac:spMkLst>
        </pc:spChg>
        <pc:spChg chg="mod">
          <ac:chgData name="Kateryna Levchuk (UA)" userId="5dbb0cbd-4dc1-41d4-910d-5f884aef466d" providerId="ADAL" clId="{3D0DB7AE-1BA7-45E8-B6C7-4A63B94ABB52}" dt="2024-06-10T13:48:04.871" v="1318"/>
          <ac:spMkLst>
            <pc:docMk/>
            <pc:sldMk cId="2752004613" sldId="2147481965"/>
            <ac:spMk id="144" creationId="{DE7C2418-F77A-26CD-43C2-794B6A0E788D}"/>
          </ac:spMkLst>
        </pc:spChg>
        <pc:spChg chg="mod">
          <ac:chgData name="Kateryna Levchuk (UA)" userId="5dbb0cbd-4dc1-41d4-910d-5f884aef466d" providerId="ADAL" clId="{3D0DB7AE-1BA7-45E8-B6C7-4A63B94ABB52}" dt="2024-06-10T13:48:04.871" v="1318"/>
          <ac:spMkLst>
            <pc:docMk/>
            <pc:sldMk cId="2752004613" sldId="2147481965"/>
            <ac:spMk id="145" creationId="{BDF8BAAE-F378-A1CA-FFA8-9F6187BB9755}"/>
          </ac:spMkLst>
        </pc:spChg>
        <pc:spChg chg="mod">
          <ac:chgData name="Kateryna Levchuk (UA)" userId="5dbb0cbd-4dc1-41d4-910d-5f884aef466d" providerId="ADAL" clId="{3D0DB7AE-1BA7-45E8-B6C7-4A63B94ABB52}" dt="2024-06-10T13:48:42.173" v="1328"/>
          <ac:spMkLst>
            <pc:docMk/>
            <pc:sldMk cId="2752004613" sldId="2147481965"/>
            <ac:spMk id="147" creationId="{AC919C68-9477-9F63-A318-A722736E2D80}"/>
          </ac:spMkLst>
        </pc:spChg>
        <pc:spChg chg="mod">
          <ac:chgData name="Kateryna Levchuk (UA)" userId="5dbb0cbd-4dc1-41d4-910d-5f884aef466d" providerId="ADAL" clId="{3D0DB7AE-1BA7-45E8-B6C7-4A63B94ABB52}" dt="2024-06-10T13:48:42.173" v="1328"/>
          <ac:spMkLst>
            <pc:docMk/>
            <pc:sldMk cId="2752004613" sldId="2147481965"/>
            <ac:spMk id="148" creationId="{AFD54573-524D-80FD-8DE3-F5FAFC1E51C8}"/>
          </ac:spMkLst>
        </pc:spChg>
        <pc:spChg chg="add mod">
          <ac:chgData name="Kateryna Levchuk (UA)" userId="5dbb0cbd-4dc1-41d4-910d-5f884aef466d" providerId="ADAL" clId="{3D0DB7AE-1BA7-45E8-B6C7-4A63B94ABB52}" dt="2024-06-10T13:50:21.139" v="1345" actId="14100"/>
          <ac:spMkLst>
            <pc:docMk/>
            <pc:sldMk cId="2752004613" sldId="2147481965"/>
            <ac:spMk id="149" creationId="{4F8D49D5-4873-CB69-4B18-8429A53BCC9A}"/>
          </ac:spMkLst>
        </pc:spChg>
        <pc:spChg chg="mod">
          <ac:chgData name="Kateryna Levchuk (UA)" userId="5dbb0cbd-4dc1-41d4-910d-5f884aef466d" providerId="ADAL" clId="{3D0DB7AE-1BA7-45E8-B6C7-4A63B94ABB52}" dt="2024-06-10T13:49:43.481" v="1340"/>
          <ac:spMkLst>
            <pc:docMk/>
            <pc:sldMk cId="2752004613" sldId="2147481965"/>
            <ac:spMk id="151" creationId="{15C0E6C2-CFC0-8BAA-7C8A-1936EA766DBA}"/>
          </ac:spMkLst>
        </pc:spChg>
        <pc:spChg chg="mod">
          <ac:chgData name="Kateryna Levchuk (UA)" userId="5dbb0cbd-4dc1-41d4-910d-5f884aef466d" providerId="ADAL" clId="{3D0DB7AE-1BA7-45E8-B6C7-4A63B94ABB52}" dt="2024-06-10T13:49:43.481" v="1340"/>
          <ac:spMkLst>
            <pc:docMk/>
            <pc:sldMk cId="2752004613" sldId="2147481965"/>
            <ac:spMk id="152" creationId="{14C15825-4B9D-5C21-583A-DFFB0846E9E5}"/>
          </ac:spMkLst>
        </pc:spChg>
        <pc:spChg chg="mod">
          <ac:chgData name="Kateryna Levchuk (UA)" userId="5dbb0cbd-4dc1-41d4-910d-5f884aef466d" providerId="ADAL" clId="{3D0DB7AE-1BA7-45E8-B6C7-4A63B94ABB52}" dt="2024-06-10T13:50:29.630" v="1347"/>
          <ac:spMkLst>
            <pc:docMk/>
            <pc:sldMk cId="2752004613" sldId="2147481965"/>
            <ac:spMk id="154" creationId="{239A7EAD-80E6-53A4-0012-83854CEB0D2C}"/>
          </ac:spMkLst>
        </pc:spChg>
        <pc:spChg chg="mod">
          <ac:chgData name="Kateryna Levchuk (UA)" userId="5dbb0cbd-4dc1-41d4-910d-5f884aef466d" providerId="ADAL" clId="{3D0DB7AE-1BA7-45E8-B6C7-4A63B94ABB52}" dt="2024-06-10T13:50:29.630" v="1347"/>
          <ac:spMkLst>
            <pc:docMk/>
            <pc:sldMk cId="2752004613" sldId="2147481965"/>
            <ac:spMk id="155" creationId="{AFC7ECDB-D72E-9367-ECF9-A210245BE440}"/>
          </ac:spMkLst>
        </pc:spChg>
        <pc:spChg chg="mod">
          <ac:chgData name="Kateryna Levchuk (UA)" userId="5dbb0cbd-4dc1-41d4-910d-5f884aef466d" providerId="ADAL" clId="{3D0DB7AE-1BA7-45E8-B6C7-4A63B94ABB52}" dt="2024-06-10T13:50:43.913" v="1350"/>
          <ac:spMkLst>
            <pc:docMk/>
            <pc:sldMk cId="2752004613" sldId="2147481965"/>
            <ac:spMk id="157" creationId="{AA70B7BA-D0AF-97BF-F514-2F6637DDF5C5}"/>
          </ac:spMkLst>
        </pc:spChg>
        <pc:spChg chg="mod">
          <ac:chgData name="Kateryna Levchuk (UA)" userId="5dbb0cbd-4dc1-41d4-910d-5f884aef466d" providerId="ADAL" clId="{3D0DB7AE-1BA7-45E8-B6C7-4A63B94ABB52}" dt="2024-06-10T13:50:43.913" v="1350"/>
          <ac:spMkLst>
            <pc:docMk/>
            <pc:sldMk cId="2752004613" sldId="2147481965"/>
            <ac:spMk id="158" creationId="{8D9FD2B4-8C54-7DC6-1792-FE0A3C844FE2}"/>
          </ac:spMkLst>
        </pc:spChg>
        <pc:spChg chg="mod">
          <ac:chgData name="Kateryna Levchuk (UA)" userId="5dbb0cbd-4dc1-41d4-910d-5f884aef466d" providerId="ADAL" clId="{3D0DB7AE-1BA7-45E8-B6C7-4A63B94ABB52}" dt="2024-06-10T13:51:02.782" v="1353"/>
          <ac:spMkLst>
            <pc:docMk/>
            <pc:sldMk cId="2752004613" sldId="2147481965"/>
            <ac:spMk id="160" creationId="{D3596DB3-2E71-CF7E-AB0A-7200A78B00F3}"/>
          </ac:spMkLst>
        </pc:spChg>
        <pc:spChg chg="mod">
          <ac:chgData name="Kateryna Levchuk (UA)" userId="5dbb0cbd-4dc1-41d4-910d-5f884aef466d" providerId="ADAL" clId="{3D0DB7AE-1BA7-45E8-B6C7-4A63B94ABB52}" dt="2024-06-10T13:51:02.782" v="1353"/>
          <ac:spMkLst>
            <pc:docMk/>
            <pc:sldMk cId="2752004613" sldId="2147481965"/>
            <ac:spMk id="161" creationId="{D932A0CA-F032-5FEF-42E4-4268945B51E5}"/>
          </ac:spMkLst>
        </pc:spChg>
        <pc:grpChg chg="add del mod">
          <ac:chgData name="Kateryna Levchuk (UA)" userId="5dbb0cbd-4dc1-41d4-910d-5f884aef466d" providerId="ADAL" clId="{3D0DB7AE-1BA7-45E8-B6C7-4A63B94ABB52}" dt="2024-06-10T10:53:56.028" v="574"/>
          <ac:grpSpMkLst>
            <pc:docMk/>
            <pc:sldMk cId="2752004613" sldId="2147481965"/>
            <ac:grpSpMk id="33" creationId="{9F2CAFD0-8441-C427-D492-C402DC9E39F0}"/>
          </ac:grpSpMkLst>
        </pc:grpChg>
        <pc:grpChg chg="del">
          <ac:chgData name="Kateryna Levchuk (UA)" userId="5dbb0cbd-4dc1-41d4-910d-5f884aef466d" providerId="ADAL" clId="{3D0DB7AE-1BA7-45E8-B6C7-4A63B94ABB52}" dt="2024-06-10T13:24:09.830" v="1027" actId="165"/>
          <ac:grpSpMkLst>
            <pc:docMk/>
            <pc:sldMk cId="2752004613" sldId="2147481965"/>
            <ac:grpSpMk id="35" creationId="{4216885A-4A4B-1C3E-A617-B432B7DE257E}"/>
          </ac:grpSpMkLst>
        </pc:grpChg>
        <pc:grpChg chg="add del mod">
          <ac:chgData name="Kateryna Levchuk (UA)" userId="5dbb0cbd-4dc1-41d4-910d-5f884aef466d" providerId="ADAL" clId="{3D0DB7AE-1BA7-45E8-B6C7-4A63B94ABB52}" dt="2024-06-10T10:53:56.028" v="574"/>
          <ac:grpSpMkLst>
            <pc:docMk/>
            <pc:sldMk cId="2752004613" sldId="2147481965"/>
            <ac:grpSpMk id="37" creationId="{07E18AC5-A96D-7180-C53A-1279F51DDBFD}"/>
          </ac:grpSpMkLst>
        </pc:grpChg>
        <pc:grpChg chg="add del mod">
          <ac:chgData name="Kateryna Levchuk (UA)" userId="5dbb0cbd-4dc1-41d4-910d-5f884aef466d" providerId="ADAL" clId="{3D0DB7AE-1BA7-45E8-B6C7-4A63B94ABB52}" dt="2024-06-10T10:53:56.028" v="574"/>
          <ac:grpSpMkLst>
            <pc:docMk/>
            <pc:sldMk cId="2752004613" sldId="2147481965"/>
            <ac:grpSpMk id="40" creationId="{2C4D6B5D-635A-3235-8DAE-A0D937AA3301}"/>
          </ac:grpSpMkLst>
        </pc:grpChg>
        <pc:grpChg chg="add del mod">
          <ac:chgData name="Kateryna Levchuk (UA)" userId="5dbb0cbd-4dc1-41d4-910d-5f884aef466d" providerId="ADAL" clId="{3D0DB7AE-1BA7-45E8-B6C7-4A63B94ABB52}" dt="2024-06-10T10:53:56.028" v="574"/>
          <ac:grpSpMkLst>
            <pc:docMk/>
            <pc:sldMk cId="2752004613" sldId="2147481965"/>
            <ac:grpSpMk id="43" creationId="{E0CAA616-4788-4CC3-2796-FE569C2658C5}"/>
          </ac:grpSpMkLst>
        </pc:grpChg>
        <pc:grpChg chg="add del mod">
          <ac:chgData name="Kateryna Levchuk (UA)" userId="5dbb0cbd-4dc1-41d4-910d-5f884aef466d" providerId="ADAL" clId="{3D0DB7AE-1BA7-45E8-B6C7-4A63B94ABB52}" dt="2024-06-10T10:53:56.028" v="574"/>
          <ac:grpSpMkLst>
            <pc:docMk/>
            <pc:sldMk cId="2752004613" sldId="2147481965"/>
            <ac:grpSpMk id="46" creationId="{02B6F70D-9E07-2D29-BDE4-678E8F0137EF}"/>
          </ac:grpSpMkLst>
        </pc:grpChg>
        <pc:grpChg chg="add del mod">
          <ac:chgData name="Kateryna Levchuk (UA)" userId="5dbb0cbd-4dc1-41d4-910d-5f884aef466d" providerId="ADAL" clId="{3D0DB7AE-1BA7-45E8-B6C7-4A63B94ABB52}" dt="2024-06-10T10:53:56.028" v="574"/>
          <ac:grpSpMkLst>
            <pc:docMk/>
            <pc:sldMk cId="2752004613" sldId="2147481965"/>
            <ac:grpSpMk id="49" creationId="{EB4A8AEF-773F-BE1E-D497-9B8A3E79B218}"/>
          </ac:grpSpMkLst>
        </pc:grpChg>
        <pc:grpChg chg="add del mod">
          <ac:chgData name="Kateryna Levchuk (UA)" userId="5dbb0cbd-4dc1-41d4-910d-5f884aef466d" providerId="ADAL" clId="{3D0DB7AE-1BA7-45E8-B6C7-4A63B94ABB52}" dt="2024-06-10T11:33:06.152" v="731" actId="478"/>
          <ac:grpSpMkLst>
            <pc:docMk/>
            <pc:sldMk cId="2752004613" sldId="2147481965"/>
            <ac:grpSpMk id="53" creationId="{D37B160B-DB10-490B-9C76-A9BB7A2933EC}"/>
          </ac:grpSpMkLst>
        </pc:grpChg>
        <pc:grpChg chg="add del mod">
          <ac:chgData name="Kateryna Levchuk (UA)" userId="5dbb0cbd-4dc1-41d4-910d-5f884aef466d" providerId="ADAL" clId="{3D0DB7AE-1BA7-45E8-B6C7-4A63B94ABB52}" dt="2024-06-10T11:27:21.042" v="675" actId="478"/>
          <ac:grpSpMkLst>
            <pc:docMk/>
            <pc:sldMk cId="2752004613" sldId="2147481965"/>
            <ac:grpSpMk id="56" creationId="{4A418FE8-6A65-0305-7D99-D30A81B445BB}"/>
          </ac:grpSpMkLst>
        </pc:grpChg>
        <pc:grpChg chg="add del mod">
          <ac:chgData name="Kateryna Levchuk (UA)" userId="5dbb0cbd-4dc1-41d4-910d-5f884aef466d" providerId="ADAL" clId="{3D0DB7AE-1BA7-45E8-B6C7-4A63B94ABB52}" dt="2024-06-10T11:27:21.593" v="676" actId="478"/>
          <ac:grpSpMkLst>
            <pc:docMk/>
            <pc:sldMk cId="2752004613" sldId="2147481965"/>
            <ac:grpSpMk id="60" creationId="{A7448216-C1A5-097D-1322-1D488C4E0AC0}"/>
          </ac:grpSpMkLst>
        </pc:grpChg>
        <pc:grpChg chg="add del mod">
          <ac:chgData name="Kateryna Levchuk (UA)" userId="5dbb0cbd-4dc1-41d4-910d-5f884aef466d" providerId="ADAL" clId="{3D0DB7AE-1BA7-45E8-B6C7-4A63B94ABB52}" dt="2024-06-10T11:27:22.049" v="677" actId="478"/>
          <ac:grpSpMkLst>
            <pc:docMk/>
            <pc:sldMk cId="2752004613" sldId="2147481965"/>
            <ac:grpSpMk id="64" creationId="{7BF5BBBD-27A2-D6AA-1739-E6F51A1517A3}"/>
          </ac:grpSpMkLst>
        </pc:grpChg>
        <pc:grpChg chg="add del mod">
          <ac:chgData name="Kateryna Levchuk (UA)" userId="5dbb0cbd-4dc1-41d4-910d-5f884aef466d" providerId="ADAL" clId="{3D0DB7AE-1BA7-45E8-B6C7-4A63B94ABB52}" dt="2024-06-10T11:28:37.985" v="703" actId="478"/>
          <ac:grpSpMkLst>
            <pc:docMk/>
            <pc:sldMk cId="2752004613" sldId="2147481965"/>
            <ac:grpSpMk id="69" creationId="{67770368-464A-BE57-28C2-3027588EEC87}"/>
          </ac:grpSpMkLst>
        </pc:grpChg>
        <pc:grpChg chg="add del mod">
          <ac:chgData name="Kateryna Levchuk (UA)" userId="5dbb0cbd-4dc1-41d4-910d-5f884aef466d" providerId="ADAL" clId="{3D0DB7AE-1BA7-45E8-B6C7-4A63B94ABB52}" dt="2024-06-10T11:28:38.784" v="704" actId="478"/>
          <ac:grpSpMkLst>
            <pc:docMk/>
            <pc:sldMk cId="2752004613" sldId="2147481965"/>
            <ac:grpSpMk id="73" creationId="{8BAD5588-BE88-691E-0F8F-F045BAC2524C}"/>
          </ac:grpSpMkLst>
        </pc:grpChg>
        <pc:grpChg chg="add del mod">
          <ac:chgData name="Kateryna Levchuk (UA)" userId="5dbb0cbd-4dc1-41d4-910d-5f884aef466d" providerId="ADAL" clId="{3D0DB7AE-1BA7-45E8-B6C7-4A63B94ABB52}" dt="2024-06-10T11:28:39.530" v="705" actId="478"/>
          <ac:grpSpMkLst>
            <pc:docMk/>
            <pc:sldMk cId="2752004613" sldId="2147481965"/>
            <ac:grpSpMk id="77" creationId="{E41CD33A-036A-5842-BC45-B41744FEB1E8}"/>
          </ac:grpSpMkLst>
        </pc:grpChg>
        <pc:grpChg chg="add mod">
          <ac:chgData name="Kateryna Levchuk (UA)" userId="5dbb0cbd-4dc1-41d4-910d-5f884aef466d" providerId="ADAL" clId="{3D0DB7AE-1BA7-45E8-B6C7-4A63B94ABB52}" dt="2024-06-10T11:26:29.008" v="649" actId="571"/>
          <ac:grpSpMkLst>
            <pc:docMk/>
            <pc:sldMk cId="2752004613" sldId="2147481965"/>
            <ac:grpSpMk id="80" creationId="{48B2418B-1C5E-2F92-725D-C40CD1A3161C}"/>
          </ac:grpSpMkLst>
        </pc:grpChg>
        <pc:grpChg chg="add del mod">
          <ac:chgData name="Kateryna Levchuk (UA)" userId="5dbb0cbd-4dc1-41d4-910d-5f884aef466d" providerId="ADAL" clId="{3D0DB7AE-1BA7-45E8-B6C7-4A63B94ABB52}" dt="2024-06-10T11:33:04.487" v="729" actId="478"/>
          <ac:grpSpMkLst>
            <pc:docMk/>
            <pc:sldMk cId="2752004613" sldId="2147481965"/>
            <ac:grpSpMk id="84" creationId="{64A0D86B-D9A8-6746-A334-51BD0EAF5D89}"/>
          </ac:grpSpMkLst>
        </pc:grpChg>
        <pc:grpChg chg="add del mod">
          <ac:chgData name="Kateryna Levchuk (UA)" userId="5dbb0cbd-4dc1-41d4-910d-5f884aef466d" providerId="ADAL" clId="{3D0DB7AE-1BA7-45E8-B6C7-4A63B94ABB52}" dt="2024-06-10T11:33:04.487" v="729" actId="478"/>
          <ac:grpSpMkLst>
            <pc:docMk/>
            <pc:sldMk cId="2752004613" sldId="2147481965"/>
            <ac:grpSpMk id="87" creationId="{D3C52690-329F-248E-4968-AD81FC02C42F}"/>
          </ac:grpSpMkLst>
        </pc:grpChg>
        <pc:grpChg chg="add del mod">
          <ac:chgData name="Kateryna Levchuk (UA)" userId="5dbb0cbd-4dc1-41d4-910d-5f884aef466d" providerId="ADAL" clId="{3D0DB7AE-1BA7-45E8-B6C7-4A63B94ABB52}" dt="2024-06-10T11:33:10.227" v="734" actId="478"/>
          <ac:grpSpMkLst>
            <pc:docMk/>
            <pc:sldMk cId="2752004613" sldId="2147481965"/>
            <ac:grpSpMk id="90" creationId="{ED3ED94B-5853-FBB1-776B-774900F20D12}"/>
          </ac:grpSpMkLst>
        </pc:grpChg>
        <pc:grpChg chg="add del mod">
          <ac:chgData name="Kateryna Levchuk (UA)" userId="5dbb0cbd-4dc1-41d4-910d-5f884aef466d" providerId="ADAL" clId="{3D0DB7AE-1BA7-45E8-B6C7-4A63B94ABB52}" dt="2024-06-10T11:33:04.487" v="729" actId="478"/>
          <ac:grpSpMkLst>
            <pc:docMk/>
            <pc:sldMk cId="2752004613" sldId="2147481965"/>
            <ac:grpSpMk id="93" creationId="{55495842-AA57-131F-3B24-9FE2DCF78083}"/>
          </ac:grpSpMkLst>
        </pc:grpChg>
        <pc:grpChg chg="add del mod">
          <ac:chgData name="Kateryna Levchuk (UA)" userId="5dbb0cbd-4dc1-41d4-910d-5f884aef466d" providerId="ADAL" clId="{3D0DB7AE-1BA7-45E8-B6C7-4A63B94ABB52}" dt="2024-06-10T11:33:04.487" v="729" actId="478"/>
          <ac:grpSpMkLst>
            <pc:docMk/>
            <pc:sldMk cId="2752004613" sldId="2147481965"/>
            <ac:grpSpMk id="96" creationId="{0B24A8FC-A505-8458-4A0A-D728F1ED8F60}"/>
          </ac:grpSpMkLst>
        </pc:grpChg>
        <pc:grpChg chg="add del mod">
          <ac:chgData name="Kateryna Levchuk (UA)" userId="5dbb0cbd-4dc1-41d4-910d-5f884aef466d" providerId="ADAL" clId="{3D0DB7AE-1BA7-45E8-B6C7-4A63B94ABB52}" dt="2024-06-10T13:46:24.708" v="1285" actId="478"/>
          <ac:grpSpMkLst>
            <pc:docMk/>
            <pc:sldMk cId="2752004613" sldId="2147481965"/>
            <ac:grpSpMk id="100" creationId="{9D6E8294-5C3A-DAE2-0B8E-8262C7E3635A}"/>
          </ac:grpSpMkLst>
        </pc:grpChg>
        <pc:grpChg chg="add del mod">
          <ac:chgData name="Kateryna Levchuk (UA)" userId="5dbb0cbd-4dc1-41d4-910d-5f884aef466d" providerId="ADAL" clId="{3D0DB7AE-1BA7-45E8-B6C7-4A63B94ABB52}" dt="2024-06-10T13:47:28.617" v="1306" actId="478"/>
          <ac:grpSpMkLst>
            <pc:docMk/>
            <pc:sldMk cId="2752004613" sldId="2147481965"/>
            <ac:grpSpMk id="104" creationId="{137BA1D0-4C77-B736-4D02-7A088A5D2B98}"/>
          </ac:grpSpMkLst>
        </pc:grpChg>
        <pc:grpChg chg="add del mod">
          <ac:chgData name="Kateryna Levchuk (UA)" userId="5dbb0cbd-4dc1-41d4-910d-5f884aef466d" providerId="ADAL" clId="{3D0DB7AE-1BA7-45E8-B6C7-4A63B94ABB52}" dt="2024-06-10T13:47:03.382" v="1299" actId="478"/>
          <ac:grpSpMkLst>
            <pc:docMk/>
            <pc:sldMk cId="2752004613" sldId="2147481965"/>
            <ac:grpSpMk id="108" creationId="{4430977A-5A50-1280-3EB5-8B3D7FC73198}"/>
          </ac:grpSpMkLst>
        </pc:grpChg>
        <pc:grpChg chg="add del mod">
          <ac:chgData name="Kateryna Levchuk (UA)" userId="5dbb0cbd-4dc1-41d4-910d-5f884aef466d" providerId="ADAL" clId="{3D0DB7AE-1BA7-45E8-B6C7-4A63B94ABB52}" dt="2024-06-10T13:47:30.245" v="1308" actId="478"/>
          <ac:grpSpMkLst>
            <pc:docMk/>
            <pc:sldMk cId="2752004613" sldId="2147481965"/>
            <ac:grpSpMk id="112" creationId="{8B3DA2DC-1263-B59F-301A-157586AAA69B}"/>
          </ac:grpSpMkLst>
        </pc:grpChg>
        <pc:grpChg chg="add del mod">
          <ac:chgData name="Kateryna Levchuk (UA)" userId="5dbb0cbd-4dc1-41d4-910d-5f884aef466d" providerId="ADAL" clId="{3D0DB7AE-1BA7-45E8-B6C7-4A63B94ABB52}" dt="2024-06-10T13:47:29.219" v="1307" actId="478"/>
          <ac:grpSpMkLst>
            <pc:docMk/>
            <pc:sldMk cId="2752004613" sldId="2147481965"/>
            <ac:grpSpMk id="116" creationId="{EDDE9C3D-1C5D-8FB1-9781-D31D2DA2EB5F}"/>
          </ac:grpSpMkLst>
        </pc:grpChg>
        <pc:grpChg chg="add del mod">
          <ac:chgData name="Kateryna Levchuk (UA)" userId="5dbb0cbd-4dc1-41d4-910d-5f884aef466d" providerId="ADAL" clId="{3D0DB7AE-1BA7-45E8-B6C7-4A63B94ABB52}" dt="2024-06-10T13:47:04.032" v="1300" actId="478"/>
          <ac:grpSpMkLst>
            <pc:docMk/>
            <pc:sldMk cId="2752004613" sldId="2147481965"/>
            <ac:grpSpMk id="120" creationId="{81FC2C56-8C1D-B131-4936-E9C0A6D051B9}"/>
          </ac:grpSpMkLst>
        </pc:grpChg>
        <pc:grpChg chg="add del mod">
          <ac:chgData name="Kateryna Levchuk (UA)" userId="5dbb0cbd-4dc1-41d4-910d-5f884aef466d" providerId="ADAL" clId="{3D0DB7AE-1BA7-45E8-B6C7-4A63B94ABB52}" dt="2024-06-10T13:47:04.574" v="1301" actId="478"/>
          <ac:grpSpMkLst>
            <pc:docMk/>
            <pc:sldMk cId="2752004613" sldId="2147481965"/>
            <ac:grpSpMk id="124" creationId="{4EC32981-ABC8-660E-430A-740152E47333}"/>
          </ac:grpSpMkLst>
        </pc:grpChg>
        <pc:grpChg chg="add mod">
          <ac:chgData name="Kateryna Levchuk (UA)" userId="5dbb0cbd-4dc1-41d4-910d-5f884aef466d" providerId="ADAL" clId="{3D0DB7AE-1BA7-45E8-B6C7-4A63B94ABB52}" dt="2024-06-10T11:49:24.358" v="956" actId="1076"/>
          <ac:grpSpMkLst>
            <pc:docMk/>
            <pc:sldMk cId="2752004613" sldId="2147481965"/>
            <ac:grpSpMk id="128" creationId="{D9A5D3FD-8794-50EB-12C4-B95355AE4257}"/>
          </ac:grpSpMkLst>
        </pc:grpChg>
        <pc:grpChg chg="add mod">
          <ac:chgData name="Kateryna Levchuk (UA)" userId="5dbb0cbd-4dc1-41d4-910d-5f884aef466d" providerId="ADAL" clId="{3D0DB7AE-1BA7-45E8-B6C7-4A63B94ABB52}" dt="2024-06-10T11:49:24.358" v="956" actId="1076"/>
          <ac:grpSpMkLst>
            <pc:docMk/>
            <pc:sldMk cId="2752004613" sldId="2147481965"/>
            <ac:grpSpMk id="132" creationId="{069EA022-CD97-3BDC-29C5-13BD2F12F37E}"/>
          </ac:grpSpMkLst>
        </pc:grpChg>
        <pc:grpChg chg="add mod">
          <ac:chgData name="Kateryna Levchuk (UA)" userId="5dbb0cbd-4dc1-41d4-910d-5f884aef466d" providerId="ADAL" clId="{3D0DB7AE-1BA7-45E8-B6C7-4A63B94ABB52}" dt="2024-06-10T13:24:30.031" v="1030" actId="1076"/>
          <ac:grpSpMkLst>
            <pc:docMk/>
            <pc:sldMk cId="2752004613" sldId="2147481965"/>
            <ac:grpSpMk id="135" creationId="{90DF27BD-9BCC-CAE8-73D7-5818428FEDC5}"/>
          </ac:grpSpMkLst>
        </pc:grpChg>
        <pc:grpChg chg="add del mod">
          <ac:chgData name="Kateryna Levchuk (UA)" userId="5dbb0cbd-4dc1-41d4-910d-5f884aef466d" providerId="ADAL" clId="{3D0DB7AE-1BA7-45E8-B6C7-4A63B94ABB52}" dt="2024-06-10T13:49:26.515" v="1336" actId="478"/>
          <ac:grpSpMkLst>
            <pc:docMk/>
            <pc:sldMk cId="2752004613" sldId="2147481965"/>
            <ac:grpSpMk id="137" creationId="{071B7EB6-E382-8DB8-2A6F-97E3E61F8F6C}"/>
          </ac:grpSpMkLst>
        </pc:grpChg>
        <pc:grpChg chg="add del mod">
          <ac:chgData name="Kateryna Levchuk (UA)" userId="5dbb0cbd-4dc1-41d4-910d-5f884aef466d" providerId="ADAL" clId="{3D0DB7AE-1BA7-45E8-B6C7-4A63B94ABB52}" dt="2024-06-10T13:49:31.698" v="1337" actId="478"/>
          <ac:grpSpMkLst>
            <pc:docMk/>
            <pc:sldMk cId="2752004613" sldId="2147481965"/>
            <ac:grpSpMk id="140" creationId="{58AD4090-445B-F797-BE57-BC692DAA3D61}"/>
          </ac:grpSpMkLst>
        </pc:grpChg>
        <pc:grpChg chg="add del mod">
          <ac:chgData name="Kateryna Levchuk (UA)" userId="5dbb0cbd-4dc1-41d4-910d-5f884aef466d" providerId="ADAL" clId="{3D0DB7AE-1BA7-45E8-B6C7-4A63B94ABB52}" dt="2024-06-10T13:49:32.746" v="1338" actId="478"/>
          <ac:grpSpMkLst>
            <pc:docMk/>
            <pc:sldMk cId="2752004613" sldId="2147481965"/>
            <ac:grpSpMk id="143" creationId="{F1133140-DADC-38A0-1227-11DEF00A7355}"/>
          </ac:grpSpMkLst>
        </pc:grpChg>
        <pc:grpChg chg="add del mod">
          <ac:chgData name="Kateryna Levchuk (UA)" userId="5dbb0cbd-4dc1-41d4-910d-5f884aef466d" providerId="ADAL" clId="{3D0DB7AE-1BA7-45E8-B6C7-4A63B94ABB52}" dt="2024-06-10T13:49:33.239" v="1339" actId="478"/>
          <ac:grpSpMkLst>
            <pc:docMk/>
            <pc:sldMk cId="2752004613" sldId="2147481965"/>
            <ac:grpSpMk id="146" creationId="{6792D685-2107-72CE-8EE9-3707ECD53B93}"/>
          </ac:grpSpMkLst>
        </pc:grpChg>
        <pc:grpChg chg="add mod">
          <ac:chgData name="Kateryna Levchuk (UA)" userId="5dbb0cbd-4dc1-41d4-910d-5f884aef466d" providerId="ADAL" clId="{3D0DB7AE-1BA7-45E8-B6C7-4A63B94ABB52}" dt="2024-06-10T13:49:43.481" v="1340"/>
          <ac:grpSpMkLst>
            <pc:docMk/>
            <pc:sldMk cId="2752004613" sldId="2147481965"/>
            <ac:grpSpMk id="150" creationId="{3A459FDE-AE93-2BA8-F0C3-2E6B44F0C467}"/>
          </ac:grpSpMkLst>
        </pc:grpChg>
        <pc:grpChg chg="add mod">
          <ac:chgData name="Kateryna Levchuk (UA)" userId="5dbb0cbd-4dc1-41d4-910d-5f884aef466d" providerId="ADAL" clId="{3D0DB7AE-1BA7-45E8-B6C7-4A63B94ABB52}" dt="2024-06-10T13:50:34.128" v="1348" actId="1076"/>
          <ac:grpSpMkLst>
            <pc:docMk/>
            <pc:sldMk cId="2752004613" sldId="2147481965"/>
            <ac:grpSpMk id="153" creationId="{BA388B3F-A0A0-4D7C-29BF-FE9F7BDB818F}"/>
          </ac:grpSpMkLst>
        </pc:grpChg>
        <pc:grpChg chg="add mod">
          <ac:chgData name="Kateryna Levchuk (UA)" userId="5dbb0cbd-4dc1-41d4-910d-5f884aef466d" providerId="ADAL" clId="{3D0DB7AE-1BA7-45E8-B6C7-4A63B94ABB52}" dt="2024-06-10T13:50:54.203" v="1351" actId="1076"/>
          <ac:grpSpMkLst>
            <pc:docMk/>
            <pc:sldMk cId="2752004613" sldId="2147481965"/>
            <ac:grpSpMk id="156" creationId="{E6136448-5C65-CBF5-5816-6CAAAB1D970C}"/>
          </ac:grpSpMkLst>
        </pc:grpChg>
        <pc:grpChg chg="add mod">
          <ac:chgData name="Kateryna Levchuk (UA)" userId="5dbb0cbd-4dc1-41d4-910d-5f884aef466d" providerId="ADAL" clId="{3D0DB7AE-1BA7-45E8-B6C7-4A63B94ABB52}" dt="2024-06-10T13:51:06.776" v="1354" actId="1076"/>
          <ac:grpSpMkLst>
            <pc:docMk/>
            <pc:sldMk cId="2752004613" sldId="2147481965"/>
            <ac:grpSpMk id="159" creationId="{92631223-F23E-F821-95EE-54263AE4AA27}"/>
          </ac:grpSpMkLst>
        </pc:grpChg>
      </pc:sldChg>
      <pc:sldChg chg="addSp delSp modSp mod">
        <pc:chgData name="Kateryna Levchuk (UA)" userId="5dbb0cbd-4dc1-41d4-910d-5f884aef466d" providerId="ADAL" clId="{3D0DB7AE-1BA7-45E8-B6C7-4A63B94ABB52}" dt="2024-06-10T14:03:06.942" v="1431" actId="478"/>
        <pc:sldMkLst>
          <pc:docMk/>
          <pc:sldMk cId="3061079320" sldId="2147481966"/>
        </pc:sldMkLst>
        <pc:spChg chg="mod">
          <ac:chgData name="Kateryna Levchuk (UA)" userId="5dbb0cbd-4dc1-41d4-910d-5f884aef466d" providerId="ADAL" clId="{3D0DB7AE-1BA7-45E8-B6C7-4A63B94ABB52}" dt="2024-06-10T13:25:13.054" v="1043"/>
          <ac:spMkLst>
            <pc:docMk/>
            <pc:sldMk cId="3061079320" sldId="2147481966"/>
            <ac:spMk id="6" creationId="{5F0B7C26-8D9E-CC59-8567-E2980A0945D4}"/>
          </ac:spMkLst>
        </pc:spChg>
        <pc:spChg chg="mod">
          <ac:chgData name="Kateryna Levchuk (UA)" userId="5dbb0cbd-4dc1-41d4-910d-5f884aef466d" providerId="ADAL" clId="{3D0DB7AE-1BA7-45E8-B6C7-4A63B94ABB52}" dt="2024-06-10T13:25:13.054" v="1043"/>
          <ac:spMkLst>
            <pc:docMk/>
            <pc:sldMk cId="3061079320" sldId="2147481966"/>
            <ac:spMk id="13" creationId="{4BE1B4A9-4FE8-F5A7-C0CE-A273D02BF1C6}"/>
          </ac:spMkLst>
        </pc:spChg>
        <pc:spChg chg="mod">
          <ac:chgData name="Kateryna Levchuk (UA)" userId="5dbb0cbd-4dc1-41d4-910d-5f884aef466d" providerId="ADAL" clId="{3D0DB7AE-1BA7-45E8-B6C7-4A63B94ABB52}" dt="2024-06-10T13:25:13.054" v="1043"/>
          <ac:spMkLst>
            <pc:docMk/>
            <pc:sldMk cId="3061079320" sldId="2147481966"/>
            <ac:spMk id="14" creationId="{A958BAF4-7F4B-5FFE-24C3-9AD4192277FF}"/>
          </ac:spMkLst>
        </pc:spChg>
        <pc:spChg chg="mod">
          <ac:chgData name="Kateryna Levchuk (UA)" userId="5dbb0cbd-4dc1-41d4-910d-5f884aef466d" providerId="ADAL" clId="{3D0DB7AE-1BA7-45E8-B6C7-4A63B94ABB52}" dt="2024-06-10T13:59:56.456" v="1404" actId="1076"/>
          <ac:spMkLst>
            <pc:docMk/>
            <pc:sldMk cId="3061079320" sldId="2147481966"/>
            <ac:spMk id="15" creationId="{646673C4-B9B9-74BB-E212-CD6427C9067F}"/>
          </ac:spMkLst>
        </pc:spChg>
        <pc:spChg chg="mod">
          <ac:chgData name="Kateryna Levchuk (UA)" userId="5dbb0cbd-4dc1-41d4-910d-5f884aef466d" providerId="ADAL" clId="{3D0DB7AE-1BA7-45E8-B6C7-4A63B94ABB52}" dt="2024-06-10T13:25:13.054" v="1043"/>
          <ac:spMkLst>
            <pc:docMk/>
            <pc:sldMk cId="3061079320" sldId="2147481966"/>
            <ac:spMk id="17" creationId="{EF4C006A-D7CE-1984-D744-E048DAEF0BAC}"/>
          </ac:spMkLst>
        </pc:spChg>
        <pc:spChg chg="mod">
          <ac:chgData name="Kateryna Levchuk (UA)" userId="5dbb0cbd-4dc1-41d4-910d-5f884aef466d" providerId="ADAL" clId="{3D0DB7AE-1BA7-45E8-B6C7-4A63B94ABB52}" dt="2024-06-10T13:25:13.054" v="1043"/>
          <ac:spMkLst>
            <pc:docMk/>
            <pc:sldMk cId="3061079320" sldId="2147481966"/>
            <ac:spMk id="18" creationId="{59098F7D-FF57-9D6E-2C26-AE1220D68605}"/>
          </ac:spMkLst>
        </pc:spChg>
        <pc:spChg chg="mod">
          <ac:chgData name="Kateryna Levchuk (UA)" userId="5dbb0cbd-4dc1-41d4-910d-5f884aef466d" providerId="ADAL" clId="{3D0DB7AE-1BA7-45E8-B6C7-4A63B94ABB52}" dt="2024-06-10T13:25:13.054" v="1043"/>
          <ac:spMkLst>
            <pc:docMk/>
            <pc:sldMk cId="3061079320" sldId="2147481966"/>
            <ac:spMk id="19" creationId="{750694DD-D45A-459D-6ECB-EB36A2626BA9}"/>
          </ac:spMkLst>
        </pc:spChg>
        <pc:spChg chg="add del mod">
          <ac:chgData name="Kateryna Levchuk (UA)" userId="5dbb0cbd-4dc1-41d4-910d-5f884aef466d" providerId="ADAL" clId="{3D0DB7AE-1BA7-45E8-B6C7-4A63B94ABB52}" dt="2024-06-10T14:03:06.942" v="1431" actId="478"/>
          <ac:spMkLst>
            <pc:docMk/>
            <pc:sldMk cId="3061079320" sldId="2147481966"/>
            <ac:spMk id="20" creationId="{A7B346AE-CFF3-E0A1-CDF0-2C7B6BCB8C86}"/>
          </ac:spMkLst>
        </pc:spChg>
        <pc:spChg chg="mod">
          <ac:chgData name="Kateryna Levchuk (UA)" userId="5dbb0cbd-4dc1-41d4-910d-5f884aef466d" providerId="ADAL" clId="{3D0DB7AE-1BA7-45E8-B6C7-4A63B94ABB52}" dt="2024-06-10T13:56:48.715" v="1400" actId="12788"/>
          <ac:spMkLst>
            <pc:docMk/>
            <pc:sldMk cId="3061079320" sldId="2147481966"/>
            <ac:spMk id="52" creationId="{754EAF21-8364-40B5-103F-C971798338FA}"/>
          </ac:spMkLst>
        </pc:spChg>
        <pc:spChg chg="mod">
          <ac:chgData name="Kateryna Levchuk (UA)" userId="5dbb0cbd-4dc1-41d4-910d-5f884aef466d" providerId="ADAL" clId="{3D0DB7AE-1BA7-45E8-B6C7-4A63B94ABB52}" dt="2024-06-10T13:56:32.870" v="1398" actId="12788"/>
          <ac:spMkLst>
            <pc:docMk/>
            <pc:sldMk cId="3061079320" sldId="2147481966"/>
            <ac:spMk id="53" creationId="{6E6AD103-92DC-77F5-2DD7-C9640CA704CA}"/>
          </ac:spMkLst>
        </pc:spChg>
        <pc:spChg chg="mod">
          <ac:chgData name="Kateryna Levchuk (UA)" userId="5dbb0cbd-4dc1-41d4-910d-5f884aef466d" providerId="ADAL" clId="{3D0DB7AE-1BA7-45E8-B6C7-4A63B94ABB52}" dt="2024-06-10T13:56:39.998" v="1399" actId="12788"/>
          <ac:spMkLst>
            <pc:docMk/>
            <pc:sldMk cId="3061079320" sldId="2147481966"/>
            <ac:spMk id="54" creationId="{4CD0B799-859D-8D06-4ACC-37DFFC5D70E2}"/>
          </ac:spMkLst>
        </pc:spChg>
        <pc:spChg chg="mod">
          <ac:chgData name="Kateryna Levchuk (UA)" userId="5dbb0cbd-4dc1-41d4-910d-5f884aef466d" providerId="ADAL" clId="{3D0DB7AE-1BA7-45E8-B6C7-4A63B94ABB52}" dt="2024-06-10T14:02:07.139" v="1415" actId="1076"/>
          <ac:spMkLst>
            <pc:docMk/>
            <pc:sldMk cId="3061079320" sldId="2147481966"/>
            <ac:spMk id="59" creationId="{CE37DEFD-F7E1-1D17-896D-4B833690D0B7}"/>
          </ac:spMkLst>
        </pc:spChg>
        <pc:spChg chg="mod">
          <ac:chgData name="Kateryna Levchuk (UA)" userId="5dbb0cbd-4dc1-41d4-910d-5f884aef466d" providerId="ADAL" clId="{3D0DB7AE-1BA7-45E8-B6C7-4A63B94ABB52}" dt="2024-06-10T14:02:25.723" v="1420" actId="1076"/>
          <ac:spMkLst>
            <pc:docMk/>
            <pc:sldMk cId="3061079320" sldId="2147481966"/>
            <ac:spMk id="60" creationId="{F3A9469B-C6D4-CEE4-8E04-A57D05ED614E}"/>
          </ac:spMkLst>
        </pc:spChg>
        <pc:spChg chg="mod">
          <ac:chgData name="Kateryna Levchuk (UA)" userId="5dbb0cbd-4dc1-41d4-910d-5f884aef466d" providerId="ADAL" clId="{3D0DB7AE-1BA7-45E8-B6C7-4A63B94ABB52}" dt="2024-06-10T14:01:52.095" v="1411" actId="1076"/>
          <ac:spMkLst>
            <pc:docMk/>
            <pc:sldMk cId="3061079320" sldId="2147481966"/>
            <ac:spMk id="61" creationId="{9BADE996-6B0E-D4E1-5041-CC505899D892}"/>
          </ac:spMkLst>
        </pc:spChg>
        <pc:spChg chg="mod">
          <ac:chgData name="Kateryna Levchuk (UA)" userId="5dbb0cbd-4dc1-41d4-910d-5f884aef466d" providerId="ADAL" clId="{3D0DB7AE-1BA7-45E8-B6C7-4A63B94ABB52}" dt="2024-06-10T13:55:32.260" v="1397" actId="12788"/>
          <ac:spMkLst>
            <pc:docMk/>
            <pc:sldMk cId="3061079320" sldId="2147481966"/>
            <ac:spMk id="62" creationId="{5FAADB15-4E21-3C09-8DC6-C494DF454908}"/>
          </ac:spMkLst>
        </pc:spChg>
        <pc:spChg chg="mod">
          <ac:chgData name="Kateryna Levchuk (UA)" userId="5dbb0cbd-4dc1-41d4-910d-5f884aef466d" providerId="ADAL" clId="{3D0DB7AE-1BA7-45E8-B6C7-4A63B94ABB52}" dt="2024-06-10T14:03:05.751" v="1430" actId="1076"/>
          <ac:spMkLst>
            <pc:docMk/>
            <pc:sldMk cId="3061079320" sldId="2147481966"/>
            <ac:spMk id="70" creationId="{3F316D1B-3703-9EE0-5513-9FC627F0D3C4}"/>
          </ac:spMkLst>
        </pc:spChg>
        <pc:grpChg chg="add mod">
          <ac:chgData name="Kateryna Levchuk (UA)" userId="5dbb0cbd-4dc1-41d4-910d-5f884aef466d" providerId="ADAL" clId="{3D0DB7AE-1BA7-45E8-B6C7-4A63B94ABB52}" dt="2024-06-10T13:25:13.054" v="1043"/>
          <ac:grpSpMkLst>
            <pc:docMk/>
            <pc:sldMk cId="3061079320" sldId="2147481966"/>
            <ac:grpSpMk id="5" creationId="{15306046-6C9A-9941-5987-D1AA6146A04F}"/>
          </ac:grpSpMkLst>
        </pc:grpChg>
        <pc:grpChg chg="mod">
          <ac:chgData name="Kateryna Levchuk (UA)" userId="5dbb0cbd-4dc1-41d4-910d-5f884aef466d" providerId="ADAL" clId="{3D0DB7AE-1BA7-45E8-B6C7-4A63B94ABB52}" dt="2024-06-10T13:53:05.700" v="1364" actId="1076"/>
          <ac:grpSpMkLst>
            <pc:docMk/>
            <pc:sldMk cId="3061079320" sldId="2147481966"/>
            <ac:grpSpMk id="58" creationId="{6EC27B63-BDDA-61E7-C413-9296D3BA9668}"/>
          </ac:grpSpMkLst>
        </pc:grpChg>
        <pc:grpChg chg="mod">
          <ac:chgData name="Kateryna Levchuk (UA)" userId="5dbb0cbd-4dc1-41d4-910d-5f884aef466d" providerId="ADAL" clId="{3D0DB7AE-1BA7-45E8-B6C7-4A63B94ABB52}" dt="2024-06-10T13:53:00.809" v="1363" actId="1076"/>
          <ac:grpSpMkLst>
            <pc:docMk/>
            <pc:sldMk cId="3061079320" sldId="2147481966"/>
            <ac:grpSpMk id="63" creationId="{1B8D2600-D139-04F3-5D68-144782AFE9F1}"/>
          </ac:grpSpMkLst>
        </pc:grpChg>
        <pc:grpChg chg="mod">
          <ac:chgData name="Kateryna Levchuk (UA)" userId="5dbb0cbd-4dc1-41d4-910d-5f884aef466d" providerId="ADAL" clId="{3D0DB7AE-1BA7-45E8-B6C7-4A63B94ABB52}" dt="2024-06-10T14:02:51.093" v="1426" actId="1076"/>
          <ac:grpSpMkLst>
            <pc:docMk/>
            <pc:sldMk cId="3061079320" sldId="2147481966"/>
            <ac:grpSpMk id="64" creationId="{61A85F62-FF91-BD23-93B9-59A5FDE686AE}"/>
          </ac:grpSpMkLst>
        </pc:grpChg>
      </pc:sldChg>
      <pc:sldChg chg="add del">
        <pc:chgData name="Kateryna Levchuk (UA)" userId="5dbb0cbd-4dc1-41d4-910d-5f884aef466d" providerId="ADAL" clId="{3D0DB7AE-1BA7-45E8-B6C7-4A63B94ABB52}" dt="2024-06-10T13:23:01.010" v="1021"/>
        <pc:sldMkLst>
          <pc:docMk/>
          <pc:sldMk cId="220986385" sldId="214748196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0" indent="0" algn="just" rtl="0">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E5105488-9511-49B5-9F91-2E31A796C863}" type="slidenum">
              <a:rPr lang="lv-LV" altLang="en-US">
                <a:latin typeface="Calibri" panose="020F0502020204030204" pitchFamily="34" charset="0"/>
              </a:rPr>
              <a:pPr rtl="0"/>
              <a:t>10</a:t>
            </a:fld>
            <a:endParaRPr lang="lv-LV" altLang="en-US">
              <a:latin typeface="Calibri" panose="020F0502020204030204" pitchFamily="34" charset="0"/>
            </a:endParaRPr>
          </a:p>
        </p:txBody>
      </p:sp>
    </p:spTree>
    <p:extLst>
      <p:ext uri="{BB962C8B-B14F-4D97-AF65-F5344CB8AC3E}">
        <p14:creationId xmlns:p14="http://schemas.microsoft.com/office/powerpoint/2010/main" val="3234649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0" indent="0" algn="just" rtl="0">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E5105488-9511-49B5-9F91-2E31A796C863}" type="slidenum">
              <a:rPr lang="lv-LV" altLang="en-US">
                <a:latin typeface="Calibri" panose="020F0502020204030204" pitchFamily="34" charset="0"/>
              </a:rPr>
              <a:pPr rtl="0"/>
              <a:t>11</a:t>
            </a:fld>
            <a:endParaRPr lang="lv-LV" altLang="en-US">
              <a:latin typeface="Calibri" panose="020F0502020204030204" pitchFamily="34" charset="0"/>
            </a:endParaRPr>
          </a:p>
        </p:txBody>
      </p:sp>
    </p:spTree>
    <p:extLst>
      <p:ext uri="{BB962C8B-B14F-4D97-AF65-F5344CB8AC3E}">
        <p14:creationId xmlns:p14="http://schemas.microsoft.com/office/powerpoint/2010/main" val="138949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2</a:t>
            </a:fld>
            <a:endParaRPr lang="en-GB"/>
          </a:p>
        </p:txBody>
      </p:sp>
    </p:spTree>
    <p:extLst>
      <p:ext uri="{BB962C8B-B14F-4D97-AF65-F5344CB8AC3E}">
        <p14:creationId xmlns:p14="http://schemas.microsoft.com/office/powerpoint/2010/main" val="1523656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aida attēla vietturis 1">
            <a:extLst>
              <a:ext uri="{FF2B5EF4-FFF2-40B4-BE49-F238E27FC236}">
                <a16:creationId xmlns:a16="http://schemas.microsoft.com/office/drawing/2014/main" id="{40D96A1F-099B-A26A-4328-C6BB747F72A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Piezīmju vietturis 2">
            <a:extLst>
              <a:ext uri="{FF2B5EF4-FFF2-40B4-BE49-F238E27FC236}">
                <a16:creationId xmlns:a16="http://schemas.microsoft.com/office/drawing/2014/main" id="{65CF0759-C772-EB39-7BB1-4809DEEAD93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algn="just" rtl="0"/>
            <a:endParaRPr lang="lv-LV" altLang="lv-LV"/>
          </a:p>
        </p:txBody>
      </p:sp>
      <p:sp>
        <p:nvSpPr>
          <p:cNvPr id="4" name="Slaida numura vietturis 3">
            <a:extLst>
              <a:ext uri="{FF2B5EF4-FFF2-40B4-BE49-F238E27FC236}">
                <a16:creationId xmlns:a16="http://schemas.microsoft.com/office/drawing/2014/main" id="{37AC2A57-FB0B-EAA8-BC18-1B39817BD5D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5A1DA7D3-307F-4D4A-A861-41A13283C77F}" type="slidenum">
              <a:rPr lang="lv-LV" altLang="en-US">
                <a:latin typeface="Calibri" panose="020F0502020204030204" pitchFamily="34" charset="0"/>
              </a:rPr>
              <a:pPr rtl="0"/>
              <a:t>13</a:t>
            </a:fld>
            <a:endParaRPr lang="lv-LV" altLang="en-US">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endParaRPr lang="en-US" altLang="lv-LV">
              <a:cs typeface="Arial"/>
            </a:endParaRPr>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7298E865-20AF-462E-9CB2-077B5ED71575}" type="slidenum">
              <a:rPr lang="lv-LV" altLang="en-US">
                <a:latin typeface="Calibri" panose="020F0502020204030204" pitchFamily="34" charset="0"/>
              </a:rPr>
              <a:pPr rtl="0"/>
              <a:t>14</a:t>
            </a:fld>
            <a:endParaRPr lang="lv-LV" altLang="en-US">
              <a:latin typeface="Calibri" panose="020F0502020204030204" pitchFamily="34" charset="0"/>
            </a:endParaRPr>
          </a:p>
        </p:txBody>
      </p:sp>
    </p:spTree>
    <p:extLst>
      <p:ext uri="{BB962C8B-B14F-4D97-AF65-F5344CB8AC3E}">
        <p14:creationId xmlns:p14="http://schemas.microsoft.com/office/powerpoint/2010/main" val="3975882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rtlCol="0"/>
          <a:lstStyle/>
          <a:p>
            <a:pPr algn="just" rtl="0">
              <a:defRPr/>
            </a:pPr>
            <a:endParaRPr lang="en-US"/>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14977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cs-CZ"/>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7</a:t>
            </a:fld>
            <a:endParaRPr lang="en-GB"/>
          </a:p>
        </p:txBody>
      </p:sp>
    </p:spTree>
    <p:extLst>
      <p:ext uri="{BB962C8B-B14F-4D97-AF65-F5344CB8AC3E}">
        <p14:creationId xmlns:p14="http://schemas.microsoft.com/office/powerpoint/2010/main" val="3065109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rtlCol="0"/>
          <a:lstStyle/>
          <a:p>
            <a:pPr algn="just" rtl="0">
              <a:defRPr/>
            </a:pPr>
            <a:endParaRPr lang="en-US"/>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993306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9</a:t>
            </a:fld>
            <a:endParaRPr lang="en-GB"/>
          </a:p>
        </p:txBody>
      </p:sp>
    </p:spTree>
    <p:extLst>
      <p:ext uri="{BB962C8B-B14F-4D97-AF65-F5344CB8AC3E}">
        <p14:creationId xmlns:p14="http://schemas.microsoft.com/office/powerpoint/2010/main" val="3897667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0</a:t>
            </a:fld>
            <a:endParaRPr lang="en-GB"/>
          </a:p>
        </p:txBody>
      </p:sp>
    </p:spTree>
    <p:extLst>
      <p:ext uri="{BB962C8B-B14F-4D97-AF65-F5344CB8AC3E}">
        <p14:creationId xmlns:p14="http://schemas.microsoft.com/office/powerpoint/2010/main" val="142501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a:t>
            </a:fld>
            <a:endParaRPr lang="en-GB"/>
          </a:p>
        </p:txBody>
      </p:sp>
    </p:spTree>
    <p:extLst>
      <p:ext uri="{BB962C8B-B14F-4D97-AF65-F5344CB8AC3E}">
        <p14:creationId xmlns:p14="http://schemas.microsoft.com/office/powerpoint/2010/main" val="2067822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rtlCol="0"/>
          <a:lstStyle/>
          <a:p>
            <a:pPr algn="just" rtl="0">
              <a:defRPr/>
            </a:pPr>
            <a:endParaRPr lang="lv-LV"/>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505886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2</a:t>
            </a:fld>
            <a:endParaRPr lang="en-GB"/>
          </a:p>
        </p:txBody>
      </p:sp>
    </p:spTree>
    <p:extLst>
      <p:ext uri="{BB962C8B-B14F-4D97-AF65-F5344CB8AC3E}">
        <p14:creationId xmlns:p14="http://schemas.microsoft.com/office/powerpoint/2010/main" val="3258101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3</a:t>
            </a:fld>
            <a:endParaRPr lang="en-GB"/>
          </a:p>
        </p:txBody>
      </p:sp>
    </p:spTree>
    <p:extLst>
      <p:ext uri="{BB962C8B-B14F-4D97-AF65-F5344CB8AC3E}">
        <p14:creationId xmlns:p14="http://schemas.microsoft.com/office/powerpoint/2010/main" val="10068656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5</a:t>
            </a:fld>
            <a:endParaRPr lang="en-GB"/>
          </a:p>
        </p:txBody>
      </p:sp>
    </p:spTree>
    <p:extLst>
      <p:ext uri="{BB962C8B-B14F-4D97-AF65-F5344CB8AC3E}">
        <p14:creationId xmlns:p14="http://schemas.microsoft.com/office/powerpoint/2010/main" val="30951583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6</a:t>
            </a:fld>
            <a:endParaRPr lang="en-GB"/>
          </a:p>
        </p:txBody>
      </p:sp>
    </p:spTree>
    <p:extLst>
      <p:ext uri="{BB962C8B-B14F-4D97-AF65-F5344CB8AC3E}">
        <p14:creationId xmlns:p14="http://schemas.microsoft.com/office/powerpoint/2010/main" val="675889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7</a:t>
            </a:fld>
            <a:endParaRPr lang="en-GB"/>
          </a:p>
        </p:txBody>
      </p:sp>
    </p:spTree>
    <p:extLst>
      <p:ext uri="{BB962C8B-B14F-4D97-AF65-F5344CB8AC3E}">
        <p14:creationId xmlns:p14="http://schemas.microsoft.com/office/powerpoint/2010/main" val="3194086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8</a:t>
            </a:fld>
            <a:endParaRPr lang="en-GB"/>
          </a:p>
        </p:txBody>
      </p:sp>
    </p:spTree>
    <p:extLst>
      <p:ext uri="{BB962C8B-B14F-4D97-AF65-F5344CB8AC3E}">
        <p14:creationId xmlns:p14="http://schemas.microsoft.com/office/powerpoint/2010/main" val="1335843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9</a:t>
            </a:fld>
            <a:endParaRPr lang="en-GB"/>
          </a:p>
        </p:txBody>
      </p:sp>
    </p:spTree>
    <p:extLst>
      <p:ext uri="{BB962C8B-B14F-4D97-AF65-F5344CB8AC3E}">
        <p14:creationId xmlns:p14="http://schemas.microsoft.com/office/powerpoint/2010/main" val="33303846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0</a:t>
            </a:fld>
            <a:endParaRPr lang="en-GB"/>
          </a:p>
        </p:txBody>
      </p:sp>
    </p:spTree>
    <p:extLst>
      <p:ext uri="{BB962C8B-B14F-4D97-AF65-F5344CB8AC3E}">
        <p14:creationId xmlns:p14="http://schemas.microsoft.com/office/powerpoint/2010/main" val="3201329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idx="12"/>
          </p:nvPr>
        </p:nvSpPr>
        <p:spPr/>
        <p:txBody>
          <a:bodyPr rtlCol="0"/>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42695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a:t>
            </a:fld>
            <a:endParaRPr lang="en-GB"/>
          </a:p>
        </p:txBody>
      </p:sp>
    </p:spTree>
    <p:extLst>
      <p:ext uri="{BB962C8B-B14F-4D97-AF65-F5344CB8AC3E}">
        <p14:creationId xmlns:p14="http://schemas.microsoft.com/office/powerpoint/2010/main" val="17815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2828597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788369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rtlCol="0"/>
          <a:lstStyle/>
          <a:p>
            <a:pPr algn="just" rtl="0">
              <a:defRPr/>
            </a:pPr>
            <a:endParaRPr lang="lv-LV"/>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828874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2642590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0" indent="0" algn="just" rtl="0">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E5105488-9511-49B5-9F91-2E31A796C863}" type="slidenum">
              <a:rPr lang="lv-LV" altLang="en-US">
                <a:latin typeface="Calibri" panose="020F0502020204030204" pitchFamily="34" charset="0"/>
              </a:rPr>
              <a:pPr rtl="0"/>
              <a:t>8</a:t>
            </a:fld>
            <a:endParaRPr lang="lv-LV" altLang="en-US">
              <a:latin typeface="Calibri" panose="020F0502020204030204" pitchFamily="34" charset="0"/>
            </a:endParaRPr>
          </a:p>
        </p:txBody>
      </p:sp>
    </p:spTree>
    <p:extLst>
      <p:ext uri="{BB962C8B-B14F-4D97-AF65-F5344CB8AC3E}">
        <p14:creationId xmlns:p14="http://schemas.microsoft.com/office/powerpoint/2010/main" val="2405633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marL="0" indent="0" algn="just" rtl="0">
              <a:buFontTx/>
              <a:buNone/>
            </a:pPr>
            <a:endParaRPr lang="lv-LV" altLang="lv-LV"/>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E5105488-9511-49B5-9F91-2E31A796C863}" type="slidenum">
              <a:rPr lang="lv-LV" altLang="en-US">
                <a:latin typeface="Calibri" panose="020F0502020204030204" pitchFamily="34" charset="0"/>
              </a:rPr>
              <a:pPr rtl="0"/>
              <a:t>9</a:t>
            </a:fld>
            <a:endParaRPr lang="lv-LV" altLang="en-US">
              <a:latin typeface="Calibri" panose="020F0502020204030204" pitchFamily="34" charset="0"/>
            </a:endParaRPr>
          </a:p>
        </p:txBody>
      </p:sp>
    </p:spTree>
    <p:extLst>
      <p:ext uri="{BB962C8B-B14F-4D97-AF65-F5344CB8AC3E}">
        <p14:creationId xmlns:p14="http://schemas.microsoft.com/office/powerpoint/2010/main" val="3557992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361199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338605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1614261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A63D08-C1EF-1209-D92A-F9340ECB7028}"/>
              </a:ext>
            </a:extLst>
          </p:cNvPr>
          <p:cNvGraphicFramePr>
            <a:graphicFrameLocks noChangeAspect="1"/>
          </p:cNvGraphicFramePr>
          <p:nvPr userDrawn="1">
            <p:custDataLst>
              <p:tags r:id="rId1"/>
            </p:custDataLst>
            <p:extLst>
              <p:ext uri="{D42A27DB-BD31-4B8C-83A1-F6EECF244321}">
                <p14:modId xmlns:p14="http://schemas.microsoft.com/office/powerpoint/2010/main" val="147428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EAA63D08-C1EF-1209-D92A-F9340ECB7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rtlCol="0"/>
          <a:lstStyle>
            <a:lvl1pPr>
              <a:defRPr/>
            </a:lvl1pPr>
          </a:lstStyle>
          <a:p>
            <a:pPr rtl="0"/>
            <a:r>
              <a:rPr lang="en-gb"/>
              <a:t>[Slide title]</a:t>
            </a:r>
          </a:p>
        </p:txBody>
      </p:sp>
      <p:sp>
        <p:nvSpPr>
          <p:cNvPr id="8" name="Slide Number Placeholder 7">
            <a:extLst>
              <a:ext uri="{FF2B5EF4-FFF2-40B4-BE49-F238E27FC236}">
                <a16:creationId xmlns:a16="http://schemas.microsoft.com/office/drawing/2014/main" id="{60EBCCBD-1A86-40AC-A00D-684E435E0A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3EC6AC87-B589-456E-9CA9-7CF796F27D61}" type="slidenum">
              <a:rPr lang="en-GB" smtClean="0"/>
              <a:pPr rtl="0"/>
              <a:t>‹#›</a:t>
            </a:fld>
            <a:endParaRPr lang="en-GB"/>
          </a:p>
        </p:txBody>
      </p:sp>
      <p:sp>
        <p:nvSpPr>
          <p:cNvPr id="5" name="Text Placeholder 4">
            <a:extLst>
              <a:ext uri="{FF2B5EF4-FFF2-40B4-BE49-F238E27FC236}">
                <a16:creationId xmlns:a16="http://schemas.microsoft.com/office/drawing/2014/main" id="{9A6E1836-B134-C7A2-6A2C-A5A30EA0AF47}"/>
              </a:ext>
            </a:extLst>
          </p:cNvPr>
          <p:cNvSpPr>
            <a:spLocks noGrp="1"/>
          </p:cNvSpPr>
          <p:nvPr>
            <p:ph type="body" sz="quarter" idx="13" hasCustomPrompt="1"/>
          </p:nvPr>
        </p:nvSpPr>
        <p:spPr>
          <a:xfrm>
            <a:off x="442913" y="6328730"/>
            <a:ext cx="7418387" cy="138113"/>
          </a:xfrm>
        </p:spPr>
        <p:txBody>
          <a:bodyPr rtlCol="0" anchor="b"/>
          <a:lstStyle>
            <a:lvl1pPr>
              <a:spcAft>
                <a:spcPts val="0"/>
              </a:spcAft>
              <a:defRPr sz="750" b="0">
                <a:solidFill>
                  <a:schemeClr val="tx1"/>
                </a:solidFill>
              </a:defRPr>
            </a:lvl1pPr>
          </a:lstStyle>
          <a:p>
            <a:pPr lvl="0" rtl="0"/>
            <a:r>
              <a:rPr lang="en-gb"/>
              <a:t>Footer</a:t>
            </a:r>
            <a:endParaRPr lang="pl-PL"/>
          </a:p>
        </p:txBody>
      </p:sp>
    </p:spTree>
    <p:extLst>
      <p:ext uri="{BB962C8B-B14F-4D97-AF65-F5344CB8AC3E}">
        <p14:creationId xmlns:p14="http://schemas.microsoft.com/office/powerpoint/2010/main" val="394942290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DF1E139-02A0-D3E0-47D5-064566FB3C6C}"/>
              </a:ext>
            </a:extLst>
          </p:cNvPr>
          <p:cNvGraphicFramePr>
            <a:graphicFrameLocks noChangeAspect="1"/>
          </p:cNvGraphicFramePr>
          <p:nvPr userDrawn="1">
            <p:custDataLst>
              <p:tags r:id="rId12"/>
            </p:custDataLst>
            <p:extLst>
              <p:ext uri="{D42A27DB-BD31-4B8C-83A1-F6EECF244321}">
                <p14:modId xmlns:p14="http://schemas.microsoft.com/office/powerpoint/2010/main" val="88829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6" progId="TCLayout.ActiveDocument.1">
                  <p:embed/>
                </p:oleObj>
              </mc:Choice>
              <mc:Fallback>
                <p:oleObj name="think-cell Slide" r:id="rId13" imgW="473" imgH="476" progId="TCLayout.ActiveDocument.1">
                  <p:embed/>
                  <p:pic>
                    <p:nvPicPr>
                      <p:cNvPr id="11" name="think-cell data - do not delete" hidden="1">
                        <a:extLst>
                          <a:ext uri="{FF2B5EF4-FFF2-40B4-BE49-F238E27FC236}">
                            <a16:creationId xmlns:a16="http://schemas.microsoft.com/office/drawing/2014/main" id="{BDF1E139-02A0-D3E0-47D5-064566FB3C6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rtl="0"/>
            <a:r>
              <a:rPr lang="en-gb"/>
              <a:t>Presentation Title</a:t>
            </a:r>
          </a:p>
        </p:txBody>
      </p:sp>
      <p:sp>
        <p:nvSpPr>
          <p:cNvPr id="7" name="Taisnstūris 6">
            <a:extLst>
              <a:ext uri="{FF2B5EF4-FFF2-40B4-BE49-F238E27FC236}">
                <a16:creationId xmlns:a16="http://schemas.microsoft.com/office/drawing/2014/main" id="{63E851BA-B8BB-2702-B86D-20AD460A0DF5}"/>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8" name="Taisnstūris 3">
            <a:extLst>
              <a:ext uri="{FF2B5EF4-FFF2-40B4-BE49-F238E27FC236}">
                <a16:creationId xmlns:a16="http://schemas.microsoft.com/office/drawing/2014/main" id="{50E95C0F-8774-A267-ABD5-C160A521BF21}"/>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9" name="Taisnstūris 4">
            <a:extLst>
              <a:ext uri="{FF2B5EF4-FFF2-40B4-BE49-F238E27FC236}">
                <a16:creationId xmlns:a16="http://schemas.microsoft.com/office/drawing/2014/main" id="{9810CCF4-4A0E-52CF-E13A-1455B3A5ABA6}"/>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0" name="Taisnstūris 7">
            <a:extLst>
              <a:ext uri="{FF2B5EF4-FFF2-40B4-BE49-F238E27FC236}">
                <a16:creationId xmlns:a16="http://schemas.microsoft.com/office/drawing/2014/main" id="{D4090F41-BFA7-8A67-74A6-EB2D7C953272}"/>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2" name="Taisnstūris 5">
            <a:extLst>
              <a:ext uri="{FF2B5EF4-FFF2-40B4-BE49-F238E27FC236}">
                <a16:creationId xmlns:a16="http://schemas.microsoft.com/office/drawing/2014/main" id="{B83CF65C-03A7-7EC9-5804-6400B083E93E}"/>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3" name="Rectangle 12">
            <a:extLst>
              <a:ext uri="{FF2B5EF4-FFF2-40B4-BE49-F238E27FC236}">
                <a16:creationId xmlns:a16="http://schemas.microsoft.com/office/drawing/2014/main" id="{3F428ECB-3D2A-3AEC-F360-70BE10E66E7F}"/>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86" r:id="rId6"/>
    <p:sldLayoutId id="2147483787" r:id="rId7"/>
    <p:sldLayoutId id="2147483788" r:id="rId8"/>
    <p:sldLayoutId id="2147483789" r:id="rId9"/>
    <p:sldLayoutId id="2147483790" r:id="rId10"/>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17.jpe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0.svg"/></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likumi.lv/ta/id/317006-par-valsts-civilas-aizsardzibas-planu"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14.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14.emf"/></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hyperlink" Target="https://likumi.lv/ta/id/255713-par-arkartejo-situaciju-un-iznemuma-stavokli" TargetMode="External"/><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hyperlink" Target="https://likumi.lv/ta/id/255713-par-arkartejo-situaciju-un-iznemuma-stavokli"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xml"/><Relationship Id="rId1" Type="http://schemas.openxmlformats.org/officeDocument/2006/relationships/tags" Target="../tags/tag10.xml"/><Relationship Id="rId5" Type="http://schemas.openxmlformats.org/officeDocument/2006/relationships/image" Target="../media/image14.emf"/><Relationship Id="rId4" Type="http://schemas.openxmlformats.org/officeDocument/2006/relationships/oleObject" Target="../embeddings/oleObject9.bin"/></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hyperlink" Target="https://likumi.lv/ta/id/58439-valsts-energetiskas-krizes-centra-nolikums" TargetMode="External"/><Relationship Id="rId3" Type="http://schemas.openxmlformats.org/officeDocument/2006/relationships/notesSlide" Target="../notesSlides/notesSlide6.xml"/><Relationship Id="rId7" Type="http://schemas.openxmlformats.org/officeDocument/2006/relationships/hyperlink" Target="https://www.nmpd.gov.lv/lv/media/769/download" TargetMode="Externa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hyperlink" Target="https://likumi.lv/ta/id/241413-katastrofu-medicinas-sistemas-organizesanas-noteikumi" TargetMode="External"/><Relationship Id="rId5" Type="http://schemas.openxmlformats.org/officeDocument/2006/relationships/image" Target="../media/image14.emf"/><Relationship Id="rId10" Type="http://schemas.openxmlformats.org/officeDocument/2006/relationships/hyperlink" Target="https://likumi.lv/ta/id/14011-nacionalas-drosibas-likums" TargetMode="External"/><Relationship Id="rId4" Type="http://schemas.openxmlformats.org/officeDocument/2006/relationships/oleObject" Target="../embeddings/oleObject4.bin"/><Relationship Id="rId9" Type="http://schemas.openxmlformats.org/officeDocument/2006/relationships/hyperlink" Target="https://likumi.lv/ta/id/49833-energetikas-likum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a:blip r:embed="rId3"/>
          <a:srcRect t="8277" b="827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2055102"/>
          </a:xfrm>
          <a:prstGeom prst="rect">
            <a:avLst/>
          </a:prstGeom>
          <a:solidFill>
            <a:srgbClr val="525A72"/>
          </a:solidFill>
        </p:spPr>
        <p:txBody>
          <a:bodyPr wrap="square" lIns="468000" tIns="108000" rIns="108000" bIns="108000" rtlCol="0" anchor="ctr">
            <a:noAutofit/>
          </a:bodyPr>
          <a:lstStyle/>
          <a:p>
            <a:pPr rtl="0">
              <a:lnSpc>
                <a:spcPct val="90000"/>
              </a:lnSpc>
            </a:pPr>
            <a:r>
              <a:rPr lang="en-gb" sz="4400" dirty="0">
                <a:solidFill>
                  <a:schemeClr val="bg1"/>
                </a:solidFill>
                <a:latin typeface="+mj-lt"/>
              </a:rPr>
              <a:t>2. </a:t>
            </a:r>
            <a:r>
              <a:rPr lang="lv-LV" sz="4400" dirty="0">
                <a:solidFill>
                  <a:schemeClr val="bg1"/>
                </a:solidFill>
                <a:latin typeface="+mj-lt"/>
              </a:rPr>
              <a:t>T</a:t>
            </a:r>
            <a:r>
              <a:rPr lang="en-US" sz="4400" dirty="0">
                <a:solidFill>
                  <a:schemeClr val="bg1"/>
                </a:solidFill>
                <a:latin typeface="+mj-lt"/>
              </a:rPr>
              <a:t>he </a:t>
            </a:r>
            <a:r>
              <a:rPr lang="lv-LV" sz="4400" dirty="0">
                <a:solidFill>
                  <a:schemeClr val="bg1"/>
                </a:solidFill>
                <a:latin typeface="+mj-lt"/>
              </a:rPr>
              <a:t>S</a:t>
            </a:r>
            <a:r>
              <a:rPr lang="en-US" sz="4400" dirty="0" err="1">
                <a:solidFill>
                  <a:schemeClr val="bg1"/>
                </a:solidFill>
                <a:latin typeface="+mj-lt"/>
              </a:rPr>
              <a:t>ystem</a:t>
            </a:r>
            <a:r>
              <a:rPr lang="lv-LV" sz="4400" dirty="0">
                <a:solidFill>
                  <a:schemeClr val="bg1"/>
                </a:solidFill>
                <a:latin typeface="+mj-lt"/>
              </a:rPr>
              <a:t> </a:t>
            </a:r>
            <a:r>
              <a:rPr lang="en-gb" sz="4400" dirty="0">
                <a:solidFill>
                  <a:schemeClr val="bg1"/>
                </a:solidFill>
                <a:latin typeface="+mj-lt"/>
              </a:rPr>
              <a:t>and </a:t>
            </a:r>
            <a:r>
              <a:rPr lang="lv-LV" sz="4400" dirty="0">
                <a:solidFill>
                  <a:schemeClr val="bg1"/>
                </a:solidFill>
                <a:latin typeface="+mj-lt"/>
              </a:rPr>
              <a:t>R</a:t>
            </a:r>
            <a:r>
              <a:rPr lang="en-gb" sz="4400" dirty="0" err="1">
                <a:solidFill>
                  <a:schemeClr val="bg1"/>
                </a:solidFill>
                <a:latin typeface="+mj-lt"/>
              </a:rPr>
              <a:t>egulatory</a:t>
            </a:r>
            <a:r>
              <a:rPr lang="en-gb" sz="4400" dirty="0">
                <a:solidFill>
                  <a:schemeClr val="bg1"/>
                </a:solidFill>
                <a:latin typeface="+mj-lt"/>
              </a:rPr>
              <a:t> and </a:t>
            </a:r>
            <a:r>
              <a:rPr lang="lv-LV" sz="4400" dirty="0">
                <a:solidFill>
                  <a:schemeClr val="bg1"/>
                </a:solidFill>
                <a:latin typeface="+mj-lt"/>
              </a:rPr>
              <a:t>P</a:t>
            </a:r>
            <a:r>
              <a:rPr lang="en-gb" sz="4400" dirty="0" err="1">
                <a:solidFill>
                  <a:schemeClr val="bg1"/>
                </a:solidFill>
                <a:latin typeface="+mj-lt"/>
              </a:rPr>
              <a:t>olicy</a:t>
            </a:r>
            <a:r>
              <a:rPr lang="en-gb" sz="4400" dirty="0">
                <a:solidFill>
                  <a:schemeClr val="bg1"/>
                </a:solidFill>
                <a:latin typeface="+mj-lt"/>
              </a:rPr>
              <a:t> </a:t>
            </a:r>
            <a:r>
              <a:rPr lang="lv-LV" sz="4400" dirty="0">
                <a:solidFill>
                  <a:schemeClr val="bg1"/>
                </a:solidFill>
                <a:latin typeface="+mj-lt"/>
              </a:rPr>
              <a:t>P</a:t>
            </a:r>
            <a:r>
              <a:rPr lang="en-gb" sz="4400" dirty="0" err="1">
                <a:solidFill>
                  <a:schemeClr val="bg1"/>
                </a:solidFill>
                <a:latin typeface="+mj-lt"/>
              </a:rPr>
              <a:t>lanning</a:t>
            </a:r>
            <a:r>
              <a:rPr lang="en-gb" sz="4400" dirty="0">
                <a:solidFill>
                  <a:schemeClr val="bg1"/>
                </a:solidFill>
                <a:latin typeface="+mj-lt"/>
              </a:rPr>
              <a:t> </a:t>
            </a:r>
            <a:r>
              <a:rPr lang="lv-LV" sz="4400" dirty="0">
                <a:solidFill>
                  <a:schemeClr val="bg1"/>
                </a:solidFill>
                <a:latin typeface="+mj-lt"/>
              </a:rPr>
              <a:t>F</a:t>
            </a:r>
            <a:r>
              <a:rPr lang="en-gb" sz="4400" dirty="0" err="1">
                <a:solidFill>
                  <a:schemeClr val="bg1"/>
                </a:solidFill>
                <a:latin typeface="+mj-lt"/>
              </a:rPr>
              <a:t>ramework</a:t>
            </a:r>
            <a:r>
              <a:rPr lang="lv-LV" sz="4400" dirty="0">
                <a:solidFill>
                  <a:schemeClr val="bg1"/>
                </a:solidFill>
                <a:latin typeface="+mj-lt"/>
              </a:rPr>
              <a:t> </a:t>
            </a:r>
            <a:r>
              <a:rPr lang="en-US" sz="4400" dirty="0">
                <a:solidFill>
                  <a:schemeClr val="bg1"/>
                </a:solidFill>
                <a:latin typeface="+mj-lt"/>
              </a:rPr>
              <a:t>of </a:t>
            </a:r>
            <a:r>
              <a:rPr lang="lv-LV" sz="4400" dirty="0">
                <a:solidFill>
                  <a:schemeClr val="bg1"/>
                </a:solidFill>
                <a:latin typeface="+mj-lt"/>
              </a:rPr>
              <a:t>C</a:t>
            </a:r>
            <a:r>
              <a:rPr lang="en-US" sz="4400" dirty="0" err="1">
                <a:solidFill>
                  <a:schemeClr val="bg1"/>
                </a:solidFill>
                <a:latin typeface="+mj-lt"/>
              </a:rPr>
              <a:t>ivil</a:t>
            </a:r>
            <a:r>
              <a:rPr lang="en-US" sz="4400" dirty="0">
                <a:solidFill>
                  <a:schemeClr val="bg1"/>
                </a:solidFill>
                <a:latin typeface="+mj-lt"/>
              </a:rPr>
              <a:t> </a:t>
            </a:r>
            <a:r>
              <a:rPr lang="lv-LV" sz="4400" dirty="0">
                <a:solidFill>
                  <a:schemeClr val="bg1"/>
                </a:solidFill>
                <a:latin typeface="+mj-lt"/>
              </a:rPr>
              <a:t>P</a:t>
            </a:r>
            <a:r>
              <a:rPr lang="en-US" sz="4400" dirty="0" err="1">
                <a:solidFill>
                  <a:schemeClr val="bg1"/>
                </a:solidFill>
                <a:latin typeface="+mj-lt"/>
              </a:rPr>
              <a:t>rotection</a:t>
            </a:r>
            <a:r>
              <a:rPr lang="en-US" sz="4400" dirty="0">
                <a:solidFill>
                  <a:schemeClr val="bg1"/>
                </a:solidFill>
                <a:latin typeface="+mj-lt"/>
              </a:rPr>
              <a:t> </a:t>
            </a:r>
            <a:endParaRPr lang="en-gb" sz="4400" dirty="0">
              <a:solidFill>
                <a:schemeClr val="bg1"/>
              </a:solidFill>
              <a:latin typeface="+mj-lt"/>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rtlCol="0">
            <a:spAutoFit/>
          </a:bodyPr>
          <a:lstStyle/>
          <a:p>
            <a:pPr rtl="0"/>
            <a:r>
              <a:rPr lang="en-gb" sz="1400" b="0" i="0" dirty="0">
                <a:solidFill>
                  <a:schemeClr val="bg1"/>
                </a:solidFill>
                <a:effectLst/>
                <a:latin typeface="+mj-lt"/>
              </a:rPr>
              <a:t>Developed in the framework of the European Commission</a:t>
            </a:r>
            <a:r>
              <a:rPr lang="lv-LV" sz="1400" b="0" i="0" dirty="0">
                <a:solidFill>
                  <a:schemeClr val="bg1"/>
                </a:solidFill>
                <a:effectLst/>
                <a:latin typeface="+mj-lt"/>
              </a:rPr>
              <a:t>’s</a:t>
            </a:r>
            <a:r>
              <a:rPr lang="en-gb" sz="1400" b="0" i="0" dirty="0">
                <a:solidFill>
                  <a:schemeClr val="bg1"/>
                </a:solidFill>
                <a:effectLst/>
                <a:latin typeface="+mj-lt"/>
              </a:rPr>
              <a:t> Civil Protection Financial Instrument "Track1" project "</a:t>
            </a:r>
            <a:r>
              <a:rPr lang="en-US" sz="1400" b="0" i="0" dirty="0">
                <a:solidFill>
                  <a:schemeClr val="bg1"/>
                </a:solidFill>
                <a:effectLst/>
                <a:latin typeface="+mj-lt"/>
              </a:rPr>
              <a:t>Establishment of comprehensive civil protection and disaster management training for governmental institutions, civil protection commissions of municipalities, universities, Fire Safety and Civil Protection College, as well as establishing safety advice for the public</a:t>
            </a:r>
            <a:r>
              <a:rPr lang="en-gb" sz="1400" b="0" i="0" dirty="0">
                <a:solidFill>
                  <a:schemeClr val="bg1"/>
                </a:solidFill>
                <a:effectLst/>
                <a:latin typeface="+mj-lt"/>
              </a:rPr>
              <a:t>" (ECHO/SUB/2022/TRACK1/884396)</a:t>
            </a:r>
            <a:endParaRPr lang="lv-LV" sz="1400" dirty="0">
              <a:solidFill>
                <a:schemeClr val="bg1"/>
              </a:solidFill>
              <a:latin typeface="+mj-lt"/>
            </a:endParaRPr>
          </a:p>
        </p:txBody>
      </p:sp>
      <p:sp>
        <p:nvSpPr>
          <p:cNvPr id="9" name="TextBox 8">
            <a:extLst>
              <a:ext uri="{FF2B5EF4-FFF2-40B4-BE49-F238E27FC236}">
                <a16:creationId xmlns:a16="http://schemas.microsoft.com/office/drawing/2014/main" id="{BD7EB4A5-E45C-47EC-09CF-8C999B13144C}"/>
              </a:ext>
            </a:extLst>
          </p:cNvPr>
          <p:cNvSpPr txBox="1"/>
          <p:nvPr/>
        </p:nvSpPr>
        <p:spPr>
          <a:xfrm>
            <a:off x="0" y="435446"/>
            <a:ext cx="5334000" cy="422405"/>
          </a:xfrm>
          <a:prstGeom prst="rect">
            <a:avLst/>
          </a:prstGeom>
          <a:solidFill>
            <a:srgbClr val="CFD6E8"/>
          </a:solidFill>
        </p:spPr>
        <p:txBody>
          <a:bodyPr wrap="square" lIns="468000" tIns="72000" rIns="72000" bIns="72000" rtlCol="0">
            <a:spAutoFit/>
          </a:bodyPr>
          <a:lstStyle/>
          <a:p>
            <a:pPr rtl="0"/>
            <a:r>
              <a:rPr lang="en-gb">
                <a:latin typeface="+mj-lt"/>
              </a:rPr>
              <a:t>Study course "Civil Protection"</a:t>
            </a:r>
            <a:endParaRPr lang="en-GB"/>
          </a:p>
        </p:txBody>
      </p:sp>
      <p:sp>
        <p:nvSpPr>
          <p:cNvPr id="19" name="Rectangle 18">
            <a:extLst>
              <a:ext uri="{FF2B5EF4-FFF2-40B4-BE49-F238E27FC236}">
                <a16:creationId xmlns:a16="http://schemas.microsoft.com/office/drawing/2014/main" id="{31360893-6094-04D4-3781-0EAD58A1B608}"/>
              </a:ext>
            </a:extLst>
          </p:cNvPr>
          <p:cNvSpPr/>
          <p:nvPr/>
        </p:nvSpPr>
        <p:spPr>
          <a:xfrm>
            <a:off x="0" y="4961914"/>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410575" y="194992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2" name="Group 1">
            <a:extLst>
              <a:ext uri="{FF2B5EF4-FFF2-40B4-BE49-F238E27FC236}">
                <a16:creationId xmlns:a16="http://schemas.microsoft.com/office/drawing/2014/main" id="{18F51E1E-786C-3B78-A47D-5D8BCBA2D145}"/>
              </a:ext>
            </a:extLst>
          </p:cNvPr>
          <p:cNvGrpSpPr/>
          <p:nvPr/>
        </p:nvGrpSpPr>
        <p:grpSpPr>
          <a:xfrm>
            <a:off x="302642" y="4916770"/>
            <a:ext cx="1565910" cy="1805305"/>
            <a:chOff x="0" y="0"/>
            <a:chExt cx="1565910" cy="1805556"/>
          </a:xfrm>
        </p:grpSpPr>
        <p:pic>
          <p:nvPicPr>
            <p:cNvPr id="10" name="Picture 9"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4"/>
            <a:stretch>
              <a:fillRect/>
            </a:stretch>
          </p:blipFill>
          <p:spPr>
            <a:xfrm>
              <a:off x="0" y="0"/>
              <a:ext cx="1565910" cy="1586865"/>
            </a:xfrm>
            <a:prstGeom prst="rect">
              <a:avLst/>
            </a:prstGeom>
          </p:spPr>
        </p:pic>
        <p:sp>
          <p:nvSpPr>
            <p:cNvPr id="18" name="Text Box 2">
              <a:extLst>
                <a:ext uri="{FF2B5EF4-FFF2-40B4-BE49-F238E27FC236}">
                  <a16:creationId xmlns:a16="http://schemas.microsoft.com/office/drawing/2014/main" id="{0F81DB05-A028-3DDF-3FCB-0CA6BDF56B0D}"/>
                </a:ext>
              </a:extLst>
            </p:cNvPr>
            <p:cNvSpPr txBox="1">
              <a:spLocks noChangeArrowheads="1"/>
            </p:cNvSpPr>
            <p:nvPr/>
          </p:nvSpPr>
          <p:spPr bwMode="auto">
            <a:xfrm>
              <a:off x="14515" y="1052286"/>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dirty="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21" name="Group 20">
            <a:extLst>
              <a:ext uri="{FF2B5EF4-FFF2-40B4-BE49-F238E27FC236}">
                <a16:creationId xmlns:a16="http://schemas.microsoft.com/office/drawing/2014/main" id="{96391A0D-C6BC-D7FA-04A9-DE8D105465D5}"/>
              </a:ext>
            </a:extLst>
          </p:cNvPr>
          <p:cNvGrpSpPr/>
          <p:nvPr/>
        </p:nvGrpSpPr>
        <p:grpSpPr>
          <a:xfrm>
            <a:off x="2158314" y="5185164"/>
            <a:ext cx="1570991" cy="1356995"/>
            <a:chOff x="0" y="0"/>
            <a:chExt cx="1571080" cy="1357086"/>
          </a:xfrm>
        </p:grpSpPr>
        <p:pic>
          <p:nvPicPr>
            <p:cNvPr id="23" name="Picture 22"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6000"/>
                </a:lnSpc>
                <a:spcAft>
                  <a:spcPts val="800"/>
                </a:spcAft>
              </a:pPr>
              <a:r>
                <a:rPr lang="en-GB" sz="1100" b="1" kern="100" dirty="0">
                  <a:solidFill>
                    <a:srgbClr val="000000"/>
                  </a:solidFill>
                  <a:effectLst/>
                  <a:ea typeface="Arial Narrow" panose="020B0606020202030204" pitchFamily="34" charset="0"/>
                  <a:cs typeface="Arial" panose="020B0604020202020204" pitchFamily="34" charset="0"/>
                </a:rPr>
                <a:t>State Fire and Rescue Service</a:t>
              </a:r>
              <a:endParaRPr lang="en-US" sz="1100" kern="100" dirty="0">
                <a:effectLst/>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8433502C-E95C-B6B5-2437-C9AAD24998E4}"/>
              </a:ext>
            </a:extLst>
          </p:cNvPr>
          <p:cNvCxnSpPr>
            <a:cxnSpLocks/>
            <a:stCxn id="28" idx="3"/>
          </p:cNvCxnSpPr>
          <p:nvPr/>
        </p:nvCxnSpPr>
        <p:spPr>
          <a:xfrm>
            <a:off x="5294275" y="3995738"/>
            <a:ext cx="1617065" cy="0"/>
          </a:xfrm>
          <a:prstGeom prst="line">
            <a:avLst/>
          </a:prstGeom>
          <a:ln w="38100" cap="sq">
            <a:solidFill>
              <a:srgbClr val="A4A3B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rtlCol="0">
            <a:normAutofit/>
          </a:bodyPr>
          <a:lstStyle/>
          <a:p>
            <a:pPr rtl="0"/>
            <a:r>
              <a:rPr lang="en-gb" dirty="0"/>
              <a:t>Explanation of the </a:t>
            </a:r>
            <a:r>
              <a:rPr lang="lv-LV" dirty="0"/>
              <a:t>S</a:t>
            </a:r>
            <a:r>
              <a:rPr lang="en-gb" dirty="0" err="1"/>
              <a:t>ubordination</a:t>
            </a:r>
            <a:r>
              <a:rPr lang="en-gb" dirty="0"/>
              <a:t> </a:t>
            </a:r>
            <a:r>
              <a:rPr lang="lv-LV" dirty="0"/>
              <a:t>S</a:t>
            </a:r>
            <a:r>
              <a:rPr lang="en-gb" dirty="0" err="1"/>
              <a:t>ystem</a:t>
            </a:r>
            <a:r>
              <a:rPr lang="en-gb" dirty="0"/>
              <a:t> for </a:t>
            </a:r>
            <a:r>
              <a:rPr lang="lv-LV" dirty="0"/>
              <a:t>C</a:t>
            </a:r>
            <a:r>
              <a:rPr lang="en-gb" dirty="0" err="1"/>
              <a:t>ivil</a:t>
            </a:r>
            <a:r>
              <a:rPr lang="en-gb" dirty="0"/>
              <a:t> </a:t>
            </a:r>
            <a:r>
              <a:rPr lang="lv-LV" dirty="0"/>
              <a:t>P</a:t>
            </a:r>
            <a:r>
              <a:rPr lang="en-gb" dirty="0" err="1"/>
              <a:t>rotection</a:t>
            </a:r>
            <a:r>
              <a:rPr lang="en-gb" dirty="0"/>
              <a:t> </a:t>
            </a:r>
            <a:r>
              <a:rPr lang="lv-LV" dirty="0"/>
              <a:t>L</a:t>
            </a:r>
            <a:r>
              <a:rPr lang="en-gb" dirty="0" err="1"/>
              <a:t>egislation</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D62C999B-8A19-4CBE-B8CE-8064C986E16F}" type="slidenum">
              <a:rPr lang="lv-LV" altLang="en-US"/>
              <a:pPr rtl="0"/>
              <a:t>10</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Constitution</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International law</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919719"/>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Laws</a:t>
            </a:r>
          </a:p>
        </p:txBody>
      </p:sp>
      <p:sp>
        <p:nvSpPr>
          <p:cNvPr id="20" name="Rectangle 19">
            <a:extLst>
              <a:ext uri="{FF2B5EF4-FFF2-40B4-BE49-F238E27FC236}">
                <a16:creationId xmlns:a16="http://schemas.microsoft.com/office/drawing/2014/main" id="{83FBD7EB-47E2-E2C9-A0E2-1AF68270CE5A}"/>
              </a:ext>
            </a:extLst>
          </p:cNvPr>
          <p:cNvSpPr/>
          <p:nvPr/>
        </p:nvSpPr>
        <p:spPr>
          <a:xfrm>
            <a:off x="9466719" y="4602338"/>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Cabinet Regulations</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Municipal binding rules</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625091"/>
            <a:ext cx="4779364" cy="3547110"/>
          </a:xfrm>
          <a:prstGeom prst="rect">
            <a:avLst/>
          </a:prstGeom>
          <a:solidFill>
            <a:schemeClr val="bg1">
              <a:lumMod val="95000"/>
            </a:schemeClr>
          </a:solidFill>
        </p:spPr>
        <p:txBody>
          <a:bodyPr wrap="square" lIns="72000" tIns="72000" rIns="144000" bIns="0" numCol="2" rtlCol="0" anchor="t">
            <a:noAutofit/>
          </a:bodyPr>
          <a:lstStyle/>
          <a:p>
            <a:pPr marL="285750" indent="-285750" rtl="0">
              <a:lnSpc>
                <a:spcPct val="100000"/>
              </a:lnSpc>
              <a:spcAft>
                <a:spcPts val="300"/>
              </a:spcAft>
              <a:buSzPct val="100000"/>
              <a:buBlip>
                <a:blip r:embed="rId3"/>
              </a:buBlip>
            </a:pPr>
            <a:r>
              <a:rPr lang="lv-LV" sz="1400" err="1">
                <a:cs typeface="Times New Roman"/>
              </a:rPr>
              <a:t>On</a:t>
            </a:r>
            <a:r>
              <a:rPr lang="lv-LV" sz="1400">
                <a:cs typeface="Times New Roman"/>
              </a:rPr>
              <a:t> </a:t>
            </a:r>
            <a:r>
              <a:rPr lang="lv-LV" sz="1400" err="1">
                <a:cs typeface="Times New Roman"/>
              </a:rPr>
              <a:t>State</a:t>
            </a:r>
            <a:r>
              <a:rPr lang="lv-LV" sz="1400">
                <a:cs typeface="Times New Roman"/>
              </a:rPr>
              <a:t> </a:t>
            </a:r>
            <a:r>
              <a:rPr lang="en-gb" sz="1400">
                <a:cs typeface="Times New Roman"/>
              </a:rPr>
              <a:t>Civil Protection Plan</a:t>
            </a:r>
            <a:r>
              <a:rPr lang="lv-LV" sz="1400">
                <a:cs typeface="Times New Roman"/>
              </a:rPr>
              <a:t> </a:t>
            </a:r>
          </a:p>
          <a:p>
            <a:pPr marL="284400" rtl="0">
              <a:lnSpc>
                <a:spcPct val="100000"/>
              </a:lnSpc>
              <a:spcAft>
                <a:spcPts val="300"/>
              </a:spcAft>
              <a:buSzPct val="100000"/>
            </a:pPr>
            <a:r>
              <a:rPr lang="lv-LV" sz="1200">
                <a:cs typeface="Times New Roman"/>
              </a:rPr>
              <a:t>(</a:t>
            </a:r>
            <a:r>
              <a:rPr lang="lv-LV" sz="1200" i="1">
                <a:cs typeface="Times New Roman"/>
              </a:rPr>
              <a:t>"Par Valsts civilās aizsardzības plānu"</a:t>
            </a:r>
            <a:r>
              <a:rPr lang="lv-LV" sz="1200">
                <a:cs typeface="Times New Roman"/>
              </a:rPr>
              <a:t>)</a:t>
            </a:r>
            <a:r>
              <a:rPr lang="en-gb" sz="1400" i="1">
                <a:cs typeface="Times New Roman"/>
              </a:rPr>
              <a:t> </a:t>
            </a:r>
            <a:endParaRPr lang="lv-LV" sz="1400" i="1">
              <a:cs typeface="Times New Roman"/>
            </a:endParaRPr>
          </a:p>
          <a:p>
            <a:pPr marL="284400" rtl="0">
              <a:lnSpc>
                <a:spcPct val="100000"/>
              </a:lnSpc>
              <a:spcAft>
                <a:spcPts val="300"/>
              </a:spcAft>
              <a:buSzPct val="100000"/>
            </a:pPr>
            <a:r>
              <a:rPr lang="en-gb" sz="1400">
                <a:solidFill>
                  <a:srgbClr val="525A72"/>
                </a:solidFill>
                <a:cs typeface="Times New Roman"/>
              </a:rPr>
              <a:t>(more in section 3.4)</a:t>
            </a:r>
          </a:p>
          <a:p>
            <a:pPr marL="285750" indent="-285750" rtl="0">
              <a:lnSpc>
                <a:spcPct val="100000"/>
              </a:lnSpc>
              <a:spcAft>
                <a:spcPts val="300"/>
              </a:spcAft>
              <a:buSzPct val="100000"/>
              <a:buBlip>
                <a:blip r:embed="rId3"/>
              </a:buBlip>
            </a:pPr>
            <a:r>
              <a:rPr lang="en-GB" sz="1400">
                <a:cs typeface="Times New Roman"/>
              </a:rPr>
              <a:t>National Security Law</a:t>
            </a:r>
            <a:endParaRPr lang="lv-LV" sz="1400">
              <a:cs typeface="Times New Roman"/>
            </a:endParaRPr>
          </a:p>
          <a:p>
            <a:pPr marL="285750" indent="-285750" rtl="0">
              <a:lnSpc>
                <a:spcPct val="100000"/>
              </a:lnSpc>
              <a:spcAft>
                <a:spcPts val="300"/>
              </a:spcAft>
              <a:buSzPct val="100000"/>
              <a:buBlip>
                <a:blip r:embed="rId3"/>
              </a:buBlip>
            </a:pPr>
            <a:r>
              <a:rPr lang="en-US" sz="1400">
                <a:cs typeface="Times New Roman"/>
              </a:rPr>
              <a:t>On Emergency Situation and State of Exception</a:t>
            </a:r>
            <a:endParaRPr lang="lv-LV" sz="1400">
              <a:cs typeface="Times New Roman"/>
            </a:endParaRPr>
          </a:p>
          <a:p>
            <a:pPr marL="285750" indent="-285750" rtl="0">
              <a:lnSpc>
                <a:spcPct val="100000"/>
              </a:lnSpc>
              <a:spcAft>
                <a:spcPts val="300"/>
              </a:spcAft>
              <a:buSzPct val="100000"/>
              <a:buBlip>
                <a:blip r:embed="rId3"/>
              </a:buBlip>
            </a:pPr>
            <a:r>
              <a:rPr lang="en-US" sz="1400">
                <a:cs typeface="Times New Roman"/>
              </a:rPr>
              <a:t>Law on the State Material Reserves</a:t>
            </a:r>
            <a:endParaRPr lang="en-gb" sz="1400">
              <a:cs typeface="Times New Roman"/>
            </a:endParaRPr>
          </a:p>
          <a:p>
            <a:pPr marL="285750" indent="-285750" rtl="0">
              <a:lnSpc>
                <a:spcPct val="100000"/>
              </a:lnSpc>
              <a:spcAft>
                <a:spcPts val="300"/>
              </a:spcAft>
              <a:buSzPct val="100000"/>
              <a:buBlip>
                <a:blip r:embed="rId3"/>
              </a:buBlip>
            </a:pPr>
            <a:r>
              <a:rPr lang="en-GB" sz="1400">
                <a:cs typeface="Times New Roman"/>
              </a:rPr>
              <a:t>Chemical Substances Law</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On Pollution</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Energy Law</a:t>
            </a:r>
            <a:endParaRPr lang="lv-LV" sz="1400">
              <a:cs typeface="Times New Roman"/>
            </a:endParaRPr>
          </a:p>
          <a:p>
            <a:pPr marL="285750" indent="-285750" rtl="0">
              <a:lnSpc>
                <a:spcPct val="100000"/>
              </a:lnSpc>
              <a:spcAft>
                <a:spcPts val="300"/>
              </a:spcAft>
              <a:buSzPct val="100000"/>
              <a:buBlip>
                <a:blip r:embed="rId3"/>
              </a:buBlip>
            </a:pPr>
            <a:r>
              <a:rPr lang="en-US" sz="1400">
                <a:cs typeface="Times New Roman"/>
              </a:rPr>
              <a:t>Law on Radiation Safety and Nuclear Safety</a:t>
            </a:r>
            <a:endParaRPr lang="lv-LV" sz="1400">
              <a:cs typeface="Times New Roman"/>
            </a:endParaRPr>
          </a:p>
          <a:p>
            <a:pPr marL="285750" indent="-285750" rtl="0">
              <a:lnSpc>
                <a:spcPct val="100000"/>
              </a:lnSpc>
              <a:spcAft>
                <a:spcPts val="300"/>
              </a:spcAft>
              <a:buSzPct val="100000"/>
              <a:buBlip>
                <a:blip r:embed="rId3"/>
              </a:buBlip>
            </a:pPr>
            <a:r>
              <a:rPr lang="en-US" sz="1400">
                <a:cs typeface="Times New Roman"/>
              </a:rPr>
              <a:t>Law on the Movement of Dangerous Goods</a:t>
            </a:r>
            <a:endParaRPr lang="lv-LV" sz="1400">
              <a:cs typeface="Times New Roman"/>
            </a:endParaRPr>
          </a:p>
          <a:p>
            <a:pPr marL="285750" indent="-285750" rtl="0">
              <a:lnSpc>
                <a:spcPct val="100000"/>
              </a:lnSpc>
              <a:spcAft>
                <a:spcPts val="300"/>
              </a:spcAft>
              <a:buSzPct val="100000"/>
              <a:buBlip>
                <a:blip r:embed="rId3"/>
              </a:buBlip>
            </a:pPr>
            <a:r>
              <a:rPr lang="en-US" sz="1400">
                <a:cs typeface="Times New Roman"/>
              </a:rPr>
              <a:t>Fire Safety and Fire-fighting Law</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Law on International Assistance</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Medical Treatment Law</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Epidemiological Safety Law</a:t>
            </a:r>
            <a:endParaRPr lang="lv-LV" sz="1400">
              <a:cs typeface="Times New Roman"/>
            </a:endParaRPr>
          </a:p>
          <a:p>
            <a:pPr marL="285750" indent="-285750" rtl="0">
              <a:lnSpc>
                <a:spcPct val="100000"/>
              </a:lnSpc>
              <a:spcAft>
                <a:spcPts val="300"/>
              </a:spcAft>
              <a:buSzPct val="100000"/>
              <a:buBlip>
                <a:blip r:embed="rId3"/>
              </a:buBlip>
            </a:pPr>
            <a:r>
              <a:rPr lang="en-gb" sz="1400">
                <a:cs typeface="Times New Roman"/>
              </a:rPr>
              <a:t>etc.</a:t>
            </a:r>
            <a:endParaRPr lang="lv-LV" sz="1400" b="1"/>
          </a:p>
        </p:txBody>
      </p:sp>
      <p:sp>
        <p:nvSpPr>
          <p:cNvPr id="45" name="Google Shape;1984;p97">
            <a:extLst>
              <a:ext uri="{FF2B5EF4-FFF2-40B4-BE49-F238E27FC236}">
                <a16:creationId xmlns:a16="http://schemas.microsoft.com/office/drawing/2014/main" id="{2041981A-11A6-9BA7-331A-38669E547A49}"/>
              </a:ext>
            </a:extLst>
          </p:cNvPr>
          <p:cNvSpPr/>
          <p:nvPr/>
        </p:nvSpPr>
        <p:spPr>
          <a:xfrm>
            <a:off x="4437884" y="563995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2" name="Satura vietturis 2">
            <a:extLst>
              <a:ext uri="{FF2B5EF4-FFF2-40B4-BE49-F238E27FC236}">
                <a16:creationId xmlns:a16="http://schemas.microsoft.com/office/drawing/2014/main" id="{99EBE929-5086-509F-AD07-D08D5C033061}"/>
              </a:ext>
            </a:extLst>
          </p:cNvPr>
          <p:cNvSpPr txBox="1">
            <a:spLocks/>
          </p:cNvSpPr>
          <p:nvPr/>
        </p:nvSpPr>
        <p:spPr>
          <a:xfrm>
            <a:off x="444873" y="2347595"/>
            <a:ext cx="4777402" cy="284163"/>
          </a:xfrm>
          <a:prstGeom prst="rect">
            <a:avLst/>
          </a:prstGeom>
          <a:solidFill>
            <a:srgbClr val="A8192D"/>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400">
                <a:solidFill>
                  <a:schemeClr val="bg1"/>
                </a:solidFill>
              </a:rPr>
              <a:t>Other examples of binding laws:</a:t>
            </a:r>
          </a:p>
        </p:txBody>
      </p:sp>
      <p:sp>
        <p:nvSpPr>
          <p:cNvPr id="3" name="Rectangle 2">
            <a:extLst>
              <a:ext uri="{FF2B5EF4-FFF2-40B4-BE49-F238E27FC236}">
                <a16:creationId xmlns:a16="http://schemas.microsoft.com/office/drawing/2014/main" id="{38E74F9D-F723-F56C-6D65-A1BC0F730074}"/>
              </a:ext>
            </a:extLst>
          </p:cNvPr>
          <p:cNvSpPr/>
          <p:nvPr/>
        </p:nvSpPr>
        <p:spPr>
          <a:xfrm>
            <a:off x="442911" y="2347596"/>
            <a:ext cx="72000" cy="284163"/>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 name="TextBox 4">
            <a:extLst>
              <a:ext uri="{FF2B5EF4-FFF2-40B4-BE49-F238E27FC236}">
                <a16:creationId xmlns:a16="http://schemas.microsoft.com/office/drawing/2014/main" id="{F2A86895-E746-0EF0-DFA0-62FD03AC488C}"/>
              </a:ext>
            </a:extLst>
          </p:cNvPr>
          <p:cNvSpPr txBox="1"/>
          <p:nvPr/>
        </p:nvSpPr>
        <p:spPr>
          <a:xfrm>
            <a:off x="442912" y="1829572"/>
            <a:ext cx="4851363" cy="483421"/>
          </a:xfrm>
          <a:prstGeom prst="rect">
            <a:avLst/>
          </a:prstGeom>
          <a:solidFill>
            <a:schemeClr val="bg1">
              <a:lumMod val="95000"/>
            </a:schemeClr>
          </a:solidFill>
        </p:spPr>
        <p:txBody>
          <a:bodyPr wrap="square" lIns="72000" tIns="72000" rIns="144000" bIns="0" rtlCol="0" anchor="ctr">
            <a:noAutofit/>
          </a:bodyPr>
          <a:lstStyle/>
          <a:p>
            <a:pPr marL="285750" indent="-285750" rtl="0">
              <a:lnSpc>
                <a:spcPct val="100000"/>
              </a:lnSpc>
              <a:spcAft>
                <a:spcPts val="300"/>
              </a:spcAft>
              <a:buSzPct val="100000"/>
              <a:buBlip>
                <a:blip r:embed="rId3"/>
              </a:buBlip>
            </a:pPr>
            <a:r>
              <a:rPr lang="en-US" sz="1400">
                <a:cs typeface="Times New Roman"/>
              </a:rPr>
              <a:t>Civil Protection and Disaster Management Law</a:t>
            </a:r>
            <a:endParaRPr lang="en-gb" sz="1400">
              <a:cs typeface="Times New Roman"/>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222275" y="1819275"/>
            <a:ext cx="72000" cy="4352925"/>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Rectangle 29">
            <a:extLst>
              <a:ext uri="{FF2B5EF4-FFF2-40B4-BE49-F238E27FC236}">
                <a16:creationId xmlns:a16="http://schemas.microsoft.com/office/drawing/2014/main" id="{93782E13-1C3D-8DE3-938D-556CFF0F20BA}"/>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6" name="Group 5">
            <a:extLst>
              <a:ext uri="{FF2B5EF4-FFF2-40B4-BE49-F238E27FC236}">
                <a16:creationId xmlns:a16="http://schemas.microsoft.com/office/drawing/2014/main" id="{DDDE3D41-5327-5565-14EB-5F2EE4FD335E}"/>
              </a:ext>
            </a:extLst>
          </p:cNvPr>
          <p:cNvGrpSpPr/>
          <p:nvPr/>
        </p:nvGrpSpPr>
        <p:grpSpPr>
          <a:xfrm>
            <a:off x="6635744" y="132067"/>
            <a:ext cx="5113344" cy="217488"/>
            <a:chOff x="6393917" y="132067"/>
            <a:chExt cx="5113344" cy="217488"/>
          </a:xfrm>
        </p:grpSpPr>
        <p:sp>
          <p:nvSpPr>
            <p:cNvPr id="31" name="Rectangle 30">
              <a:extLst>
                <a:ext uri="{FF2B5EF4-FFF2-40B4-BE49-F238E27FC236}">
                  <a16:creationId xmlns:a16="http://schemas.microsoft.com/office/drawing/2014/main" id="{2111FA30-164B-FE76-14B9-BA5382405179}"/>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p>
          </p:txBody>
        </p:sp>
        <p:sp>
          <p:nvSpPr>
            <p:cNvPr id="32" name="Rectangle 31">
              <a:extLst>
                <a:ext uri="{FF2B5EF4-FFF2-40B4-BE49-F238E27FC236}">
                  <a16:creationId xmlns:a16="http://schemas.microsoft.com/office/drawing/2014/main" id="{E3F9BB97-E3D2-1B4C-89A5-641C04A74520}"/>
                </a:ext>
              </a:extLst>
            </p:cNvPr>
            <p:cNvSpPr/>
            <p:nvPr/>
          </p:nvSpPr>
          <p:spPr>
            <a:xfrm>
              <a:off x="6635744"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2</a:t>
              </a:r>
            </a:p>
          </p:txBody>
        </p:sp>
        <p:sp>
          <p:nvSpPr>
            <p:cNvPr id="33" name="Rectangle 32">
              <a:extLst>
                <a:ext uri="{FF2B5EF4-FFF2-40B4-BE49-F238E27FC236}">
                  <a16:creationId xmlns:a16="http://schemas.microsoft.com/office/drawing/2014/main" id="{6C7BF1DF-DB3B-2BAA-3A30-35D4D578CAA6}"/>
                </a:ext>
              </a:extLst>
            </p:cNvPr>
            <p:cNvSpPr/>
            <p:nvPr/>
          </p:nvSpPr>
          <p:spPr>
            <a:xfrm>
              <a:off x="6877571" y="132067"/>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cs typeface="Arial"/>
                </a:rPr>
                <a:t>The Legal Framework for Ensuring the Operation of</a:t>
              </a:r>
              <a:endParaRPr lang="lv-LV" sz="800" b="1" dirty="0">
                <a:cs typeface="Arial"/>
              </a:endParaRPr>
            </a:p>
            <a:p>
              <a:pPr algn="ctr" rtl="0">
                <a:spcAft>
                  <a:spcPts val="600"/>
                </a:spcAft>
              </a:pPr>
              <a:r>
                <a:rPr lang="en-US" sz="800" b="1" dirty="0">
                  <a:cs typeface="Arial"/>
                </a:rPr>
                <a:t>the System of Civil Protection </a:t>
              </a:r>
            </a:p>
          </p:txBody>
        </p:sp>
        <p:sp>
          <p:nvSpPr>
            <p:cNvPr id="34" name="Rectangle 33">
              <a:extLst>
                <a:ext uri="{FF2B5EF4-FFF2-40B4-BE49-F238E27FC236}">
                  <a16:creationId xmlns:a16="http://schemas.microsoft.com/office/drawing/2014/main" id="{769EC9E8-353E-2160-A493-0D8A7849E621}"/>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p>
          </p:txBody>
        </p:sp>
        <p:sp>
          <p:nvSpPr>
            <p:cNvPr id="35" name="Rectangle 34">
              <a:extLst>
                <a:ext uri="{FF2B5EF4-FFF2-40B4-BE49-F238E27FC236}">
                  <a16:creationId xmlns:a16="http://schemas.microsoft.com/office/drawing/2014/main" id="{0A114792-63DF-5518-A7AC-70F1A8D9E554}"/>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p>
          </p:txBody>
        </p:sp>
        <p:sp>
          <p:nvSpPr>
            <p:cNvPr id="36" name="Rectangle 35">
              <a:extLst>
                <a:ext uri="{FF2B5EF4-FFF2-40B4-BE49-F238E27FC236}">
                  <a16:creationId xmlns:a16="http://schemas.microsoft.com/office/drawing/2014/main" id="{A370DE2C-E7D1-50C2-F3BB-4AE9C450B8FC}"/>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2785126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atura vietturis 2">
            <a:extLst>
              <a:ext uri="{FF2B5EF4-FFF2-40B4-BE49-F238E27FC236}">
                <a16:creationId xmlns:a16="http://schemas.microsoft.com/office/drawing/2014/main" id="{27F43C28-AECB-FD5D-4993-0D32C4976748}"/>
              </a:ext>
            </a:extLst>
          </p:cNvPr>
          <p:cNvSpPr txBox="1">
            <a:spLocks/>
          </p:cNvSpPr>
          <p:nvPr/>
        </p:nvSpPr>
        <p:spPr>
          <a:xfrm>
            <a:off x="444873" y="1819275"/>
            <a:ext cx="4593807" cy="284163"/>
          </a:xfrm>
          <a:prstGeom prst="rect">
            <a:avLst/>
          </a:prstGeom>
          <a:solidFill>
            <a:srgbClr val="CFD6E8"/>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300" dirty="0">
                <a:solidFill>
                  <a:schemeClr val="tx1"/>
                </a:solidFill>
              </a:rPr>
              <a:t>Examples of </a:t>
            </a:r>
            <a:r>
              <a:rPr lang="lv-LV" sz="1300" dirty="0" err="1">
                <a:solidFill>
                  <a:schemeClr val="tx1"/>
                </a:solidFill>
              </a:rPr>
              <a:t>the</a:t>
            </a:r>
            <a:r>
              <a:rPr lang="lv-LV" sz="1300" dirty="0">
                <a:solidFill>
                  <a:schemeClr val="tx1"/>
                </a:solidFill>
              </a:rPr>
              <a:t> </a:t>
            </a:r>
            <a:r>
              <a:rPr lang="en-gb" sz="1300" dirty="0">
                <a:solidFill>
                  <a:schemeClr val="tx1"/>
                </a:solidFill>
              </a:rPr>
              <a:t>Cabinet regulations:</a:t>
            </a:r>
          </a:p>
        </p:txBody>
      </p:sp>
      <p:sp>
        <p:nvSpPr>
          <p:cNvPr id="3" name="Rectangle 2">
            <a:extLst>
              <a:ext uri="{FF2B5EF4-FFF2-40B4-BE49-F238E27FC236}">
                <a16:creationId xmlns:a16="http://schemas.microsoft.com/office/drawing/2014/main" id="{CB552A29-92DA-CE38-2B3E-BCA06BA97D53}"/>
              </a:ext>
            </a:extLst>
          </p:cNvPr>
          <p:cNvSpPr/>
          <p:nvPr/>
        </p:nvSpPr>
        <p:spPr>
          <a:xfrm>
            <a:off x="442911" y="1819276"/>
            <a:ext cx="72000" cy="284163"/>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1" y="4645224"/>
            <a:ext cx="1832859" cy="0"/>
          </a:xfrm>
          <a:prstGeom prst="line">
            <a:avLst/>
          </a:prstGeom>
          <a:ln w="38100" cap="sq">
            <a:solidFill>
              <a:srgbClr val="525A7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rtlCol="0">
            <a:normAutofit/>
          </a:bodyPr>
          <a:lstStyle/>
          <a:p>
            <a:pPr rtl="0"/>
            <a:r>
              <a:rPr lang="en-gb" dirty="0"/>
              <a:t>Explanation of the </a:t>
            </a:r>
            <a:r>
              <a:rPr lang="lv-LV" dirty="0"/>
              <a:t>S</a:t>
            </a:r>
            <a:r>
              <a:rPr lang="en-gb" dirty="0" err="1"/>
              <a:t>ubordination</a:t>
            </a:r>
            <a:r>
              <a:rPr lang="en-gb" dirty="0"/>
              <a:t> </a:t>
            </a:r>
            <a:r>
              <a:rPr lang="lv-LV" dirty="0"/>
              <a:t>S</a:t>
            </a:r>
            <a:r>
              <a:rPr lang="en-gb" dirty="0" err="1"/>
              <a:t>ystem</a:t>
            </a:r>
            <a:r>
              <a:rPr lang="en-gb" dirty="0"/>
              <a:t> for </a:t>
            </a:r>
            <a:r>
              <a:rPr lang="lv-LV" dirty="0"/>
              <a:t>C</a:t>
            </a:r>
            <a:r>
              <a:rPr lang="en-gb" dirty="0" err="1"/>
              <a:t>ivil</a:t>
            </a:r>
            <a:r>
              <a:rPr lang="en-gb" dirty="0"/>
              <a:t> </a:t>
            </a:r>
            <a:r>
              <a:rPr lang="lv-LV" dirty="0"/>
              <a:t>P</a:t>
            </a:r>
            <a:r>
              <a:rPr lang="en-gb" dirty="0" err="1"/>
              <a:t>rotection</a:t>
            </a:r>
            <a:r>
              <a:rPr lang="en-gb" dirty="0"/>
              <a:t> </a:t>
            </a:r>
            <a:r>
              <a:rPr lang="lv-LV" dirty="0"/>
              <a:t>L</a:t>
            </a:r>
            <a:r>
              <a:rPr lang="en-gb" dirty="0" err="1"/>
              <a:t>egislation</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D62C999B-8A19-4CBE-B8CE-8064C986E16F}" type="slidenum">
              <a:rPr lang="lv-LV" altLang="en-US"/>
              <a:pPr rtl="0"/>
              <a:t>11</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Constitution</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International law</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Laws</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Cabinet Regulations</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Municipal binding rules</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8"/>
            <a:ext cx="4635570" cy="4068762"/>
          </a:xfrm>
          <a:prstGeom prst="rect">
            <a:avLst/>
          </a:prstGeom>
          <a:solidFill>
            <a:schemeClr val="bg1">
              <a:lumMod val="95000"/>
            </a:schemeClr>
          </a:solidFill>
        </p:spPr>
        <p:txBody>
          <a:bodyPr wrap="square" lIns="72000" tIns="36000" rIns="144000" bIns="72000" rtlCol="0">
            <a:noAutofit/>
          </a:bodyPr>
          <a:lstStyle/>
          <a:p>
            <a:pPr marL="285750" indent="-285750" rtl="0">
              <a:spcAft>
                <a:spcPts val="300"/>
              </a:spcAft>
              <a:buSzPct val="100000"/>
              <a:buBlip>
                <a:blip r:embed="rId3"/>
              </a:buBlip>
            </a:pPr>
            <a:r>
              <a:rPr lang="en-GB" sz="1400" dirty="0">
                <a:cs typeface="Times New Roman"/>
              </a:rPr>
              <a:t>Cabinet Regulation No. </a:t>
            </a:r>
            <a:r>
              <a:rPr lang="lv-LV" sz="1400" dirty="0">
                <a:cs typeface="Times New Roman"/>
              </a:rPr>
              <a:t>46 </a:t>
            </a:r>
            <a:r>
              <a:rPr lang="en-gb" sz="1400" dirty="0">
                <a:cs typeface="Times New Roman"/>
              </a:rPr>
              <a:t>"</a:t>
            </a:r>
            <a:r>
              <a:rPr lang="lv-LV" sz="1400" dirty="0">
                <a:cs typeface="Times New Roman"/>
              </a:rPr>
              <a:t>L</a:t>
            </a:r>
            <a:r>
              <a:rPr lang="en-US" sz="1400" dirty="0" err="1">
                <a:cs typeface="Times New Roman"/>
              </a:rPr>
              <a:t>ist</a:t>
            </a:r>
            <a:r>
              <a:rPr lang="en-US" sz="1400" dirty="0">
                <a:cs typeface="Times New Roman"/>
              </a:rPr>
              <a:t> of </a:t>
            </a:r>
            <a:r>
              <a:rPr lang="lv-LV" sz="1400" dirty="0">
                <a:cs typeface="Times New Roman"/>
              </a:rPr>
              <a:t>O</a:t>
            </a:r>
            <a:r>
              <a:rPr lang="en-US" sz="1400" dirty="0" err="1">
                <a:cs typeface="Times New Roman"/>
              </a:rPr>
              <a:t>bjects</a:t>
            </a:r>
            <a:r>
              <a:rPr lang="en-US" sz="1400" dirty="0">
                <a:cs typeface="Times New Roman"/>
              </a:rPr>
              <a:t> of </a:t>
            </a:r>
            <a:r>
              <a:rPr lang="lv-LV" sz="1400" dirty="0">
                <a:cs typeface="Times New Roman"/>
              </a:rPr>
              <a:t>I</a:t>
            </a:r>
            <a:r>
              <a:rPr lang="en-US" sz="1400" dirty="0" err="1">
                <a:cs typeface="Times New Roman"/>
              </a:rPr>
              <a:t>ncreased</a:t>
            </a:r>
            <a:r>
              <a:rPr lang="en-US" sz="1400" dirty="0">
                <a:cs typeface="Times New Roman"/>
              </a:rPr>
              <a:t> </a:t>
            </a:r>
            <a:r>
              <a:rPr lang="lv-LV" sz="1400" dirty="0">
                <a:cs typeface="Times New Roman"/>
              </a:rPr>
              <a:t>D</a:t>
            </a:r>
            <a:r>
              <a:rPr lang="en-US" sz="1400" dirty="0">
                <a:cs typeface="Times New Roman"/>
              </a:rPr>
              <a:t>anger</a:t>
            </a:r>
            <a:r>
              <a:rPr lang="en-gb" sz="1400" dirty="0">
                <a:cs typeface="Times New Roman"/>
              </a:rPr>
              <a:t>"</a:t>
            </a:r>
            <a:endParaRPr lang="lv-LV" sz="1400" dirty="0">
              <a:cs typeface="Times New Roman"/>
            </a:endParaRPr>
          </a:p>
          <a:p>
            <a:pPr marL="284400" rtl="0">
              <a:spcAft>
                <a:spcPts val="600"/>
              </a:spcAft>
              <a:buSzPct val="100000"/>
            </a:pPr>
            <a:r>
              <a:rPr lang="lv-LV" sz="1200" dirty="0">
                <a:cs typeface="Times New Roman"/>
              </a:rPr>
              <a:t>(</a:t>
            </a:r>
            <a:r>
              <a:rPr lang="lv-LV" sz="1200" i="1" dirty="0">
                <a:cs typeface="Times New Roman"/>
              </a:rPr>
              <a:t>Ministru kabineta 2021. gada 21. janvāra noteikumi Nr. 46 "Paaugstinātas bīstamības objektu saraksts"</a:t>
            </a:r>
            <a:r>
              <a:rPr lang="lv-LV" sz="1200" dirty="0">
                <a:cs typeface="Times New Roman"/>
              </a:rPr>
              <a:t>)</a:t>
            </a:r>
            <a:endParaRPr lang="en-gb" sz="1200" dirty="0">
              <a:cs typeface="Times New Roman"/>
            </a:endParaRPr>
          </a:p>
          <a:p>
            <a:pPr marL="285750" indent="-285750" rtl="0">
              <a:spcAft>
                <a:spcPts val="600"/>
              </a:spcAft>
              <a:buSzPct val="100000"/>
              <a:buBlip>
                <a:blip r:embed="rId3"/>
              </a:buBlip>
            </a:pPr>
            <a:r>
              <a:rPr lang="en-GB" sz="1400" dirty="0">
                <a:cs typeface="Times New Roman"/>
              </a:rPr>
              <a:t>Cabinet</a:t>
            </a:r>
            <a:r>
              <a:rPr lang="lv-LV" sz="1400" dirty="0">
                <a:cs typeface="Times New Roman"/>
              </a:rPr>
              <a:t> </a:t>
            </a:r>
            <a:r>
              <a:rPr lang="en-GB" sz="1400" dirty="0">
                <a:cs typeface="Times New Roman"/>
              </a:rPr>
              <a:t>Regulation No. 716</a:t>
            </a:r>
            <a:r>
              <a:rPr lang="en-gb" sz="1400" dirty="0">
                <a:cs typeface="Times New Roman"/>
              </a:rPr>
              <a:t> "</a:t>
            </a:r>
            <a:r>
              <a:rPr lang="en-US" sz="1400" dirty="0">
                <a:cs typeface="Times New Roman"/>
              </a:rPr>
              <a:t>Minimum Requirements for the Content of the Mandatory Course in Civil Protection and the Content of Training of Employees in Civil Protection</a:t>
            </a:r>
            <a:r>
              <a:rPr lang="en-gb" sz="1400" dirty="0">
                <a:cs typeface="Times New Roman"/>
              </a:rPr>
              <a:t>"</a:t>
            </a:r>
          </a:p>
          <a:p>
            <a:pPr marL="285750" indent="-285750" rtl="0">
              <a:spcAft>
                <a:spcPts val="300"/>
              </a:spcAft>
              <a:buSzPct val="100000"/>
              <a:buBlip>
                <a:blip r:embed="rId3"/>
              </a:buBlip>
            </a:pPr>
            <a:r>
              <a:rPr lang="en-GB" sz="1400" dirty="0">
                <a:cs typeface="Times New Roman"/>
              </a:rPr>
              <a:t>Cabinet Regulation No. </a:t>
            </a:r>
            <a:r>
              <a:rPr lang="lv-LV" sz="1400" dirty="0">
                <a:cs typeface="Times New Roman"/>
              </a:rPr>
              <a:t>723 </a:t>
            </a:r>
            <a:r>
              <a:rPr lang="en-gb" sz="1400" dirty="0">
                <a:cs typeface="Times New Roman"/>
              </a:rPr>
              <a:t>"Regulation of the National</a:t>
            </a:r>
            <a:r>
              <a:rPr lang="lv-LV" sz="1400" dirty="0">
                <a:cs typeface="Times New Roman"/>
              </a:rPr>
              <a:t> </a:t>
            </a:r>
            <a:r>
              <a:rPr lang="lv-LV" sz="1400" dirty="0" err="1">
                <a:cs typeface="Times New Roman"/>
              </a:rPr>
              <a:t>Contact</a:t>
            </a:r>
            <a:r>
              <a:rPr lang="lv-LV" sz="1400" dirty="0">
                <a:cs typeface="Times New Roman"/>
              </a:rPr>
              <a:t> </a:t>
            </a:r>
            <a:r>
              <a:rPr lang="en-gb" sz="1400" dirty="0">
                <a:cs typeface="Times New Roman"/>
              </a:rPr>
              <a:t>Point</a:t>
            </a:r>
            <a:r>
              <a:rPr lang="lv-LV" sz="1400" dirty="0">
                <a:cs typeface="Times New Roman"/>
              </a:rPr>
              <a:t> </a:t>
            </a:r>
            <a:r>
              <a:rPr lang="lv-LV" sz="1400" dirty="0" err="1">
                <a:cs typeface="Times New Roman"/>
              </a:rPr>
              <a:t>for</a:t>
            </a:r>
            <a:r>
              <a:rPr lang="lv-LV" sz="1400" dirty="0">
                <a:cs typeface="Times New Roman"/>
              </a:rPr>
              <a:t> </a:t>
            </a:r>
            <a:r>
              <a:rPr lang="en-gb" sz="1400" dirty="0">
                <a:cs typeface="Times New Roman"/>
              </a:rPr>
              <a:t>Civil Protection</a:t>
            </a:r>
            <a:r>
              <a:rPr lang="lv-LV" sz="1400" dirty="0">
                <a:cs typeface="Times New Roman"/>
              </a:rPr>
              <a:t>"</a:t>
            </a:r>
          </a:p>
          <a:p>
            <a:pPr marL="284400" rtl="0">
              <a:spcAft>
                <a:spcPts val="300"/>
              </a:spcAft>
              <a:buSzPct val="100000"/>
            </a:pPr>
            <a:r>
              <a:rPr lang="lv-LV" sz="1200" dirty="0">
                <a:cs typeface="Times New Roman"/>
              </a:rPr>
              <a:t>(</a:t>
            </a:r>
            <a:r>
              <a:rPr lang="lv-LV" sz="1200" i="1" dirty="0">
                <a:cs typeface="Times New Roman"/>
              </a:rPr>
              <a:t>Ministru kabineta 2017. gada 12. decembra noteikumi Nr. 723 "Valsts civilās aizsardzības kontaktpunkta noteikumi"</a:t>
            </a:r>
            <a:r>
              <a:rPr lang="lv-LV" sz="1200" dirty="0">
                <a:cs typeface="Times New Roman"/>
              </a:rPr>
              <a:t>)</a:t>
            </a:r>
          </a:p>
          <a:p>
            <a:pPr marL="285750" indent="-285750" rtl="0">
              <a:spcAft>
                <a:spcPts val="300"/>
              </a:spcAft>
              <a:buSzPct val="100000"/>
              <a:buBlip>
                <a:blip r:embed="rId3"/>
              </a:buBlip>
            </a:pPr>
            <a:r>
              <a:rPr lang="lv-LV" sz="1400" dirty="0" err="1">
                <a:cs typeface="Times New Roman"/>
              </a:rPr>
              <a:t>Cabinet</a:t>
            </a:r>
            <a:r>
              <a:rPr lang="lv-LV" sz="1400" dirty="0">
                <a:cs typeface="Times New Roman"/>
              </a:rPr>
              <a:t> </a:t>
            </a:r>
            <a:r>
              <a:rPr lang="lv-LV" sz="1400" dirty="0" err="1">
                <a:cs typeface="Times New Roman"/>
              </a:rPr>
              <a:t>Regulation</a:t>
            </a:r>
            <a:r>
              <a:rPr lang="lv-LV" sz="1400" dirty="0">
                <a:cs typeface="Times New Roman"/>
              </a:rPr>
              <a:t> No. 658  "</a:t>
            </a:r>
            <a:r>
              <a:rPr lang="en-US" sz="1400" dirty="0">
                <a:cs typeface="Times New Roman"/>
              </a:rPr>
              <a:t>Regulation on the Structure of Civil Protection Plans and the Information to Be Included in Them</a:t>
            </a:r>
            <a:r>
              <a:rPr lang="lv-LV" sz="1400" dirty="0">
                <a:cs typeface="Times New Roman"/>
              </a:rPr>
              <a:t>"</a:t>
            </a:r>
          </a:p>
          <a:p>
            <a:pPr marL="284400" rtl="0">
              <a:spcAft>
                <a:spcPts val="600"/>
              </a:spcAft>
              <a:buSzPct val="100000"/>
            </a:pPr>
            <a:r>
              <a:rPr lang="lv-LV" sz="1200" dirty="0">
                <a:cs typeface="Times New Roman"/>
              </a:rPr>
              <a:t>(</a:t>
            </a:r>
            <a:r>
              <a:rPr lang="lv-LV" sz="1200" i="1" dirty="0">
                <a:cs typeface="Times New Roman"/>
              </a:rPr>
              <a:t>Ministru kabineta 2017. gada 7. novembra noteikumi Nr. 658 "Noteikumi par civilās aizsardzības plānu struktūru un tajos iekļaujamo informāciju"</a:t>
            </a:r>
            <a:r>
              <a:rPr lang="lv-LV" sz="1200" dirty="0">
                <a:cs typeface="Times New Roman"/>
              </a:rPr>
              <a:t>)</a:t>
            </a:r>
          </a:p>
          <a:p>
            <a:pPr marL="284400" rtl="0">
              <a:spcAft>
                <a:spcPts val="300"/>
              </a:spcAft>
              <a:buSzPct val="100000"/>
            </a:pPr>
            <a:endParaRPr lang="en-gb" sz="1200" dirty="0">
              <a:cs typeface="Times New Roman"/>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7" name="Rectangle 36">
            <a:extLst>
              <a:ext uri="{FF2B5EF4-FFF2-40B4-BE49-F238E27FC236}">
                <a16:creationId xmlns:a16="http://schemas.microsoft.com/office/drawing/2014/main" id="{DE03C864-B977-3D6F-78BE-1C0291F95A24}"/>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5" name="Group 4">
            <a:extLst>
              <a:ext uri="{FF2B5EF4-FFF2-40B4-BE49-F238E27FC236}">
                <a16:creationId xmlns:a16="http://schemas.microsoft.com/office/drawing/2014/main" id="{921B3E01-A5CC-2C28-36EE-13ECAFC0D1E5}"/>
              </a:ext>
            </a:extLst>
          </p:cNvPr>
          <p:cNvGrpSpPr/>
          <p:nvPr/>
        </p:nvGrpSpPr>
        <p:grpSpPr>
          <a:xfrm>
            <a:off x="6635744" y="132067"/>
            <a:ext cx="5113344" cy="217488"/>
            <a:chOff x="6393917" y="132067"/>
            <a:chExt cx="5113344" cy="217488"/>
          </a:xfrm>
        </p:grpSpPr>
        <p:sp>
          <p:nvSpPr>
            <p:cNvPr id="7" name="Rectangle 6">
              <a:extLst>
                <a:ext uri="{FF2B5EF4-FFF2-40B4-BE49-F238E27FC236}">
                  <a16:creationId xmlns:a16="http://schemas.microsoft.com/office/drawing/2014/main" id="{812FC357-4D12-69C8-19BF-BE414CCD23CA}"/>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p>
          </p:txBody>
        </p:sp>
        <p:sp>
          <p:nvSpPr>
            <p:cNvPr id="9" name="Rectangle 8">
              <a:extLst>
                <a:ext uri="{FF2B5EF4-FFF2-40B4-BE49-F238E27FC236}">
                  <a16:creationId xmlns:a16="http://schemas.microsoft.com/office/drawing/2014/main" id="{DB4585B1-8DFD-82BD-0533-201104F62DB9}"/>
                </a:ext>
              </a:extLst>
            </p:cNvPr>
            <p:cNvSpPr/>
            <p:nvPr/>
          </p:nvSpPr>
          <p:spPr>
            <a:xfrm>
              <a:off x="6635744"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2</a:t>
              </a:r>
            </a:p>
          </p:txBody>
        </p:sp>
        <p:sp>
          <p:nvSpPr>
            <p:cNvPr id="10" name="Rectangle 9">
              <a:extLst>
                <a:ext uri="{FF2B5EF4-FFF2-40B4-BE49-F238E27FC236}">
                  <a16:creationId xmlns:a16="http://schemas.microsoft.com/office/drawing/2014/main" id="{F9E8B2A1-E3F2-D319-67C2-5BE488DB3AD9}"/>
                </a:ext>
              </a:extLst>
            </p:cNvPr>
            <p:cNvSpPr/>
            <p:nvPr/>
          </p:nvSpPr>
          <p:spPr>
            <a:xfrm>
              <a:off x="6877571" y="132067"/>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cs typeface="Arial"/>
                </a:rPr>
                <a:t>The Legal Framework for Ensuring the Operation of</a:t>
              </a:r>
              <a:endParaRPr lang="lv-LV" sz="800" b="1" dirty="0">
                <a:cs typeface="Arial"/>
              </a:endParaRPr>
            </a:p>
            <a:p>
              <a:pPr algn="ctr" rtl="0">
                <a:spcAft>
                  <a:spcPts val="600"/>
                </a:spcAft>
              </a:pPr>
              <a:r>
                <a:rPr lang="en-US" sz="800" b="1" dirty="0">
                  <a:cs typeface="Arial"/>
                </a:rPr>
                <a:t>the System of Civil Protection </a:t>
              </a:r>
            </a:p>
          </p:txBody>
        </p:sp>
        <p:sp>
          <p:nvSpPr>
            <p:cNvPr id="16" name="Rectangle 15">
              <a:extLst>
                <a:ext uri="{FF2B5EF4-FFF2-40B4-BE49-F238E27FC236}">
                  <a16:creationId xmlns:a16="http://schemas.microsoft.com/office/drawing/2014/main" id="{74A8AFE9-0BE3-652E-1608-9B38D0F3F804}"/>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0153F8B2-7A26-EB20-7E3F-10523393623D}"/>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p>
          </p:txBody>
        </p:sp>
        <p:sp>
          <p:nvSpPr>
            <p:cNvPr id="29" name="Rectangle 28">
              <a:extLst>
                <a:ext uri="{FF2B5EF4-FFF2-40B4-BE49-F238E27FC236}">
                  <a16:creationId xmlns:a16="http://schemas.microsoft.com/office/drawing/2014/main" id="{0AA68B0F-4A14-6803-53AA-CB9C0359060D}"/>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4233423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r="23505"/>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9144"/>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1893539"/>
            <a:ext cx="7418387" cy="2428875"/>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rtl="0">
              <a:spcAft>
                <a:spcPts val="600"/>
              </a:spcAft>
            </a:pPr>
            <a:r>
              <a:rPr lang="en-gb" sz="4800" dirty="0">
                <a:cs typeface="Arial"/>
              </a:rPr>
              <a:t>2.3. </a:t>
            </a:r>
            <a:r>
              <a:rPr lang="en-US" sz="4800" dirty="0">
                <a:cs typeface="Arial"/>
              </a:rPr>
              <a:t>Organisation and Management of the System of Civil Protection </a:t>
            </a:r>
          </a:p>
        </p:txBody>
      </p:sp>
    </p:spTree>
    <p:extLst>
      <p:ext uri="{BB962C8B-B14F-4D97-AF65-F5344CB8AC3E}">
        <p14:creationId xmlns:p14="http://schemas.microsoft.com/office/powerpoint/2010/main" val="1498590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81BA8ACB-F717-622A-8E55-7DDEAFC69175}"/>
              </a:ext>
            </a:extLst>
          </p:cNvPr>
          <p:cNvSpPr>
            <a:spLocks noGrp="1"/>
          </p:cNvSpPr>
          <p:nvPr>
            <p:ph type="title"/>
          </p:nvPr>
        </p:nvSpPr>
        <p:spPr>
          <a:xfrm>
            <a:off x="442913" y="431800"/>
            <a:ext cx="11306175" cy="1387475"/>
          </a:xfrm>
        </p:spPr>
        <p:txBody>
          <a:bodyPr vert="horz" rtlCol="0"/>
          <a:lstStyle/>
          <a:p>
            <a:pPr rtl="0"/>
            <a:r>
              <a:rPr lang="en-US" dirty="0"/>
              <a:t>Civil Protection and Disaster Management Law</a:t>
            </a:r>
            <a:endParaRPr lang="cs-CZ" dirty="0"/>
          </a:p>
        </p:txBody>
      </p:sp>
      <p:sp>
        <p:nvSpPr>
          <p:cNvPr id="4" name="Slide Number Placeholder 3">
            <a:extLst>
              <a:ext uri="{FF2B5EF4-FFF2-40B4-BE49-F238E27FC236}">
                <a16:creationId xmlns:a16="http://schemas.microsoft.com/office/drawing/2014/main" id="{040780D8-703A-C262-0354-AF3142DA01BA}"/>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5792C573-D341-4F68-BE6D-16C190AEC2B7}" type="slidenum">
              <a:rPr lang="lv-LV" altLang="en-US"/>
              <a:pPr rtl="0"/>
              <a:t>13</a:t>
            </a:fld>
            <a:endParaRPr lang="lv-LV" altLang="en-US"/>
          </a:p>
        </p:txBody>
      </p:sp>
      <p:sp>
        <p:nvSpPr>
          <p:cNvPr id="27" name="TextBox 26">
            <a:extLst>
              <a:ext uri="{FF2B5EF4-FFF2-40B4-BE49-F238E27FC236}">
                <a16:creationId xmlns:a16="http://schemas.microsoft.com/office/drawing/2014/main" id="{2FDA45F6-3706-D3EA-97DA-1652D5185D03}"/>
              </a:ext>
            </a:extLst>
          </p:cNvPr>
          <p:cNvSpPr txBox="1"/>
          <p:nvPr/>
        </p:nvSpPr>
        <p:spPr>
          <a:xfrm>
            <a:off x="442913" y="1161554"/>
            <a:ext cx="6528120" cy="276999"/>
          </a:xfrm>
          <a:prstGeom prst="rect">
            <a:avLst/>
          </a:prstGeom>
          <a:noFill/>
        </p:spPr>
        <p:txBody>
          <a:bodyPr wrap="square" lIns="0" tIns="0" rIns="0" bIns="0" rtlCol="0">
            <a:spAutoFit/>
          </a:bodyPr>
          <a:lstStyle/>
          <a:p>
            <a:pPr marL="0" indent="0" rtl="0">
              <a:buNone/>
              <a:defRPr/>
            </a:pPr>
            <a:r>
              <a:rPr lang="en-gb" sz="1800" b="1">
                <a:solidFill>
                  <a:srgbClr val="A8192D"/>
                </a:solidFill>
              </a:rPr>
              <a:t>Entered into force 1 October 2016</a:t>
            </a:r>
            <a:endParaRPr lang="en-US" sz="1800" b="1">
              <a:solidFill>
                <a:srgbClr val="A8192D"/>
              </a:solidFill>
            </a:endParaRPr>
          </a:p>
        </p:txBody>
      </p:sp>
      <p:sp>
        <p:nvSpPr>
          <p:cNvPr id="29" name="Satura vietturis 2">
            <a:extLst>
              <a:ext uri="{FF2B5EF4-FFF2-40B4-BE49-F238E27FC236}">
                <a16:creationId xmlns:a16="http://schemas.microsoft.com/office/drawing/2014/main" id="{5574D7B1-6FAF-4EF4-9006-9E83166E5D67}"/>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rtl="0">
              <a:spcAft>
                <a:spcPts val="0"/>
              </a:spcAft>
              <a:buNone/>
              <a:defRPr/>
            </a:pPr>
            <a:r>
              <a:rPr lang="lv-LV" sz="1400" dirty="0" err="1">
                <a:solidFill>
                  <a:schemeClr val="bg1"/>
                </a:solidFill>
              </a:rPr>
              <a:t>Purpose</a:t>
            </a:r>
            <a:r>
              <a:rPr lang="en-gb" sz="1400" b="1" dirty="0">
                <a:solidFill>
                  <a:schemeClr val="bg1"/>
                </a:solidFill>
              </a:rPr>
              <a:t>:</a:t>
            </a:r>
            <a:r>
              <a:rPr lang="en-gb" sz="1400" dirty="0">
                <a:solidFill>
                  <a:schemeClr val="bg1"/>
                </a:solidFill>
              </a:rPr>
              <a:t> </a:t>
            </a:r>
            <a:r>
              <a:rPr lang="lv-LV" sz="1400" b="0" dirty="0">
                <a:solidFill>
                  <a:schemeClr val="bg1"/>
                </a:solidFill>
                <a:ea typeface="+mn-lt"/>
                <a:cs typeface="+mn-lt"/>
              </a:rPr>
              <a:t>T</a:t>
            </a:r>
            <a:r>
              <a:rPr lang="en-US" sz="1400" b="0" dirty="0">
                <a:solidFill>
                  <a:schemeClr val="bg1"/>
                </a:solidFill>
                <a:ea typeface="+mn-lt"/>
                <a:cs typeface="+mn-lt"/>
              </a:rPr>
              <a:t>o determine the competence of the system of civil protection and disaster management subjects in order to ensure, to the </a:t>
            </a:r>
            <a:endParaRPr lang="lv-LV" sz="1400" b="0" dirty="0">
              <a:solidFill>
                <a:schemeClr val="bg1"/>
              </a:solidFill>
              <a:ea typeface="+mn-lt"/>
              <a:cs typeface="+mn-lt"/>
            </a:endParaRPr>
          </a:p>
          <a:p>
            <a:pPr marL="0" indent="0" rtl="0">
              <a:spcAft>
                <a:spcPts val="0"/>
              </a:spcAft>
              <a:buNone/>
              <a:defRPr/>
            </a:pPr>
            <a:r>
              <a:rPr lang="en-US" sz="1400" b="0" dirty="0">
                <a:solidFill>
                  <a:schemeClr val="bg1"/>
                </a:solidFill>
                <a:ea typeface="+mn-lt"/>
                <a:cs typeface="+mn-lt"/>
              </a:rPr>
              <a:t>extent possible, the safety and protection of people, the environment and property in case of a disaster or threats thereof.</a:t>
            </a:r>
            <a:endParaRPr lang="en-gb" sz="1400" b="0" dirty="0">
              <a:solidFill>
                <a:schemeClr val="bg1"/>
              </a:solidFill>
              <a:ea typeface="+mn-lt"/>
              <a:cs typeface="+mn-lt"/>
            </a:endParaRPr>
          </a:p>
        </p:txBody>
      </p:sp>
      <p:sp>
        <p:nvSpPr>
          <p:cNvPr id="31" name="Rectangle 30">
            <a:extLst>
              <a:ext uri="{FF2B5EF4-FFF2-40B4-BE49-F238E27FC236}">
                <a16:creationId xmlns:a16="http://schemas.microsoft.com/office/drawing/2014/main" id="{6AA91A95-D630-E613-2708-437B8D6C1533}"/>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2" name="Rectangle 31">
            <a:extLst>
              <a:ext uri="{FF2B5EF4-FFF2-40B4-BE49-F238E27FC236}">
                <a16:creationId xmlns:a16="http://schemas.microsoft.com/office/drawing/2014/main" id="{8A800BF2-59CB-AB1E-F213-5521B8B38D9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3" name="Rectangle 32">
            <a:extLst>
              <a:ext uri="{FF2B5EF4-FFF2-40B4-BE49-F238E27FC236}">
                <a16:creationId xmlns:a16="http://schemas.microsoft.com/office/drawing/2014/main" id="{E5E0FC03-01B5-ADF6-557D-2E1E7E911E8B}"/>
              </a:ext>
            </a:extLst>
          </p:cNvPr>
          <p:cNvSpPr/>
          <p:nvPr/>
        </p:nvSpPr>
        <p:spPr>
          <a:xfrm>
            <a:off x="1120996"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US" sz="1400">
                <a:solidFill>
                  <a:schemeClr val="tx1"/>
                </a:solidFill>
              </a:rPr>
              <a:t>System and Tasks of Civil Protection</a:t>
            </a:r>
            <a:endParaRPr lang="en-gb" sz="1400">
              <a:solidFill>
                <a:schemeClr val="tx1"/>
              </a:solidFill>
            </a:endParaRPr>
          </a:p>
        </p:txBody>
      </p:sp>
      <p:sp>
        <p:nvSpPr>
          <p:cNvPr id="34" name="Rectangle 33">
            <a:extLst>
              <a:ext uri="{FF2B5EF4-FFF2-40B4-BE49-F238E27FC236}">
                <a16:creationId xmlns:a16="http://schemas.microsoft.com/office/drawing/2014/main" id="{D44AE823-592A-ECA3-A50B-68DFE4DB7171}"/>
              </a:ext>
            </a:extLst>
          </p:cNvPr>
          <p:cNvSpPr/>
          <p:nvPr/>
        </p:nvSpPr>
        <p:spPr>
          <a:xfrm>
            <a:off x="1120996"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a:solidFill>
                  <a:schemeClr val="tx1"/>
                </a:solidFill>
              </a:rPr>
              <a:t>Disaster Types and Scale</a:t>
            </a:r>
            <a:r>
              <a:rPr lang="lv-LV" sz="1400">
                <a:solidFill>
                  <a:schemeClr val="tx1"/>
                </a:solidFill>
              </a:rPr>
              <a:t>, Risk </a:t>
            </a:r>
            <a:r>
              <a:rPr lang="lv-LV" sz="1400" err="1">
                <a:solidFill>
                  <a:schemeClr val="tx1"/>
                </a:solidFill>
              </a:rPr>
              <a:t>Assessment</a:t>
            </a:r>
            <a:r>
              <a:rPr lang="lv-LV" sz="1400">
                <a:solidFill>
                  <a:schemeClr val="tx1"/>
                </a:solidFill>
              </a:rPr>
              <a:t>, </a:t>
            </a:r>
            <a:r>
              <a:rPr lang="lv-LV" sz="1400" err="1">
                <a:solidFill>
                  <a:schemeClr val="tx1"/>
                </a:solidFill>
              </a:rPr>
              <a:t>Disaster</a:t>
            </a:r>
            <a:r>
              <a:rPr lang="lv-LV" sz="1400">
                <a:solidFill>
                  <a:schemeClr val="tx1"/>
                </a:solidFill>
              </a:rPr>
              <a:t> </a:t>
            </a:r>
            <a:r>
              <a:rPr lang="lv-LV" sz="1400" err="1">
                <a:solidFill>
                  <a:schemeClr val="tx1"/>
                </a:solidFill>
              </a:rPr>
              <a:t>Management</a:t>
            </a:r>
            <a:r>
              <a:rPr lang="lv-LV" sz="1400">
                <a:solidFill>
                  <a:schemeClr val="tx1"/>
                </a:solidFill>
              </a:rPr>
              <a:t>, </a:t>
            </a:r>
            <a:r>
              <a:rPr lang="lv-LV" sz="1400" err="1">
                <a:solidFill>
                  <a:schemeClr val="tx1"/>
                </a:solidFill>
              </a:rPr>
              <a:t>Evacuation</a:t>
            </a:r>
            <a:endParaRPr lang="en-gb" sz="1400">
              <a:solidFill>
                <a:schemeClr val="tx1"/>
              </a:solidFill>
            </a:endParaRPr>
          </a:p>
        </p:txBody>
      </p:sp>
      <p:sp>
        <p:nvSpPr>
          <p:cNvPr id="35" name="Rectangle 34">
            <a:extLst>
              <a:ext uri="{FF2B5EF4-FFF2-40B4-BE49-F238E27FC236}">
                <a16:creationId xmlns:a16="http://schemas.microsoft.com/office/drawing/2014/main" id="{0242BEA4-F4CA-3551-DC3D-70B900B999AD}"/>
              </a:ext>
            </a:extLst>
          </p:cNvPr>
          <p:cNvSpPr/>
          <p:nvPr/>
        </p:nvSpPr>
        <p:spPr>
          <a:xfrm>
            <a:off x="1120996"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dirty="0">
                <a:solidFill>
                  <a:schemeClr val="tx1"/>
                </a:solidFill>
              </a:rPr>
              <a:t>D</a:t>
            </a:r>
            <a:r>
              <a:rPr lang="en-US" sz="1400" dirty="0" err="1">
                <a:solidFill>
                  <a:schemeClr val="tx1"/>
                </a:solidFill>
              </a:rPr>
              <a:t>uties</a:t>
            </a:r>
            <a:r>
              <a:rPr lang="en-US" sz="1400" dirty="0">
                <a:solidFill>
                  <a:schemeClr val="tx1"/>
                </a:solidFill>
              </a:rPr>
              <a:t>, Tasks and Rights of </a:t>
            </a:r>
            <a:r>
              <a:rPr lang="lv-LV" sz="1400" dirty="0" err="1">
                <a:solidFill>
                  <a:schemeClr val="tx1"/>
                </a:solidFill>
              </a:rPr>
              <a:t>the</a:t>
            </a:r>
            <a:r>
              <a:rPr lang="lv-LV" sz="1400" dirty="0">
                <a:solidFill>
                  <a:schemeClr val="tx1"/>
                </a:solidFill>
              </a:rPr>
              <a:t> </a:t>
            </a:r>
            <a:r>
              <a:rPr lang="lv-LV" sz="1400" dirty="0" err="1">
                <a:solidFill>
                  <a:schemeClr val="tx1"/>
                </a:solidFill>
              </a:rPr>
              <a:t>Subjects</a:t>
            </a:r>
            <a:endParaRPr lang="en-gb" sz="1400" dirty="0">
              <a:solidFill>
                <a:schemeClr val="tx1"/>
              </a:solidFill>
            </a:endParaRPr>
          </a:p>
        </p:txBody>
      </p:sp>
      <p:sp>
        <p:nvSpPr>
          <p:cNvPr id="36" name="Rectangle 35">
            <a:extLst>
              <a:ext uri="{FF2B5EF4-FFF2-40B4-BE49-F238E27FC236}">
                <a16:creationId xmlns:a16="http://schemas.microsoft.com/office/drawing/2014/main" id="{3668AD13-713C-AE01-8868-1A88134CDB3B}"/>
              </a:ext>
            </a:extLst>
          </p:cNvPr>
          <p:cNvSpPr/>
          <p:nvPr/>
        </p:nvSpPr>
        <p:spPr>
          <a:xfrm>
            <a:off x="1120996"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US" sz="1400">
                <a:solidFill>
                  <a:schemeClr val="tx1"/>
                </a:solidFill>
              </a:rPr>
              <a:t>Objects and Objects of Increased Danger</a:t>
            </a:r>
            <a:endParaRPr lang="en-gb" sz="1400">
              <a:solidFill>
                <a:schemeClr val="tx1"/>
              </a:solidFill>
            </a:endParaRPr>
          </a:p>
        </p:txBody>
      </p:sp>
      <p:sp>
        <p:nvSpPr>
          <p:cNvPr id="38" name="Rectangle 37">
            <a:extLst>
              <a:ext uri="{FF2B5EF4-FFF2-40B4-BE49-F238E27FC236}">
                <a16:creationId xmlns:a16="http://schemas.microsoft.com/office/drawing/2014/main" id="{89E2623A-9E7E-EB8A-9A8F-9C24E03BEFDB}"/>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t>Parts of the law:</a:t>
            </a:r>
          </a:p>
        </p:txBody>
      </p:sp>
      <p:grpSp>
        <p:nvGrpSpPr>
          <p:cNvPr id="57" name="Group 56">
            <a:extLst>
              <a:ext uri="{FF2B5EF4-FFF2-40B4-BE49-F238E27FC236}">
                <a16:creationId xmlns:a16="http://schemas.microsoft.com/office/drawing/2014/main" id="{9B49212B-65F1-B561-AE2C-F190307C1C6F}"/>
              </a:ext>
            </a:extLst>
          </p:cNvPr>
          <p:cNvGrpSpPr/>
          <p:nvPr/>
        </p:nvGrpSpPr>
        <p:grpSpPr>
          <a:xfrm>
            <a:off x="11101088" y="2708618"/>
            <a:ext cx="648000" cy="576000"/>
            <a:chOff x="7213300" y="2708618"/>
            <a:chExt cx="648000" cy="576000"/>
          </a:xfrm>
        </p:grpSpPr>
        <p:sp>
          <p:nvSpPr>
            <p:cNvPr id="39" name="Rectangle 38">
              <a:extLst>
                <a:ext uri="{FF2B5EF4-FFF2-40B4-BE49-F238E27FC236}">
                  <a16:creationId xmlns:a16="http://schemas.microsoft.com/office/drawing/2014/main" id="{B4E04617-9F8D-4A9B-E61E-0A6A8A9D3CEC}"/>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0" name="Rectangle 39">
              <a:extLst>
                <a:ext uri="{FF2B5EF4-FFF2-40B4-BE49-F238E27FC236}">
                  <a16:creationId xmlns:a16="http://schemas.microsoft.com/office/drawing/2014/main" id="{0E5FFE4D-F549-9309-1644-0F90C1B34CA9}"/>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59" name="Group 58">
            <a:extLst>
              <a:ext uri="{FF2B5EF4-FFF2-40B4-BE49-F238E27FC236}">
                <a16:creationId xmlns:a16="http://schemas.microsoft.com/office/drawing/2014/main" id="{316319DF-E371-9AD1-342B-FD12C773E718}"/>
              </a:ext>
            </a:extLst>
          </p:cNvPr>
          <p:cNvGrpSpPr/>
          <p:nvPr/>
        </p:nvGrpSpPr>
        <p:grpSpPr>
          <a:xfrm>
            <a:off x="441326" y="3433426"/>
            <a:ext cx="576000" cy="573088"/>
            <a:chOff x="441326" y="3433426"/>
            <a:chExt cx="576000" cy="573088"/>
          </a:xfrm>
        </p:grpSpPr>
        <p:sp>
          <p:nvSpPr>
            <p:cNvPr id="42" name="Rectangle 41">
              <a:extLst>
                <a:ext uri="{FF2B5EF4-FFF2-40B4-BE49-F238E27FC236}">
                  <a16:creationId xmlns:a16="http://schemas.microsoft.com/office/drawing/2014/main" id="{BE40173B-FABB-BD9C-E2C4-9AE4220AA92C}"/>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 name="L-Shape 42">
              <a:extLst>
                <a:ext uri="{FF2B5EF4-FFF2-40B4-BE49-F238E27FC236}">
                  <a16:creationId xmlns:a16="http://schemas.microsoft.com/office/drawing/2014/main" id="{F348695D-7C8F-2963-EC46-9838BB582FEB}"/>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60" name="Group 59">
            <a:extLst>
              <a:ext uri="{FF2B5EF4-FFF2-40B4-BE49-F238E27FC236}">
                <a16:creationId xmlns:a16="http://schemas.microsoft.com/office/drawing/2014/main" id="{F188BF85-4887-8256-FC96-0FDEC07BC2B0}"/>
              </a:ext>
            </a:extLst>
          </p:cNvPr>
          <p:cNvGrpSpPr/>
          <p:nvPr/>
        </p:nvGrpSpPr>
        <p:grpSpPr>
          <a:xfrm>
            <a:off x="441326" y="4155321"/>
            <a:ext cx="576000" cy="573088"/>
            <a:chOff x="441326" y="3433426"/>
            <a:chExt cx="576000" cy="573088"/>
          </a:xfrm>
        </p:grpSpPr>
        <p:sp>
          <p:nvSpPr>
            <p:cNvPr id="61" name="Rectangle 60">
              <a:extLst>
                <a:ext uri="{FF2B5EF4-FFF2-40B4-BE49-F238E27FC236}">
                  <a16:creationId xmlns:a16="http://schemas.microsoft.com/office/drawing/2014/main" id="{D6962A43-B3FB-7BDA-8C88-3A66BA3CF37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2" name="L-Shape 61">
              <a:extLst>
                <a:ext uri="{FF2B5EF4-FFF2-40B4-BE49-F238E27FC236}">
                  <a16:creationId xmlns:a16="http://schemas.microsoft.com/office/drawing/2014/main" id="{2DD07F1E-A112-6C90-A0BA-EF680E70F4A1}"/>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63" name="Group 62">
            <a:extLst>
              <a:ext uri="{FF2B5EF4-FFF2-40B4-BE49-F238E27FC236}">
                <a16:creationId xmlns:a16="http://schemas.microsoft.com/office/drawing/2014/main" id="{1E7B9018-3863-305A-6760-E766FC090216}"/>
              </a:ext>
            </a:extLst>
          </p:cNvPr>
          <p:cNvGrpSpPr/>
          <p:nvPr/>
        </p:nvGrpSpPr>
        <p:grpSpPr>
          <a:xfrm>
            <a:off x="441326" y="4877216"/>
            <a:ext cx="576000" cy="573088"/>
            <a:chOff x="441326" y="3433426"/>
            <a:chExt cx="576000" cy="573088"/>
          </a:xfrm>
        </p:grpSpPr>
        <p:sp>
          <p:nvSpPr>
            <p:cNvPr id="43008" name="Rectangle 43007">
              <a:extLst>
                <a:ext uri="{FF2B5EF4-FFF2-40B4-BE49-F238E27FC236}">
                  <a16:creationId xmlns:a16="http://schemas.microsoft.com/office/drawing/2014/main" id="{35F920C4-C49D-9ECF-332F-A4EB6DE9914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09" name="L-Shape 43008">
              <a:extLst>
                <a:ext uri="{FF2B5EF4-FFF2-40B4-BE49-F238E27FC236}">
                  <a16:creationId xmlns:a16="http://schemas.microsoft.com/office/drawing/2014/main" id="{0B0B515C-1208-46F5-711D-98C694F0E8E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3010" name="Group 43009">
            <a:extLst>
              <a:ext uri="{FF2B5EF4-FFF2-40B4-BE49-F238E27FC236}">
                <a16:creationId xmlns:a16="http://schemas.microsoft.com/office/drawing/2014/main" id="{E3A36F27-CF71-8D4C-E622-035267C2AEB8}"/>
              </a:ext>
            </a:extLst>
          </p:cNvPr>
          <p:cNvGrpSpPr/>
          <p:nvPr/>
        </p:nvGrpSpPr>
        <p:grpSpPr>
          <a:xfrm>
            <a:off x="441326" y="5599112"/>
            <a:ext cx="576000" cy="573088"/>
            <a:chOff x="441326" y="3433426"/>
            <a:chExt cx="576000" cy="573088"/>
          </a:xfrm>
        </p:grpSpPr>
        <p:sp>
          <p:nvSpPr>
            <p:cNvPr id="43012" name="Rectangle 43011">
              <a:extLst>
                <a:ext uri="{FF2B5EF4-FFF2-40B4-BE49-F238E27FC236}">
                  <a16:creationId xmlns:a16="http://schemas.microsoft.com/office/drawing/2014/main" id="{6C240ED1-FF97-0EBF-6FDB-D66DDBCF553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13" name="L-Shape 43012">
              <a:extLst>
                <a:ext uri="{FF2B5EF4-FFF2-40B4-BE49-F238E27FC236}">
                  <a16:creationId xmlns:a16="http://schemas.microsoft.com/office/drawing/2014/main" id="{98FB0E04-48A7-DF04-7B99-9EBAF48FB2C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43014" name="Rectangle 43013">
            <a:extLst>
              <a:ext uri="{FF2B5EF4-FFF2-40B4-BE49-F238E27FC236}">
                <a16:creationId xmlns:a16="http://schemas.microsoft.com/office/drawing/2014/main" id="{696B08F4-1589-D083-5F6F-A8FA92075C92}"/>
              </a:ext>
            </a:extLst>
          </p:cNvPr>
          <p:cNvSpPr/>
          <p:nvPr/>
        </p:nvSpPr>
        <p:spPr>
          <a:xfrm>
            <a:off x="6851498"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a:solidFill>
                  <a:schemeClr val="tx1"/>
                </a:solidFill>
              </a:rPr>
              <a:t>Planning of Civil Protection</a:t>
            </a:r>
            <a:endParaRPr lang="en-gb" sz="1400">
              <a:solidFill>
                <a:schemeClr val="tx1"/>
              </a:solidFill>
            </a:endParaRPr>
          </a:p>
        </p:txBody>
      </p:sp>
      <p:sp>
        <p:nvSpPr>
          <p:cNvPr id="43015" name="Rectangle 43014">
            <a:extLst>
              <a:ext uri="{FF2B5EF4-FFF2-40B4-BE49-F238E27FC236}">
                <a16:creationId xmlns:a16="http://schemas.microsoft.com/office/drawing/2014/main" id="{709CBB9D-B64E-9EDD-A1B2-2B32373AC0F6}"/>
              </a:ext>
            </a:extLst>
          </p:cNvPr>
          <p:cNvSpPr/>
          <p:nvPr/>
        </p:nvSpPr>
        <p:spPr>
          <a:xfrm>
            <a:off x="6851498"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a:solidFill>
                  <a:schemeClr val="tx1"/>
                </a:solidFill>
              </a:rPr>
              <a:t>I</a:t>
            </a:r>
            <a:r>
              <a:rPr lang="en-US" sz="1400" err="1">
                <a:solidFill>
                  <a:schemeClr val="tx1"/>
                </a:solidFill>
              </a:rPr>
              <a:t>nspections</a:t>
            </a:r>
            <a:r>
              <a:rPr lang="en-US" sz="1400">
                <a:solidFill>
                  <a:schemeClr val="tx1"/>
                </a:solidFill>
              </a:rPr>
              <a:t> on the Operation and Conformity of the System of Civil Protection</a:t>
            </a:r>
            <a:endParaRPr lang="en-gb" sz="1400">
              <a:solidFill>
                <a:schemeClr val="tx1"/>
              </a:solidFill>
            </a:endParaRPr>
          </a:p>
        </p:txBody>
      </p:sp>
      <p:sp>
        <p:nvSpPr>
          <p:cNvPr id="43016" name="Rectangle 43015">
            <a:extLst>
              <a:ext uri="{FF2B5EF4-FFF2-40B4-BE49-F238E27FC236}">
                <a16:creationId xmlns:a16="http://schemas.microsoft.com/office/drawing/2014/main" id="{F13453CE-C15D-4CD6-29C6-01CAFCA1F40F}"/>
              </a:ext>
            </a:extLst>
          </p:cNvPr>
          <p:cNvSpPr/>
          <p:nvPr/>
        </p:nvSpPr>
        <p:spPr>
          <a:xfrm>
            <a:off x="6851498"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US" sz="1400">
                <a:solidFill>
                  <a:schemeClr val="tx1"/>
                </a:solidFill>
              </a:rPr>
              <a:t>Scientific Research, Education and Training in the Field of Civil Protection and Disaster Management</a:t>
            </a:r>
            <a:endParaRPr lang="en-gb" sz="1400">
              <a:solidFill>
                <a:schemeClr val="tx1"/>
              </a:solidFill>
            </a:endParaRPr>
          </a:p>
        </p:txBody>
      </p:sp>
      <p:sp>
        <p:nvSpPr>
          <p:cNvPr id="43017" name="Rectangle 43016">
            <a:extLst>
              <a:ext uri="{FF2B5EF4-FFF2-40B4-BE49-F238E27FC236}">
                <a16:creationId xmlns:a16="http://schemas.microsoft.com/office/drawing/2014/main" id="{E0BDA50B-AF7B-6CC0-96A4-E7E42A907BD3}"/>
              </a:ext>
            </a:extLst>
          </p:cNvPr>
          <p:cNvSpPr/>
          <p:nvPr/>
        </p:nvSpPr>
        <p:spPr>
          <a:xfrm>
            <a:off x="6851498"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US" sz="1400">
                <a:solidFill>
                  <a:schemeClr val="tx1"/>
                </a:solidFill>
              </a:rPr>
              <a:t>International Assistance in Case of Disaster or Threats of Disaster, Financing of the System of Civil Protection</a:t>
            </a:r>
            <a:endParaRPr lang="en-gb" sz="1400">
              <a:solidFill>
                <a:schemeClr val="tx1"/>
              </a:solidFill>
            </a:endParaRPr>
          </a:p>
        </p:txBody>
      </p:sp>
      <p:grpSp>
        <p:nvGrpSpPr>
          <p:cNvPr id="43018" name="Group 43017">
            <a:extLst>
              <a:ext uri="{FF2B5EF4-FFF2-40B4-BE49-F238E27FC236}">
                <a16:creationId xmlns:a16="http://schemas.microsoft.com/office/drawing/2014/main" id="{4FC4FFE9-A093-7B3D-2E42-ED01F019FFBF}"/>
              </a:ext>
            </a:extLst>
          </p:cNvPr>
          <p:cNvGrpSpPr/>
          <p:nvPr/>
        </p:nvGrpSpPr>
        <p:grpSpPr>
          <a:xfrm>
            <a:off x="6171828" y="3433426"/>
            <a:ext cx="576000" cy="573088"/>
            <a:chOff x="441326" y="3433426"/>
            <a:chExt cx="576000" cy="573088"/>
          </a:xfrm>
        </p:grpSpPr>
        <p:sp>
          <p:nvSpPr>
            <p:cNvPr id="43019" name="Rectangle 43018">
              <a:extLst>
                <a:ext uri="{FF2B5EF4-FFF2-40B4-BE49-F238E27FC236}">
                  <a16:creationId xmlns:a16="http://schemas.microsoft.com/office/drawing/2014/main" id="{96881D6D-523A-61BF-6BB1-4B3D45A18504}"/>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20" name="L-Shape 43019">
              <a:extLst>
                <a:ext uri="{FF2B5EF4-FFF2-40B4-BE49-F238E27FC236}">
                  <a16:creationId xmlns:a16="http://schemas.microsoft.com/office/drawing/2014/main" id="{5EA0533F-21A8-F538-4DB8-52F99A3FAE4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3021" name="Group 43020">
            <a:extLst>
              <a:ext uri="{FF2B5EF4-FFF2-40B4-BE49-F238E27FC236}">
                <a16:creationId xmlns:a16="http://schemas.microsoft.com/office/drawing/2014/main" id="{8898655E-7707-11D6-5787-81CA2144636C}"/>
              </a:ext>
            </a:extLst>
          </p:cNvPr>
          <p:cNvGrpSpPr/>
          <p:nvPr/>
        </p:nvGrpSpPr>
        <p:grpSpPr>
          <a:xfrm>
            <a:off x="6171828" y="4155321"/>
            <a:ext cx="576000" cy="573088"/>
            <a:chOff x="441326" y="3433426"/>
            <a:chExt cx="576000" cy="573088"/>
          </a:xfrm>
        </p:grpSpPr>
        <p:sp>
          <p:nvSpPr>
            <p:cNvPr id="43022" name="Rectangle 43021">
              <a:extLst>
                <a:ext uri="{FF2B5EF4-FFF2-40B4-BE49-F238E27FC236}">
                  <a16:creationId xmlns:a16="http://schemas.microsoft.com/office/drawing/2014/main" id="{667F6F2F-7326-3D46-A02B-34167AABC56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23" name="L-Shape 43022">
              <a:extLst>
                <a:ext uri="{FF2B5EF4-FFF2-40B4-BE49-F238E27FC236}">
                  <a16:creationId xmlns:a16="http://schemas.microsoft.com/office/drawing/2014/main" id="{7ED1837C-2A82-717F-DE33-4E48C83C2DF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3024" name="Group 43023">
            <a:extLst>
              <a:ext uri="{FF2B5EF4-FFF2-40B4-BE49-F238E27FC236}">
                <a16:creationId xmlns:a16="http://schemas.microsoft.com/office/drawing/2014/main" id="{307A716E-CBD6-4C2A-C1EB-A77275B69E4C}"/>
              </a:ext>
            </a:extLst>
          </p:cNvPr>
          <p:cNvGrpSpPr/>
          <p:nvPr/>
        </p:nvGrpSpPr>
        <p:grpSpPr>
          <a:xfrm>
            <a:off x="6171828" y="4877216"/>
            <a:ext cx="576000" cy="573088"/>
            <a:chOff x="441326" y="3433426"/>
            <a:chExt cx="576000" cy="573088"/>
          </a:xfrm>
        </p:grpSpPr>
        <p:sp>
          <p:nvSpPr>
            <p:cNvPr id="43025" name="Rectangle 43024">
              <a:extLst>
                <a:ext uri="{FF2B5EF4-FFF2-40B4-BE49-F238E27FC236}">
                  <a16:creationId xmlns:a16="http://schemas.microsoft.com/office/drawing/2014/main" id="{096230F9-8A8C-9FC1-8415-0E42794E69A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26" name="L-Shape 43025">
              <a:extLst>
                <a:ext uri="{FF2B5EF4-FFF2-40B4-BE49-F238E27FC236}">
                  <a16:creationId xmlns:a16="http://schemas.microsoft.com/office/drawing/2014/main" id="{3B57E60C-95EC-2101-89A3-C771248AE77D}"/>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3027" name="Group 43026">
            <a:extLst>
              <a:ext uri="{FF2B5EF4-FFF2-40B4-BE49-F238E27FC236}">
                <a16:creationId xmlns:a16="http://schemas.microsoft.com/office/drawing/2014/main" id="{F7DE0848-7AEB-3B29-FEC4-ACE644DE5C3C}"/>
              </a:ext>
            </a:extLst>
          </p:cNvPr>
          <p:cNvGrpSpPr/>
          <p:nvPr/>
        </p:nvGrpSpPr>
        <p:grpSpPr>
          <a:xfrm>
            <a:off x="6171828" y="5599112"/>
            <a:ext cx="576000" cy="573088"/>
            <a:chOff x="441326" y="3433426"/>
            <a:chExt cx="576000" cy="573088"/>
          </a:xfrm>
        </p:grpSpPr>
        <p:sp>
          <p:nvSpPr>
            <p:cNvPr id="43028" name="Rectangle 43027">
              <a:extLst>
                <a:ext uri="{FF2B5EF4-FFF2-40B4-BE49-F238E27FC236}">
                  <a16:creationId xmlns:a16="http://schemas.microsoft.com/office/drawing/2014/main" id="{14F1736C-DDB0-D0A9-5E9A-3C005DF00C3F}"/>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029" name="L-Shape 43028">
              <a:extLst>
                <a:ext uri="{FF2B5EF4-FFF2-40B4-BE49-F238E27FC236}">
                  <a16:creationId xmlns:a16="http://schemas.microsoft.com/office/drawing/2014/main" id="{08E691E3-4B5D-94EC-C3C2-8EEBE6D2F0D2}"/>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43031" name="Google Shape;1426;p90">
            <a:extLst>
              <a:ext uri="{FF2B5EF4-FFF2-40B4-BE49-F238E27FC236}">
                <a16:creationId xmlns:a16="http://schemas.microsoft.com/office/drawing/2014/main" id="{EF28AC14-6ED9-4BAC-1E00-60FFE7B635A3}"/>
              </a:ext>
            </a:extLst>
          </p:cNvPr>
          <p:cNvSpPr/>
          <p:nvPr/>
        </p:nvSpPr>
        <p:spPr>
          <a:xfrm>
            <a:off x="11279499" y="1927275"/>
            <a:ext cx="360000" cy="360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032" name="Google Shape;1973;p97">
            <a:extLst>
              <a:ext uri="{FF2B5EF4-FFF2-40B4-BE49-F238E27FC236}">
                <a16:creationId xmlns:a16="http://schemas.microsoft.com/office/drawing/2014/main" id="{40610176-A8C2-5DFC-A517-D8D1E9302D59}"/>
              </a:ext>
            </a:extLst>
          </p:cNvPr>
          <p:cNvSpPr/>
          <p:nvPr/>
        </p:nvSpPr>
        <p:spPr>
          <a:xfrm>
            <a:off x="11279499" y="2816618"/>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grpSp>
        <p:nvGrpSpPr>
          <p:cNvPr id="2" name="Group 1">
            <a:extLst>
              <a:ext uri="{FF2B5EF4-FFF2-40B4-BE49-F238E27FC236}">
                <a16:creationId xmlns:a16="http://schemas.microsoft.com/office/drawing/2014/main" id="{39FFEA93-42F4-AAB6-CEEE-C09A72CD053F}"/>
              </a:ext>
            </a:extLst>
          </p:cNvPr>
          <p:cNvGrpSpPr/>
          <p:nvPr/>
        </p:nvGrpSpPr>
        <p:grpSpPr>
          <a:xfrm>
            <a:off x="6597001" y="124926"/>
            <a:ext cx="5150498" cy="230498"/>
            <a:chOff x="6351171" y="122774"/>
            <a:chExt cx="5150498" cy="230498"/>
          </a:xfrm>
        </p:grpSpPr>
        <p:sp>
          <p:nvSpPr>
            <p:cNvPr id="11" name="Rectangle 10">
              <a:extLst>
                <a:ext uri="{FF2B5EF4-FFF2-40B4-BE49-F238E27FC236}">
                  <a16:creationId xmlns:a16="http://schemas.microsoft.com/office/drawing/2014/main" id="{5BE92CAA-EDE6-F4AF-FB23-F31CDB130AC1}"/>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12" name="Rectangle 11">
              <a:extLst>
                <a:ext uri="{FF2B5EF4-FFF2-40B4-BE49-F238E27FC236}">
                  <a16:creationId xmlns:a16="http://schemas.microsoft.com/office/drawing/2014/main" id="{6E18F87A-C27C-1BAB-22B5-795B1BF67D21}"/>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13" name="Rectangle 12">
              <a:extLst>
                <a:ext uri="{FF2B5EF4-FFF2-40B4-BE49-F238E27FC236}">
                  <a16:creationId xmlns:a16="http://schemas.microsoft.com/office/drawing/2014/main" id="{5FDC8150-2678-8B85-5535-F2F0BBC12734}"/>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14" name="Rectangle 13">
              <a:extLst>
                <a:ext uri="{FF2B5EF4-FFF2-40B4-BE49-F238E27FC236}">
                  <a16:creationId xmlns:a16="http://schemas.microsoft.com/office/drawing/2014/main" id="{5DEB0CF5-F797-927D-F3D0-BCEDF9ABC4F6}"/>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17" name="Rectangle 16">
              <a:extLst>
                <a:ext uri="{FF2B5EF4-FFF2-40B4-BE49-F238E27FC236}">
                  <a16:creationId xmlns:a16="http://schemas.microsoft.com/office/drawing/2014/main" id="{F0F7AD36-AB38-939A-E476-19D2025287C8}"/>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18" name="Rectangle 17">
              <a:extLst>
                <a:ext uri="{FF2B5EF4-FFF2-40B4-BE49-F238E27FC236}">
                  <a16:creationId xmlns:a16="http://schemas.microsoft.com/office/drawing/2014/main" id="{E2E756E9-934F-5477-9628-D3BA3BB58670}"/>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
        <p:nvSpPr>
          <p:cNvPr id="5" name="Rectangle 4">
            <a:extLst>
              <a:ext uri="{FF2B5EF4-FFF2-40B4-BE49-F238E27FC236}">
                <a16:creationId xmlns:a16="http://schemas.microsoft.com/office/drawing/2014/main" id="{63A7FE4F-29A2-7B46-5AAC-D3AB0DE1D5BC}"/>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22CA9B-65B5-91DE-FAF2-05BBAF734EC7}"/>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600"/>
          </a:p>
        </p:txBody>
      </p:sp>
      <p:sp>
        <p:nvSpPr>
          <p:cNvPr id="7" name="Rectangle 6">
            <a:extLst>
              <a:ext uri="{FF2B5EF4-FFF2-40B4-BE49-F238E27FC236}">
                <a16:creationId xmlns:a16="http://schemas.microsoft.com/office/drawing/2014/main" id="{262E4242-418F-257C-D27A-E946377C64C0}"/>
              </a:ext>
            </a:extLst>
          </p:cNvPr>
          <p:cNvSpPr/>
          <p:nvPr/>
        </p:nvSpPr>
        <p:spPr>
          <a:xfrm>
            <a:off x="442912" y="1819275"/>
            <a:ext cx="11306175" cy="2005183"/>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1600"/>
          </a:p>
        </p:txBody>
      </p:sp>
      <p:grpSp>
        <p:nvGrpSpPr>
          <p:cNvPr id="2" name="Group 1">
            <a:extLst>
              <a:ext uri="{FF2B5EF4-FFF2-40B4-BE49-F238E27FC236}">
                <a16:creationId xmlns:a16="http://schemas.microsoft.com/office/drawing/2014/main" id="{ED5FC9B9-83E2-D4BE-4627-FAABD1896B6B}"/>
              </a:ext>
            </a:extLst>
          </p:cNvPr>
          <p:cNvGrpSpPr/>
          <p:nvPr/>
        </p:nvGrpSpPr>
        <p:grpSpPr>
          <a:xfrm>
            <a:off x="9999959" y="1914448"/>
            <a:ext cx="1789216" cy="708165"/>
            <a:chOff x="10046259" y="1989950"/>
            <a:chExt cx="1789216" cy="708165"/>
          </a:xfrm>
        </p:grpSpPr>
        <p:grpSp>
          <p:nvGrpSpPr>
            <p:cNvPr id="42" name="Group 41">
              <a:extLst>
                <a:ext uri="{FF2B5EF4-FFF2-40B4-BE49-F238E27FC236}">
                  <a16:creationId xmlns:a16="http://schemas.microsoft.com/office/drawing/2014/main" id="{95518D42-A563-6930-96D7-D7CEBB39A753}"/>
                </a:ext>
              </a:extLst>
            </p:cNvPr>
            <p:cNvGrpSpPr/>
            <p:nvPr/>
          </p:nvGrpSpPr>
          <p:grpSpPr>
            <a:xfrm>
              <a:off x="10046259" y="2172225"/>
              <a:ext cx="1789216" cy="169277"/>
              <a:chOff x="9603347" y="2165393"/>
              <a:chExt cx="1789216" cy="169277"/>
            </a:xfrm>
          </p:grpSpPr>
          <p:sp>
            <p:nvSpPr>
              <p:cNvPr id="90117" name="Rectangle 90116">
                <a:extLst>
                  <a:ext uri="{FF2B5EF4-FFF2-40B4-BE49-F238E27FC236}">
                    <a16:creationId xmlns:a16="http://schemas.microsoft.com/office/drawing/2014/main" id="{1F7D40B8-E82A-638E-FD4B-95A79A5EFB35}"/>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8" name="TextBox 43">
                <a:extLst>
                  <a:ext uri="{FF2B5EF4-FFF2-40B4-BE49-F238E27FC236}">
                    <a16:creationId xmlns:a16="http://schemas.microsoft.com/office/drawing/2014/main" id="{4A20F478-4AB6-C4EF-4237-E57585DC4AF7}"/>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Coordination</a:t>
                </a:r>
              </a:p>
            </p:txBody>
          </p:sp>
        </p:grpSp>
        <p:grpSp>
          <p:nvGrpSpPr>
            <p:cNvPr id="43" name="Group 42">
              <a:extLst>
                <a:ext uri="{FF2B5EF4-FFF2-40B4-BE49-F238E27FC236}">
                  <a16:creationId xmlns:a16="http://schemas.microsoft.com/office/drawing/2014/main" id="{97D56296-48C2-748C-D670-2A0EB311DB87}"/>
                </a:ext>
              </a:extLst>
            </p:cNvPr>
            <p:cNvGrpSpPr/>
            <p:nvPr/>
          </p:nvGrpSpPr>
          <p:grpSpPr>
            <a:xfrm>
              <a:off x="10046259" y="2354670"/>
              <a:ext cx="1789216" cy="169277"/>
              <a:chOff x="9603347" y="2357161"/>
              <a:chExt cx="1789216" cy="169277"/>
            </a:xfrm>
          </p:grpSpPr>
          <p:sp>
            <p:nvSpPr>
              <p:cNvPr id="90113" name="Rectangle 90112">
                <a:extLst>
                  <a:ext uri="{FF2B5EF4-FFF2-40B4-BE49-F238E27FC236}">
                    <a16:creationId xmlns:a16="http://schemas.microsoft.com/office/drawing/2014/main" id="{E000151D-430C-096E-D01B-679964258931}"/>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4" name="TextBox 46">
                <a:extLst>
                  <a:ext uri="{FF2B5EF4-FFF2-40B4-BE49-F238E27FC236}">
                    <a16:creationId xmlns:a16="http://schemas.microsoft.com/office/drawing/2014/main" id="{FC10AF84-664C-9515-4594-DE68099DAF0D}"/>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Support</a:t>
                </a:r>
              </a:p>
            </p:txBody>
          </p:sp>
        </p:grpSp>
        <p:grpSp>
          <p:nvGrpSpPr>
            <p:cNvPr id="44" name="Group 43">
              <a:extLst>
                <a:ext uri="{FF2B5EF4-FFF2-40B4-BE49-F238E27FC236}">
                  <a16:creationId xmlns:a16="http://schemas.microsoft.com/office/drawing/2014/main" id="{FB8A1C86-3BE9-79B2-9C65-A7F55174D916}"/>
                </a:ext>
              </a:extLst>
            </p:cNvPr>
            <p:cNvGrpSpPr/>
            <p:nvPr/>
          </p:nvGrpSpPr>
          <p:grpSpPr>
            <a:xfrm>
              <a:off x="10046259" y="2528838"/>
              <a:ext cx="1789216" cy="169277"/>
              <a:chOff x="9603347" y="2528838"/>
              <a:chExt cx="1789216" cy="169277"/>
            </a:xfrm>
            <a:solidFill>
              <a:srgbClr val="7D7D7D"/>
            </a:solidFill>
          </p:grpSpPr>
          <p:sp>
            <p:nvSpPr>
              <p:cNvPr id="63" name="Rectangle 62">
                <a:extLst>
                  <a:ext uri="{FF2B5EF4-FFF2-40B4-BE49-F238E27FC236}">
                    <a16:creationId xmlns:a16="http://schemas.microsoft.com/office/drawing/2014/main" id="{F7623038-ADC8-F584-53C3-F5F89349D89D}"/>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90112" name="TextBox 49">
                <a:extLst>
                  <a:ext uri="{FF2B5EF4-FFF2-40B4-BE49-F238E27FC236}">
                    <a16:creationId xmlns:a16="http://schemas.microsoft.com/office/drawing/2014/main" id="{1567A904-7B34-1342-6923-C836A296E553}"/>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Infrastructure</a:t>
                </a:r>
              </a:p>
            </p:txBody>
          </p:sp>
        </p:grpSp>
        <p:grpSp>
          <p:nvGrpSpPr>
            <p:cNvPr id="47" name="Group 46">
              <a:extLst>
                <a:ext uri="{FF2B5EF4-FFF2-40B4-BE49-F238E27FC236}">
                  <a16:creationId xmlns:a16="http://schemas.microsoft.com/office/drawing/2014/main" id="{96B9EFD5-5D33-E7B1-9E40-17C71EFE1BD5}"/>
                </a:ext>
              </a:extLst>
            </p:cNvPr>
            <p:cNvGrpSpPr/>
            <p:nvPr/>
          </p:nvGrpSpPr>
          <p:grpSpPr>
            <a:xfrm>
              <a:off x="10046259" y="1989950"/>
              <a:ext cx="1789216" cy="169277"/>
              <a:chOff x="9603347" y="1995824"/>
              <a:chExt cx="1789216" cy="169277"/>
            </a:xfrm>
          </p:grpSpPr>
          <p:sp>
            <p:nvSpPr>
              <p:cNvPr id="61" name="Rectangle 60">
                <a:extLst>
                  <a:ext uri="{FF2B5EF4-FFF2-40B4-BE49-F238E27FC236}">
                    <a16:creationId xmlns:a16="http://schemas.microsoft.com/office/drawing/2014/main" id="{967A9640-3C16-E3C0-98FA-DFBFF921EDB5}"/>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lv-LV" sz="900"/>
              </a:p>
            </p:txBody>
          </p:sp>
          <p:sp>
            <p:nvSpPr>
              <p:cNvPr id="62" name="TextBox 54">
                <a:extLst>
                  <a:ext uri="{FF2B5EF4-FFF2-40B4-BE49-F238E27FC236}">
                    <a16:creationId xmlns:a16="http://schemas.microsoft.com/office/drawing/2014/main" id="{01180E55-77B5-2B16-BB94-2685702C16B6}"/>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a:t>Decision-making</a:t>
                </a:r>
              </a:p>
            </p:txBody>
          </p:sp>
        </p:grpSp>
      </p:grpSp>
      <p:sp>
        <p:nvSpPr>
          <p:cNvPr id="8" name="Rectangle 7">
            <a:extLst>
              <a:ext uri="{FF2B5EF4-FFF2-40B4-BE49-F238E27FC236}">
                <a16:creationId xmlns:a16="http://schemas.microsoft.com/office/drawing/2014/main" id="{1B266A6B-BF8D-A037-C99D-8AB184AF314A}"/>
              </a:ext>
            </a:extLst>
          </p:cNvPr>
          <p:cNvSpPr/>
          <p:nvPr/>
        </p:nvSpPr>
        <p:spPr>
          <a:xfrm>
            <a:off x="4330067" y="1997570"/>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Prime Minister</a:t>
            </a:r>
          </a:p>
        </p:txBody>
      </p:sp>
      <p:sp>
        <p:nvSpPr>
          <p:cNvPr id="9" name="Rectangle 8">
            <a:extLst>
              <a:ext uri="{FF2B5EF4-FFF2-40B4-BE49-F238E27FC236}">
                <a16:creationId xmlns:a16="http://schemas.microsoft.com/office/drawing/2014/main" id="{2D6D393C-6109-1B8D-48A9-6EE802818306}"/>
              </a:ext>
            </a:extLst>
          </p:cNvPr>
          <p:cNvSpPr/>
          <p:nvPr/>
        </p:nvSpPr>
        <p:spPr>
          <a:xfrm>
            <a:off x="4330067" y="2736046"/>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Crisis Management Council</a:t>
            </a:r>
            <a:r>
              <a:rPr lang="lv-LV" sz="1200">
                <a:solidFill>
                  <a:schemeClr val="bg1"/>
                </a:solidFill>
              </a:rPr>
              <a:t> </a:t>
            </a:r>
            <a:r>
              <a:rPr lang="en-gb" sz="1200">
                <a:solidFill>
                  <a:schemeClr val="bg1"/>
                </a:solidFill>
              </a:rPr>
              <a:t>Secretariat</a:t>
            </a:r>
          </a:p>
        </p:txBody>
      </p:sp>
      <p:sp>
        <p:nvSpPr>
          <p:cNvPr id="10" name="Rectangle 9">
            <a:extLst>
              <a:ext uri="{FF2B5EF4-FFF2-40B4-BE49-F238E27FC236}">
                <a16:creationId xmlns:a16="http://schemas.microsoft.com/office/drawing/2014/main" id="{C35757ED-FC70-B0AE-E65B-7057D3F51EAB}"/>
              </a:ext>
            </a:extLst>
          </p:cNvPr>
          <p:cNvSpPr/>
          <p:nvPr/>
        </p:nvSpPr>
        <p:spPr>
          <a:xfrm>
            <a:off x="4329542" y="3395522"/>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US" sz="1200" dirty="0">
                <a:solidFill>
                  <a:schemeClr val="tx1"/>
                </a:solidFill>
              </a:rPr>
              <a:t>Operational Control Centre of Civil Protection</a:t>
            </a:r>
            <a:endParaRPr lang="en-gb" sz="1200" dirty="0">
              <a:solidFill>
                <a:schemeClr val="tx1"/>
              </a:solidFill>
            </a:endParaRPr>
          </a:p>
        </p:txBody>
      </p:sp>
      <p:sp>
        <p:nvSpPr>
          <p:cNvPr id="11" name="Rectangle 10">
            <a:extLst>
              <a:ext uri="{FF2B5EF4-FFF2-40B4-BE49-F238E27FC236}">
                <a16:creationId xmlns:a16="http://schemas.microsoft.com/office/drawing/2014/main" id="{C23D0FB4-0A9B-8536-FE99-45D2D8414208}"/>
              </a:ext>
            </a:extLst>
          </p:cNvPr>
          <p:cNvSpPr/>
          <p:nvPr/>
        </p:nvSpPr>
        <p:spPr>
          <a:xfrm>
            <a:off x="4330067" y="2403126"/>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tx1"/>
                </a:solidFill>
              </a:rPr>
              <a:t>Crisis Management Council</a:t>
            </a:r>
            <a:endParaRPr lang="en-gb" sz="1200">
              <a:solidFill>
                <a:schemeClr val="tx1"/>
              </a:solidFill>
            </a:endParaRPr>
          </a:p>
        </p:txBody>
      </p:sp>
      <p:sp>
        <p:nvSpPr>
          <p:cNvPr id="12" name="Rectangle 11">
            <a:extLst>
              <a:ext uri="{FF2B5EF4-FFF2-40B4-BE49-F238E27FC236}">
                <a16:creationId xmlns:a16="http://schemas.microsoft.com/office/drawing/2014/main" id="{91118138-80A1-0226-B9C9-1BDA45732D72}"/>
              </a:ext>
            </a:extLst>
          </p:cNvPr>
          <p:cNvSpPr/>
          <p:nvPr/>
        </p:nvSpPr>
        <p:spPr>
          <a:xfrm>
            <a:off x="585305" y="2403192"/>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Ministries and </a:t>
            </a:r>
            <a:r>
              <a:rPr lang="en-GB" sz="1200"/>
              <a:t>State Authorities</a:t>
            </a:r>
            <a:endParaRPr lang="en-gb" sz="1200"/>
          </a:p>
        </p:txBody>
      </p:sp>
      <p:sp>
        <p:nvSpPr>
          <p:cNvPr id="13" name="Rectangle 12">
            <a:extLst>
              <a:ext uri="{FF2B5EF4-FFF2-40B4-BE49-F238E27FC236}">
                <a16:creationId xmlns:a16="http://schemas.microsoft.com/office/drawing/2014/main" id="{4E1EBA1D-E1B7-539C-3AEC-6EBD9FA85F05}"/>
              </a:ext>
            </a:extLst>
          </p:cNvPr>
          <p:cNvSpPr/>
          <p:nvPr/>
        </p:nvSpPr>
        <p:spPr>
          <a:xfrm>
            <a:off x="4330067" y="3887924"/>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t>Local government</a:t>
            </a:r>
          </a:p>
        </p:txBody>
      </p:sp>
      <p:sp>
        <p:nvSpPr>
          <p:cNvPr id="14" name="Rectangle 13">
            <a:extLst>
              <a:ext uri="{FF2B5EF4-FFF2-40B4-BE49-F238E27FC236}">
                <a16:creationId xmlns:a16="http://schemas.microsoft.com/office/drawing/2014/main" id="{37473509-3FAA-6EB2-EAC7-404A2B8E2869}"/>
              </a:ext>
            </a:extLst>
          </p:cNvPr>
          <p:cNvSpPr/>
          <p:nvPr/>
        </p:nvSpPr>
        <p:spPr>
          <a:xfrm>
            <a:off x="4330067" y="4217343"/>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US" sz="1200" dirty="0">
                <a:solidFill>
                  <a:schemeClr val="tx1"/>
                </a:solidFill>
              </a:rPr>
              <a:t>Civil Protection Commission for Local Government Cooperation Territory</a:t>
            </a:r>
            <a:endParaRPr lang="en-gb" sz="1200" dirty="0">
              <a:solidFill>
                <a:schemeClr val="tx1"/>
              </a:solidFill>
            </a:endParaRPr>
          </a:p>
        </p:txBody>
      </p:sp>
      <p:sp>
        <p:nvSpPr>
          <p:cNvPr id="15" name="Rectangle 14">
            <a:extLst>
              <a:ext uri="{FF2B5EF4-FFF2-40B4-BE49-F238E27FC236}">
                <a16:creationId xmlns:a16="http://schemas.microsoft.com/office/drawing/2014/main" id="{B5831CD9-1AB6-C2DF-123E-965F797EAF25}"/>
              </a:ext>
            </a:extLst>
          </p:cNvPr>
          <p:cNvSpPr/>
          <p:nvPr/>
        </p:nvSpPr>
        <p:spPr>
          <a:xfrm>
            <a:off x="8046177" y="3887924"/>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SFRS territorial units</a:t>
            </a:r>
          </a:p>
        </p:txBody>
      </p:sp>
      <p:sp>
        <p:nvSpPr>
          <p:cNvPr id="16" name="Rectangle 15">
            <a:extLst>
              <a:ext uri="{FF2B5EF4-FFF2-40B4-BE49-F238E27FC236}">
                <a16:creationId xmlns:a16="http://schemas.microsoft.com/office/drawing/2014/main" id="{BAE42A61-4490-16D9-2261-7B66F2E914F3}"/>
              </a:ext>
            </a:extLst>
          </p:cNvPr>
          <p:cNvSpPr/>
          <p:nvPr/>
        </p:nvSpPr>
        <p:spPr>
          <a:xfrm>
            <a:off x="433006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Merchants</a:t>
            </a:r>
          </a:p>
        </p:txBody>
      </p:sp>
      <p:sp>
        <p:nvSpPr>
          <p:cNvPr id="17" name="Rectangle 16">
            <a:extLst>
              <a:ext uri="{FF2B5EF4-FFF2-40B4-BE49-F238E27FC236}">
                <a16:creationId xmlns:a16="http://schemas.microsoft.com/office/drawing/2014/main" id="{FE4D2D33-355E-A49E-3A75-E8568050001E}"/>
              </a:ext>
            </a:extLst>
          </p:cNvPr>
          <p:cNvSpPr/>
          <p:nvPr/>
        </p:nvSpPr>
        <p:spPr>
          <a:xfrm>
            <a:off x="585305" y="4695049"/>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Public authorities</a:t>
            </a:r>
          </a:p>
        </p:txBody>
      </p:sp>
      <p:sp>
        <p:nvSpPr>
          <p:cNvPr id="18" name="Rectangle 17">
            <a:extLst>
              <a:ext uri="{FF2B5EF4-FFF2-40B4-BE49-F238E27FC236}">
                <a16:creationId xmlns:a16="http://schemas.microsoft.com/office/drawing/2014/main" id="{D3EFDB23-AE5E-08A5-FC14-A924D55C2821}"/>
              </a:ext>
            </a:extLst>
          </p:cNvPr>
          <p:cNvSpPr/>
          <p:nvPr/>
        </p:nvSpPr>
        <p:spPr>
          <a:xfrm>
            <a:off x="804617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on-governmental organisations</a:t>
            </a:r>
          </a:p>
        </p:txBody>
      </p:sp>
      <p:sp>
        <p:nvSpPr>
          <p:cNvPr id="19" name="Rectangle 18">
            <a:extLst>
              <a:ext uri="{FF2B5EF4-FFF2-40B4-BE49-F238E27FC236}">
                <a16:creationId xmlns:a16="http://schemas.microsoft.com/office/drawing/2014/main" id="{E9D445AD-AE1B-D6F6-9899-DC499636CB80}"/>
              </a:ext>
            </a:extLst>
          </p:cNvPr>
          <p:cNvSpPr/>
          <p:nvPr/>
        </p:nvSpPr>
        <p:spPr>
          <a:xfrm>
            <a:off x="4330067" y="5142646"/>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Rescue manager</a:t>
            </a:r>
          </a:p>
        </p:txBody>
      </p:sp>
      <p:sp>
        <p:nvSpPr>
          <p:cNvPr id="20" name="Rectangle 19">
            <a:extLst>
              <a:ext uri="{FF2B5EF4-FFF2-40B4-BE49-F238E27FC236}">
                <a16:creationId xmlns:a16="http://schemas.microsoft.com/office/drawing/2014/main" id="{2C6B7245-5BF9-D26D-0558-DF21878D9152}"/>
              </a:ext>
            </a:extLst>
          </p:cNvPr>
          <p:cNvSpPr/>
          <p:nvPr/>
        </p:nvSpPr>
        <p:spPr>
          <a:xfrm>
            <a:off x="593048"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dirty="0">
                <a:solidFill>
                  <a:schemeClr val="bg1"/>
                </a:solidFill>
              </a:rPr>
              <a:t>Operational services and organisations</a:t>
            </a:r>
          </a:p>
        </p:txBody>
      </p:sp>
      <p:sp>
        <p:nvSpPr>
          <p:cNvPr id="21" name="Rectangle 20">
            <a:extLst>
              <a:ext uri="{FF2B5EF4-FFF2-40B4-BE49-F238E27FC236}">
                <a16:creationId xmlns:a16="http://schemas.microsoft.com/office/drawing/2014/main" id="{2449F95B-E58F-BE24-C5FB-A5994EF02B3B}"/>
              </a:ext>
            </a:extLst>
          </p:cNvPr>
          <p:cNvSpPr/>
          <p:nvPr/>
        </p:nvSpPr>
        <p:spPr>
          <a:xfrm>
            <a:off x="3438559"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ational Armed Forces</a:t>
            </a:r>
          </a:p>
        </p:txBody>
      </p:sp>
      <p:sp>
        <p:nvSpPr>
          <p:cNvPr id="22" name="Rectangle 21">
            <a:extLst>
              <a:ext uri="{FF2B5EF4-FFF2-40B4-BE49-F238E27FC236}">
                <a16:creationId xmlns:a16="http://schemas.microsoft.com/office/drawing/2014/main" id="{4DACEE84-D791-5E9F-9E45-472B71321CC1}"/>
              </a:ext>
            </a:extLst>
          </p:cNvPr>
          <p:cNvSpPr/>
          <p:nvPr/>
        </p:nvSpPr>
        <p:spPr>
          <a:xfrm>
            <a:off x="6214077"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chemeClr val="bg1"/>
                </a:solidFill>
              </a:rPr>
              <a:t>Non-governmental organisations</a:t>
            </a:r>
          </a:p>
        </p:txBody>
      </p:sp>
      <p:sp>
        <p:nvSpPr>
          <p:cNvPr id="23" name="Rectangle 22">
            <a:extLst>
              <a:ext uri="{FF2B5EF4-FFF2-40B4-BE49-F238E27FC236}">
                <a16:creationId xmlns:a16="http://schemas.microsoft.com/office/drawing/2014/main" id="{6393C36F-332A-BF3F-85C5-C38DCF0F2F21}"/>
              </a:ext>
            </a:extLst>
          </p:cNvPr>
          <p:cNvSpPr/>
          <p:nvPr/>
        </p:nvSpPr>
        <p:spPr>
          <a:xfrm>
            <a:off x="4330067" y="3063667"/>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t>State Fire and Rescue Service</a:t>
            </a:r>
          </a:p>
        </p:txBody>
      </p:sp>
      <p:cxnSp>
        <p:nvCxnSpPr>
          <p:cNvPr id="24" name="Straight Connector 23">
            <a:extLst>
              <a:ext uri="{FF2B5EF4-FFF2-40B4-BE49-F238E27FC236}">
                <a16:creationId xmlns:a16="http://schemas.microsoft.com/office/drawing/2014/main" id="{F208B961-7A1E-064A-1BC0-D6EED2C3B25E}"/>
              </a:ext>
            </a:extLst>
          </p:cNvPr>
          <p:cNvCxnSpPr>
            <a:cxnSpLocks/>
            <a:stCxn id="10" idx="2"/>
            <a:endCxn id="10" idx="2"/>
          </p:cNvCxnSpPr>
          <p:nvPr/>
        </p:nvCxnSpPr>
        <p:spPr>
          <a:xfrm>
            <a:off x="6104820" y="3726788"/>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41" name="TextBox 40">
            <a:extLst>
              <a:ext uri="{FF2B5EF4-FFF2-40B4-BE49-F238E27FC236}">
                <a16:creationId xmlns:a16="http://schemas.microsoft.com/office/drawing/2014/main" id="{FA468B0A-49A3-213A-44F6-02A43A9817BC}"/>
              </a:ext>
            </a:extLst>
          </p:cNvPr>
          <p:cNvSpPr txBox="1"/>
          <p:nvPr/>
        </p:nvSpPr>
        <p:spPr>
          <a:xfrm>
            <a:off x="884151" y="1997570"/>
            <a:ext cx="2229887"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National level</a:t>
            </a:r>
          </a:p>
        </p:txBody>
      </p:sp>
      <p:sp>
        <p:nvSpPr>
          <p:cNvPr id="46" name="TextBox 51">
            <a:extLst>
              <a:ext uri="{FF2B5EF4-FFF2-40B4-BE49-F238E27FC236}">
                <a16:creationId xmlns:a16="http://schemas.microsoft.com/office/drawing/2014/main" id="{1F318F65-2866-F9CC-10F6-F650205AE1B3}"/>
              </a:ext>
            </a:extLst>
          </p:cNvPr>
          <p:cNvSpPr txBox="1"/>
          <p:nvPr/>
        </p:nvSpPr>
        <p:spPr>
          <a:xfrm>
            <a:off x="884152" y="5161010"/>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Local level</a:t>
            </a:r>
          </a:p>
        </p:txBody>
      </p:sp>
      <p:sp>
        <p:nvSpPr>
          <p:cNvPr id="45" name="TextBox 50">
            <a:extLst>
              <a:ext uri="{FF2B5EF4-FFF2-40B4-BE49-F238E27FC236}">
                <a16:creationId xmlns:a16="http://schemas.microsoft.com/office/drawing/2014/main" id="{1E3DF3EF-F70A-12C1-709C-CFBA41C855E6}"/>
              </a:ext>
            </a:extLst>
          </p:cNvPr>
          <p:cNvSpPr txBox="1"/>
          <p:nvPr/>
        </p:nvSpPr>
        <p:spPr>
          <a:xfrm>
            <a:off x="884152" y="3976569"/>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600" b="1"/>
              <a:t>Regional level</a:t>
            </a:r>
          </a:p>
        </p:txBody>
      </p:sp>
      <p:sp>
        <p:nvSpPr>
          <p:cNvPr id="57" name="Rectangle 56">
            <a:extLst>
              <a:ext uri="{FF2B5EF4-FFF2-40B4-BE49-F238E27FC236}">
                <a16:creationId xmlns:a16="http://schemas.microsoft.com/office/drawing/2014/main" id="{3F444E0C-49D4-6C03-F7D5-15B668CEEA3F}"/>
              </a:ext>
            </a:extLst>
          </p:cNvPr>
          <p:cNvSpPr/>
          <p:nvPr/>
        </p:nvSpPr>
        <p:spPr>
          <a:xfrm>
            <a:off x="8989593" y="5666774"/>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r>
              <a:rPr lang="en-gb" sz="1200">
                <a:solidFill>
                  <a:srgbClr val="000000"/>
                </a:solidFill>
              </a:rPr>
              <a:t>Legal and natural persons</a:t>
            </a:r>
          </a:p>
        </p:txBody>
      </p:sp>
      <p:cxnSp>
        <p:nvCxnSpPr>
          <p:cNvPr id="52" name="Straight Connector 51">
            <a:extLst>
              <a:ext uri="{FF2B5EF4-FFF2-40B4-BE49-F238E27FC236}">
                <a16:creationId xmlns:a16="http://schemas.microsoft.com/office/drawing/2014/main" id="{9FB50D2E-3E58-A75B-D304-8E03EE562D7B}"/>
              </a:ext>
            </a:extLst>
          </p:cNvPr>
          <p:cNvCxnSpPr>
            <a:stCxn id="12" idx="2"/>
            <a:endCxn id="17" idx="0"/>
          </p:cNvCxnSpPr>
          <p:nvPr/>
        </p:nvCxnSpPr>
        <p:spPr>
          <a:xfrm>
            <a:off x="2360583" y="2734392"/>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E46A761E-0740-F55A-A32B-3A246C0AD30A}"/>
              </a:ext>
            </a:extLst>
          </p:cNvPr>
          <p:cNvCxnSpPr>
            <a:stCxn id="12" idx="3"/>
            <a:endCxn id="11" idx="1"/>
          </p:cNvCxnSpPr>
          <p:nvPr/>
        </p:nvCxnSpPr>
        <p:spPr>
          <a:xfrm flipV="1">
            <a:off x="4135861" y="2568759"/>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BA3B6F97-15C8-8C3B-3269-2639F1BCFF84}"/>
              </a:ext>
            </a:extLst>
          </p:cNvPr>
          <p:cNvCxnSpPr>
            <a:cxnSpLocks/>
            <a:endCxn id="23" idx="1"/>
          </p:cNvCxnSpPr>
          <p:nvPr/>
        </p:nvCxnSpPr>
        <p:spPr>
          <a:xfrm rot="16200000" flipH="1">
            <a:off x="3955266" y="2853966"/>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6" name="Straight Connector 90135">
            <a:extLst>
              <a:ext uri="{FF2B5EF4-FFF2-40B4-BE49-F238E27FC236}">
                <a16:creationId xmlns:a16="http://schemas.microsoft.com/office/drawing/2014/main" id="{BAAD9D89-306F-E56E-47F3-847C2AFF8A22}"/>
              </a:ext>
            </a:extLst>
          </p:cNvPr>
          <p:cNvCxnSpPr>
            <a:stCxn id="10" idx="2"/>
            <a:endCxn id="13" idx="0"/>
          </p:cNvCxnSpPr>
          <p:nvPr/>
        </p:nvCxnSpPr>
        <p:spPr>
          <a:xfrm>
            <a:off x="6104820" y="3726788"/>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9" name="Straight Connector 90138">
            <a:extLst>
              <a:ext uri="{FF2B5EF4-FFF2-40B4-BE49-F238E27FC236}">
                <a16:creationId xmlns:a16="http://schemas.microsoft.com/office/drawing/2014/main" id="{FED8EA30-32BA-5678-6DC3-C0FD69342993}"/>
              </a:ext>
            </a:extLst>
          </p:cNvPr>
          <p:cNvCxnSpPr>
            <a:stCxn id="14" idx="2"/>
            <a:endCxn id="16" idx="0"/>
          </p:cNvCxnSpPr>
          <p:nvPr/>
        </p:nvCxnSpPr>
        <p:spPr>
          <a:xfrm>
            <a:off x="6105083" y="4548543"/>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1" name="Connector: Elbow 90140">
            <a:extLst>
              <a:ext uri="{FF2B5EF4-FFF2-40B4-BE49-F238E27FC236}">
                <a16:creationId xmlns:a16="http://schemas.microsoft.com/office/drawing/2014/main" id="{1FA045BF-7644-BD2B-F3AA-688B3B718503}"/>
              </a:ext>
            </a:extLst>
          </p:cNvPr>
          <p:cNvCxnSpPr>
            <a:stCxn id="17" idx="0"/>
            <a:endCxn id="18" idx="0"/>
          </p:cNvCxnSpPr>
          <p:nvPr/>
        </p:nvCxnSpPr>
        <p:spPr>
          <a:xfrm rot="5400000" flipH="1" flipV="1">
            <a:off x="6090731" y="964744"/>
            <a:ext cx="12700" cy="7460610"/>
          </a:xfrm>
          <a:prstGeom prst="bentConnector3">
            <a:avLst>
              <a:gd name="adj1" fmla="val 733331"/>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4" name="Straight Connector 90143">
            <a:extLst>
              <a:ext uri="{FF2B5EF4-FFF2-40B4-BE49-F238E27FC236}">
                <a16:creationId xmlns:a16="http://schemas.microsoft.com/office/drawing/2014/main" id="{5A8089C6-4E37-4F90-E04B-5625DE0F8E9D}"/>
              </a:ext>
            </a:extLst>
          </p:cNvPr>
          <p:cNvCxnSpPr>
            <a:stCxn id="16" idx="2"/>
            <a:endCxn id="19" idx="0"/>
          </p:cNvCxnSpPr>
          <p:nvPr/>
        </p:nvCxnSpPr>
        <p:spPr>
          <a:xfrm>
            <a:off x="6105083" y="5026315"/>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6" name="Connector: Elbow 90145">
            <a:extLst>
              <a:ext uri="{FF2B5EF4-FFF2-40B4-BE49-F238E27FC236}">
                <a16:creationId xmlns:a16="http://schemas.microsoft.com/office/drawing/2014/main" id="{2CE96940-372B-E57C-B716-C513A5139C10}"/>
              </a:ext>
            </a:extLst>
          </p:cNvPr>
          <p:cNvCxnSpPr>
            <a:stCxn id="17" idx="2"/>
            <a:endCxn id="19" idx="1"/>
          </p:cNvCxnSpPr>
          <p:nvPr/>
        </p:nvCxnSpPr>
        <p:spPr>
          <a:xfrm rot="16200000" flipH="1">
            <a:off x="3204342" y="4182554"/>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8" name="Straight Connector 90147">
            <a:extLst>
              <a:ext uri="{FF2B5EF4-FFF2-40B4-BE49-F238E27FC236}">
                <a16:creationId xmlns:a16="http://schemas.microsoft.com/office/drawing/2014/main" id="{EC1C777B-24BD-24F7-C278-03569C1959B8}"/>
              </a:ext>
            </a:extLst>
          </p:cNvPr>
          <p:cNvCxnSpPr>
            <a:stCxn id="19" idx="2"/>
          </p:cNvCxnSpPr>
          <p:nvPr/>
        </p:nvCxnSpPr>
        <p:spPr>
          <a:xfrm flipH="1">
            <a:off x="6104862" y="5473912"/>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0" name="Connector: Elbow 90149">
            <a:extLst>
              <a:ext uri="{FF2B5EF4-FFF2-40B4-BE49-F238E27FC236}">
                <a16:creationId xmlns:a16="http://schemas.microsoft.com/office/drawing/2014/main" id="{CC496674-3B27-A50C-459B-AAB5432B9F66}"/>
              </a:ext>
            </a:extLst>
          </p:cNvPr>
          <p:cNvCxnSpPr>
            <a:stCxn id="20" idx="0"/>
            <a:endCxn id="57" idx="0"/>
          </p:cNvCxnSpPr>
          <p:nvPr/>
        </p:nvCxnSpPr>
        <p:spPr>
          <a:xfrm rot="5400000" flipH="1" flipV="1">
            <a:off x="6106860" y="1468501"/>
            <a:ext cx="12700" cy="8396545"/>
          </a:xfrm>
          <a:prstGeom prst="bentConnector3">
            <a:avLst>
              <a:gd name="adj1" fmla="val 804165"/>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5" name="Straight Connector 90154">
            <a:extLst>
              <a:ext uri="{FF2B5EF4-FFF2-40B4-BE49-F238E27FC236}">
                <a16:creationId xmlns:a16="http://schemas.microsoft.com/office/drawing/2014/main" id="{63975A85-C7A2-4CCF-AB22-1A648E7256DC}"/>
              </a:ext>
            </a:extLst>
          </p:cNvPr>
          <p:cNvCxnSpPr>
            <a:cxnSpLocks/>
            <a:stCxn id="21" idx="0"/>
          </p:cNvCxnSpPr>
          <p:nvPr/>
        </p:nvCxnSpPr>
        <p:spPr>
          <a:xfrm flipV="1">
            <a:off x="4754255"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1" name="Straight Connector 90160">
            <a:extLst>
              <a:ext uri="{FF2B5EF4-FFF2-40B4-BE49-F238E27FC236}">
                <a16:creationId xmlns:a16="http://schemas.microsoft.com/office/drawing/2014/main" id="{62E2EFFF-DF56-436E-C8BE-E370A4D4FB51}"/>
              </a:ext>
            </a:extLst>
          </p:cNvPr>
          <p:cNvCxnSpPr>
            <a:cxnSpLocks/>
            <a:stCxn id="22" idx="0"/>
          </p:cNvCxnSpPr>
          <p:nvPr/>
        </p:nvCxnSpPr>
        <p:spPr>
          <a:xfrm flipV="1">
            <a:off x="7529772"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5" name="Straight Connector 90164">
            <a:extLst>
              <a:ext uri="{FF2B5EF4-FFF2-40B4-BE49-F238E27FC236}">
                <a16:creationId xmlns:a16="http://schemas.microsoft.com/office/drawing/2014/main" id="{C29B1A8F-A060-1FEC-26D3-ABE7C93017C4}"/>
              </a:ext>
            </a:extLst>
          </p:cNvPr>
          <p:cNvCxnSpPr>
            <a:cxnSpLocks/>
            <a:endCxn id="57" idx="1"/>
          </p:cNvCxnSpPr>
          <p:nvPr/>
        </p:nvCxnSpPr>
        <p:spPr>
          <a:xfrm>
            <a:off x="8845466" y="5832374"/>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0167" name="Title 1">
            <a:extLst>
              <a:ext uri="{FF2B5EF4-FFF2-40B4-BE49-F238E27FC236}">
                <a16:creationId xmlns:a16="http://schemas.microsoft.com/office/drawing/2014/main" id="{653B647E-E9C2-ADAB-D617-118E54CE7745}"/>
              </a:ext>
            </a:extLst>
          </p:cNvPr>
          <p:cNvSpPr>
            <a:spLocks noGrp="1"/>
          </p:cNvSpPr>
          <p:nvPr>
            <p:ph type="title"/>
          </p:nvPr>
        </p:nvSpPr>
        <p:spPr>
          <a:xfrm>
            <a:off x="442913" y="431800"/>
            <a:ext cx="11306175" cy="1387475"/>
          </a:xfrm>
        </p:spPr>
        <p:txBody>
          <a:bodyPr vert="horz" rtlCol="0"/>
          <a:lstStyle/>
          <a:p>
            <a:pPr rtl="0"/>
            <a:r>
              <a:rPr lang="en-GB" dirty="0"/>
              <a:t>Governance</a:t>
            </a:r>
            <a:r>
              <a:rPr lang="en-gb" dirty="0"/>
              <a:t> </a:t>
            </a:r>
            <a:r>
              <a:rPr lang="lv-LV" dirty="0"/>
              <a:t>S</a:t>
            </a:r>
            <a:r>
              <a:rPr lang="en-gb" dirty="0" err="1"/>
              <a:t>tructure</a:t>
            </a:r>
            <a:r>
              <a:rPr lang="en-gb" dirty="0"/>
              <a:t> in </a:t>
            </a:r>
            <a:r>
              <a:rPr lang="en-US" dirty="0"/>
              <a:t>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r>
              <a:rPr lang="en-US" dirty="0"/>
              <a:t> </a:t>
            </a:r>
            <a:endParaRPr lang="lv-LV" dirty="0"/>
          </a:p>
        </p:txBody>
      </p:sp>
      <p:sp>
        <p:nvSpPr>
          <p:cNvPr id="3" name="object 24">
            <a:extLst>
              <a:ext uri="{FF2B5EF4-FFF2-40B4-BE49-F238E27FC236}">
                <a16:creationId xmlns:a16="http://schemas.microsoft.com/office/drawing/2014/main" id="{FF916618-1CCB-BE8E-FD90-CBE4C073D013}"/>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en-GB" smtClean="0"/>
              <a:pPr rtl="0"/>
              <a:t>14</a:t>
            </a:fld>
            <a:endParaRPr lang="en-GB"/>
          </a:p>
        </p:txBody>
      </p:sp>
      <p:sp>
        <p:nvSpPr>
          <p:cNvPr id="38" name="Rectangle 37">
            <a:extLst>
              <a:ext uri="{FF2B5EF4-FFF2-40B4-BE49-F238E27FC236}">
                <a16:creationId xmlns:a16="http://schemas.microsoft.com/office/drawing/2014/main" id="{AB77D2D2-26C0-042F-B4C2-A6272C772DEA}"/>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4" name="Group 3">
            <a:extLst>
              <a:ext uri="{FF2B5EF4-FFF2-40B4-BE49-F238E27FC236}">
                <a16:creationId xmlns:a16="http://schemas.microsoft.com/office/drawing/2014/main" id="{33FA5EAD-ACBC-F83D-6968-FFEE78A2B144}"/>
              </a:ext>
            </a:extLst>
          </p:cNvPr>
          <p:cNvGrpSpPr/>
          <p:nvPr/>
        </p:nvGrpSpPr>
        <p:grpSpPr>
          <a:xfrm>
            <a:off x="6597001" y="124926"/>
            <a:ext cx="5150498" cy="230498"/>
            <a:chOff x="6351171" y="122774"/>
            <a:chExt cx="5150498" cy="230498"/>
          </a:xfrm>
        </p:grpSpPr>
        <p:sp>
          <p:nvSpPr>
            <p:cNvPr id="6" name="Rectangle 5">
              <a:extLst>
                <a:ext uri="{FF2B5EF4-FFF2-40B4-BE49-F238E27FC236}">
                  <a16:creationId xmlns:a16="http://schemas.microsoft.com/office/drawing/2014/main" id="{FB433AD8-4C4A-AEF0-45A5-11AE9CA1AB7D}"/>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25" name="Rectangle 24">
              <a:extLst>
                <a:ext uri="{FF2B5EF4-FFF2-40B4-BE49-F238E27FC236}">
                  <a16:creationId xmlns:a16="http://schemas.microsoft.com/office/drawing/2014/main" id="{58E7A171-B043-97F1-D598-8EDE39D478CD}"/>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33" name="Rectangle 32">
              <a:extLst>
                <a:ext uri="{FF2B5EF4-FFF2-40B4-BE49-F238E27FC236}">
                  <a16:creationId xmlns:a16="http://schemas.microsoft.com/office/drawing/2014/main" id="{C9C0EF39-AF24-44DD-7A28-C5B6B061D88A}"/>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34" name="Rectangle 33">
              <a:extLst>
                <a:ext uri="{FF2B5EF4-FFF2-40B4-BE49-F238E27FC236}">
                  <a16:creationId xmlns:a16="http://schemas.microsoft.com/office/drawing/2014/main" id="{C8F9F267-3B6C-C0D8-06DF-513BA1FE3467}"/>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35" name="Rectangle 34">
              <a:extLst>
                <a:ext uri="{FF2B5EF4-FFF2-40B4-BE49-F238E27FC236}">
                  <a16:creationId xmlns:a16="http://schemas.microsoft.com/office/drawing/2014/main" id="{66EB6857-5952-EACB-F7D8-BBB9B19A5C33}"/>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36" name="Rectangle 35">
              <a:extLst>
                <a:ext uri="{FF2B5EF4-FFF2-40B4-BE49-F238E27FC236}">
                  <a16:creationId xmlns:a16="http://schemas.microsoft.com/office/drawing/2014/main" id="{4598B8F7-77D7-23A0-01E6-FBD9B46F7C76}"/>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Tree>
    <p:extLst>
      <p:ext uri="{BB962C8B-B14F-4D97-AF65-F5344CB8AC3E}">
        <p14:creationId xmlns:p14="http://schemas.microsoft.com/office/powerpoint/2010/main" val="38170972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FDC09029-2632-F2A2-F3C1-B999D89E6C97}"/>
              </a:ext>
            </a:extLst>
          </p:cNvPr>
          <p:cNvGraphicFramePr>
            <a:graphicFrameLocks noChangeAspect="1"/>
          </p:cNvGraphicFramePr>
          <p:nvPr>
            <p:custDataLst>
              <p:tags r:id="rId1"/>
            </p:custDataLst>
            <p:extLst>
              <p:ext uri="{D42A27DB-BD31-4B8C-83A1-F6EECF244321}">
                <p14:modId xmlns:p14="http://schemas.microsoft.com/office/powerpoint/2010/main" val="317418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2" name="think-cell data - do not delete" hidden="1">
                        <a:extLst>
                          <a:ext uri="{FF2B5EF4-FFF2-40B4-BE49-F238E27FC236}">
                            <a16:creationId xmlns:a16="http://schemas.microsoft.com/office/drawing/2014/main" id="{FDC09029-2632-F2A2-F3C1-B999D89E6C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EE38E3C5-17C6-995C-2B10-DA6E76B744CF}"/>
              </a:ext>
            </a:extLst>
          </p:cNvPr>
          <p:cNvSpPr/>
          <p:nvPr/>
        </p:nvSpPr>
        <p:spPr>
          <a:xfrm>
            <a:off x="442913" y="2115728"/>
            <a:ext cx="3670300" cy="609183"/>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50"/>
              <a:t>supervise</a:t>
            </a:r>
            <a:r>
              <a:rPr lang="lv-LV" sz="1350"/>
              <a:t>s</a:t>
            </a:r>
            <a:r>
              <a:rPr lang="en-US" sz="1350"/>
              <a:t> the operation of the system of civil protection and implementation of the tasks thereof</a:t>
            </a:r>
            <a:endParaRPr kumimoji="0" lang="lv-LV" sz="1350" b="1" i="0" u="none" strike="noStrike" kern="0" cap="none" spc="0" normalizeH="0" baseline="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442913" y="432001"/>
            <a:ext cx="11306175" cy="1387274"/>
          </a:xfrm>
        </p:spPr>
        <p:txBody>
          <a:bodyPr vert="horz" rtlCol="0"/>
          <a:lstStyle/>
          <a:p>
            <a:pPr rtl="0"/>
            <a:r>
              <a:rPr lang="en-gb" dirty="0"/>
              <a:t>Civil </a:t>
            </a:r>
            <a:r>
              <a:rPr lang="lv-LV" dirty="0"/>
              <a:t>P</a:t>
            </a:r>
            <a:r>
              <a:rPr lang="en-gb" dirty="0" err="1"/>
              <a:t>rotection</a:t>
            </a:r>
            <a:r>
              <a:rPr lang="en-gb" dirty="0"/>
              <a:t> and </a:t>
            </a:r>
            <a:r>
              <a:rPr lang="lv-LV" dirty="0"/>
              <a:t>D</a:t>
            </a:r>
            <a:r>
              <a:rPr lang="en-gb" dirty="0" err="1"/>
              <a:t>isaster</a:t>
            </a:r>
            <a:r>
              <a:rPr lang="en-gb" dirty="0"/>
              <a:t> </a:t>
            </a:r>
            <a:r>
              <a:rPr lang="lv-LV" dirty="0"/>
              <a:t>M</a:t>
            </a:r>
            <a:r>
              <a:rPr lang="en-gb" dirty="0" err="1"/>
              <a:t>anagement</a:t>
            </a:r>
            <a:r>
              <a:rPr lang="en-gb" dirty="0"/>
              <a:t> </a:t>
            </a:r>
            <a:r>
              <a:rPr lang="lv-LV" dirty="0"/>
              <a:t>A</a:t>
            </a:r>
            <a:r>
              <a:rPr lang="en-gb" dirty="0" err="1"/>
              <a:t>uthorities</a:t>
            </a:r>
            <a:endParaRPr lang="en-gb" dirty="0"/>
          </a:p>
        </p:txBody>
      </p:sp>
      <p:sp>
        <p:nvSpPr>
          <p:cNvPr id="4" name="Slide Number Placeholder 3"/>
          <p:cNvSpPr>
            <a:spLocks noGrp="1"/>
          </p:cNvSpPr>
          <p:nvPr>
            <p:ph type="sldNum" sz="quarter" idx="11"/>
          </p:nvPr>
        </p:nvSpPr>
        <p:spPr>
          <a:xfrm>
            <a:off x="9984296" y="6492240"/>
            <a:ext cx="1764792" cy="137160"/>
          </a:xfrm>
        </p:spPr>
        <p:txBody>
          <a:bodyPr rtlCol="0"/>
          <a:lstStyle/>
          <a:p>
            <a:pPr rtl="0"/>
            <a:fld id="{F3B79C7E-2A42-4703-9B32-3E662761BF60}" type="slidenum">
              <a:rPr lang="lv-LV" smtClean="0"/>
              <a:pPr rtl="0"/>
              <a:t>15</a:t>
            </a:fld>
            <a:endParaRPr lang="lv-LV"/>
          </a:p>
        </p:txBody>
      </p:sp>
      <p:sp>
        <p:nvSpPr>
          <p:cNvPr id="23" name="Rectangle 22">
            <a:extLst>
              <a:ext uri="{FF2B5EF4-FFF2-40B4-BE49-F238E27FC236}">
                <a16:creationId xmlns:a16="http://schemas.microsoft.com/office/drawing/2014/main" id="{E45F1F02-C964-720E-8F08-A32EE693FF61}"/>
              </a:ext>
            </a:extLst>
          </p:cNvPr>
          <p:cNvSpPr/>
          <p:nvPr/>
        </p:nvSpPr>
        <p:spPr>
          <a:xfrm>
            <a:off x="442913" y="3099335"/>
            <a:ext cx="3670300" cy="120914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ensure the implementation of civil protection tasks, development of draft laws and regulations necessary in the field and disaster management coordination at a national, regional and local level</a:t>
            </a:r>
            <a:endParaRPr lang="en-gb" sz="1400"/>
          </a:p>
        </p:txBody>
      </p:sp>
      <p:sp>
        <p:nvSpPr>
          <p:cNvPr id="24" name="Rectangle 23">
            <a:extLst>
              <a:ext uri="{FF2B5EF4-FFF2-40B4-BE49-F238E27FC236}">
                <a16:creationId xmlns:a16="http://schemas.microsoft.com/office/drawing/2014/main" id="{DEEC34F6-0FCC-D2C8-A276-257FA960AE79}"/>
              </a:ext>
            </a:extLst>
          </p:cNvPr>
          <p:cNvSpPr/>
          <p:nvPr/>
        </p:nvSpPr>
        <p:spPr>
          <a:xfrm>
            <a:off x="442913" y="1827213"/>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Prime Minister</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57480EF7-E26C-79B3-6FE4-6D6369B602B9}"/>
              </a:ext>
            </a:extLst>
          </p:cNvPr>
          <p:cNvSpPr/>
          <p:nvPr/>
        </p:nvSpPr>
        <p:spPr>
          <a:xfrm>
            <a:off x="442913" y="2809525"/>
            <a:ext cx="3670300" cy="28800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ectoral ministrie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1BF21BD-8D7C-A307-97CC-E3851ADAD998}"/>
              </a:ext>
            </a:extLst>
          </p:cNvPr>
          <p:cNvSpPr/>
          <p:nvPr/>
        </p:nvSpPr>
        <p:spPr>
          <a:xfrm>
            <a:off x="442913" y="4466880"/>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Head of state and local government</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10FDC9F1-0062-43E8-295B-15266D46CB81}"/>
              </a:ext>
            </a:extLst>
          </p:cNvPr>
          <p:cNvSpPr/>
          <p:nvPr/>
        </p:nvSpPr>
        <p:spPr>
          <a:xfrm>
            <a:off x="442913" y="4754880"/>
            <a:ext cx="3670300" cy="1417320"/>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400"/>
              <a:t>p</a:t>
            </a:r>
            <a:r>
              <a:rPr lang="en-US" sz="1400" err="1"/>
              <a:t>lan</a:t>
            </a:r>
            <a:r>
              <a:rPr lang="lv-LV" sz="1400"/>
              <a:t>s</a:t>
            </a:r>
            <a:r>
              <a:rPr lang="en-US" sz="1400"/>
              <a:t> and implement</a:t>
            </a:r>
            <a:r>
              <a:rPr lang="lv-LV" sz="1400"/>
              <a:t>s</a:t>
            </a:r>
            <a:r>
              <a:rPr lang="en-US" sz="1400"/>
              <a:t> the necessary action to ensure uninterrupted operation of the State authority in case of a disaster or threats thereof</a:t>
            </a:r>
            <a:r>
              <a:rPr lang="lv-LV" sz="1400"/>
              <a:t>, </a:t>
            </a:r>
            <a:r>
              <a:rPr lang="en-US" sz="1400"/>
              <a:t>ensure accurate and timely fulfilment of the measures determined</a:t>
            </a:r>
            <a:r>
              <a:rPr lang="lv-LV" sz="1400"/>
              <a:t> </a:t>
            </a:r>
            <a:r>
              <a:rPr lang="lv-LV" sz="1400" err="1"/>
              <a:t>in</a:t>
            </a:r>
            <a:r>
              <a:rPr lang="lv-LV" sz="1400"/>
              <a:t> the </a:t>
            </a:r>
            <a:r>
              <a:rPr lang="lv-LV" sz="1400" err="1"/>
              <a:t>civil</a:t>
            </a:r>
            <a:r>
              <a:rPr lang="lv-LV" sz="1400"/>
              <a:t> </a:t>
            </a:r>
            <a:r>
              <a:rPr lang="lv-LV" sz="1400" err="1"/>
              <a:t>protection</a:t>
            </a:r>
            <a:r>
              <a:rPr lang="lv-LV" sz="1400"/>
              <a:t> </a:t>
            </a:r>
            <a:r>
              <a:rPr lang="lv-LV" sz="1400" err="1"/>
              <a:t>plans</a:t>
            </a:r>
            <a:endParaRPr lang="en-gb" sz="1400"/>
          </a:p>
        </p:txBody>
      </p:sp>
      <p:sp>
        <p:nvSpPr>
          <p:cNvPr id="51" name="Rectangle 50">
            <a:extLst>
              <a:ext uri="{FF2B5EF4-FFF2-40B4-BE49-F238E27FC236}">
                <a16:creationId xmlns:a16="http://schemas.microsoft.com/office/drawing/2014/main" id="{B4FD485E-F167-8AA9-CB6E-FE1259AA9522}"/>
              </a:ext>
            </a:extLst>
          </p:cNvPr>
          <p:cNvSpPr/>
          <p:nvPr/>
        </p:nvSpPr>
        <p:spPr>
          <a:xfrm>
            <a:off x="4260850" y="4754562"/>
            <a:ext cx="3670300" cy="141763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t>coordinate</a:t>
            </a:r>
            <a:r>
              <a:rPr lang="lv-LV" sz="1400"/>
              <a:t>s</a:t>
            </a:r>
            <a:r>
              <a:rPr lang="en-gb" sz="1400"/>
              <a:t> disaster management for local disasters in its administrative area </a:t>
            </a:r>
            <a:r>
              <a:rPr lang="lv-LV" sz="1400"/>
              <a:t>– </a:t>
            </a:r>
            <a:r>
              <a:rPr lang="en-gb" sz="1400"/>
              <a:t>collapse of buildings and structures, heating, water supply, wastewater and sewerage system emergencies</a:t>
            </a:r>
          </a:p>
        </p:txBody>
      </p:sp>
      <p:sp>
        <p:nvSpPr>
          <p:cNvPr id="52" name="Rectangle 51">
            <a:extLst>
              <a:ext uri="{FF2B5EF4-FFF2-40B4-BE49-F238E27FC236}">
                <a16:creationId xmlns:a16="http://schemas.microsoft.com/office/drawing/2014/main" id="{561CDB54-0B11-4B9A-A599-38447B5D47A6}"/>
              </a:ext>
            </a:extLst>
          </p:cNvPr>
          <p:cNvSpPr/>
          <p:nvPr/>
        </p:nvSpPr>
        <p:spPr>
          <a:xfrm>
            <a:off x="4260850" y="1827213"/>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Ministry of the Interior</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5992168-C230-8132-71E4-1A278C128433}"/>
              </a:ext>
            </a:extLst>
          </p:cNvPr>
          <p:cNvSpPr/>
          <p:nvPr/>
        </p:nvSpPr>
        <p:spPr>
          <a:xfrm>
            <a:off x="4260850" y="2116138"/>
            <a:ext cx="3670300" cy="534988"/>
          </a:xfrm>
          <a:prstGeom prst="rect">
            <a:avLst/>
          </a:prstGeom>
          <a:solidFill>
            <a:schemeClr val="bg1">
              <a:lumMod val="95000"/>
            </a:schemeClr>
          </a:solidFill>
          <a:ln w="25400" cap="flat" cmpd="sng" algn="ctr">
            <a:noFill/>
            <a:prstDash val="solid"/>
          </a:ln>
          <a:effectLst/>
        </p:spPr>
        <p:txBody>
          <a:bodyPr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50"/>
              <a:t>supervises the operation of the system of civil protection and implementation of the tasks thereof</a:t>
            </a:r>
          </a:p>
        </p:txBody>
      </p:sp>
      <p:sp>
        <p:nvSpPr>
          <p:cNvPr id="54" name="Rectangle 53">
            <a:extLst>
              <a:ext uri="{FF2B5EF4-FFF2-40B4-BE49-F238E27FC236}">
                <a16:creationId xmlns:a16="http://schemas.microsoft.com/office/drawing/2014/main" id="{8E63A1AA-701B-5F45-B838-1BDFB0811BF3}"/>
              </a:ext>
            </a:extLst>
          </p:cNvPr>
          <p:cNvSpPr/>
          <p:nvPr/>
        </p:nvSpPr>
        <p:spPr>
          <a:xfrm>
            <a:off x="4260850" y="2809875"/>
            <a:ext cx="3670300" cy="4826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Chairperson</a:t>
            </a:r>
            <a:r>
              <a:rPr lang="en-gb" sz="1400" b="1" dirty="0">
                <a:solidFill>
                  <a:schemeClr val="bg1"/>
                </a:solidFill>
              </a:rPr>
              <a:t> of the </a:t>
            </a:r>
            <a:r>
              <a:rPr lang="en-GB" sz="1400" b="1" dirty="0">
                <a:solidFill>
                  <a:schemeClr val="bg1"/>
                </a:solidFill>
              </a:rPr>
              <a:t>Local </a:t>
            </a:r>
            <a:br>
              <a:rPr lang="en-GB" sz="1400" b="1" dirty="0">
                <a:solidFill>
                  <a:schemeClr val="bg1"/>
                </a:solidFill>
              </a:rPr>
            </a:br>
            <a:r>
              <a:rPr lang="en-GB" sz="1400" b="1" dirty="0">
                <a:solidFill>
                  <a:schemeClr val="bg1"/>
                </a:solidFill>
              </a:rPr>
              <a:t>Government Council</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829EF3D-2765-04A5-F92B-707E4ECA376A}"/>
              </a:ext>
            </a:extLst>
          </p:cNvPr>
          <p:cNvSpPr/>
          <p:nvPr/>
        </p:nvSpPr>
        <p:spPr>
          <a:xfrm>
            <a:off x="4260850" y="3290484"/>
            <a:ext cx="3670300" cy="1017991"/>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manage</a:t>
            </a:r>
            <a:r>
              <a:rPr lang="lv-LV" sz="1400"/>
              <a:t>s</a:t>
            </a:r>
            <a:r>
              <a:rPr lang="en-US" sz="1400"/>
              <a:t> the implementation of the civil protection tasks in the local government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A9C4FCB5-6C8F-A789-CBA3-6C64ACB2C6A7}"/>
              </a:ext>
            </a:extLst>
          </p:cNvPr>
          <p:cNvSpPr/>
          <p:nvPr/>
        </p:nvSpPr>
        <p:spPr>
          <a:xfrm>
            <a:off x="4260850" y="4467542"/>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Local Government</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5E31F34-FCB1-0D67-2136-2084D697E02B}"/>
              </a:ext>
            </a:extLst>
          </p:cNvPr>
          <p:cNvSpPr/>
          <p:nvPr/>
        </p:nvSpPr>
        <p:spPr>
          <a:xfrm>
            <a:off x="8078788" y="3003550"/>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tate Fire and Rescue Service</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B44BA6E0-43A3-4DFC-7D97-393B65228ECB}"/>
              </a:ext>
            </a:extLst>
          </p:cNvPr>
          <p:cNvSpPr/>
          <p:nvPr/>
        </p:nvSpPr>
        <p:spPr>
          <a:xfrm>
            <a:off x="8078788" y="2309298"/>
            <a:ext cx="3670300" cy="53498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t>manage</a:t>
            </a:r>
            <a:r>
              <a:rPr lang="lv-LV" sz="1400" dirty="0"/>
              <a:t>s</a:t>
            </a:r>
            <a:r>
              <a:rPr lang="en-US" sz="1400" dirty="0"/>
              <a:t>, coordinate</a:t>
            </a:r>
            <a:r>
              <a:rPr lang="lv-LV" sz="1400" dirty="0"/>
              <a:t>s</a:t>
            </a:r>
            <a:r>
              <a:rPr lang="en-US" sz="1400" dirty="0"/>
              <a:t> and control</a:t>
            </a:r>
            <a:r>
              <a:rPr lang="lv-LV" sz="1400" dirty="0"/>
              <a:t>s</a:t>
            </a:r>
            <a:r>
              <a:rPr lang="en-US" sz="1400" dirty="0"/>
              <a:t> the operation of the system of civil protection</a:t>
            </a:r>
            <a:endParaRPr lang="en-gb" sz="1400" dirty="0"/>
          </a:p>
        </p:txBody>
      </p:sp>
      <p:sp>
        <p:nvSpPr>
          <p:cNvPr id="59" name="Rectangle 58">
            <a:extLst>
              <a:ext uri="{FF2B5EF4-FFF2-40B4-BE49-F238E27FC236}">
                <a16:creationId xmlns:a16="http://schemas.microsoft.com/office/drawing/2014/main" id="{6B444EF6-5BE0-7B70-8CD4-262B2EFDD437}"/>
              </a:ext>
            </a:extLst>
          </p:cNvPr>
          <p:cNvSpPr/>
          <p:nvPr/>
        </p:nvSpPr>
        <p:spPr>
          <a:xfrm>
            <a:off x="8078788" y="1827213"/>
            <a:ext cx="3670300" cy="482085"/>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Civil Protection Commission for Local Government Cooperation Territory</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EEFC052F-1E24-EE1F-2A55-AFB2ACA441EF}"/>
              </a:ext>
            </a:extLst>
          </p:cNvPr>
          <p:cNvSpPr/>
          <p:nvPr/>
        </p:nvSpPr>
        <p:spPr>
          <a:xfrm>
            <a:off x="8078788" y="3290484"/>
            <a:ext cx="3670300" cy="1017991"/>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t>coordinates measures in the event of a disaster or its threat</a:t>
            </a:r>
            <a:endParaRPr kumimoji="0" lang="lv-LV" sz="1400" b="1" i="0" u="none" strike="noStrike" kern="0" cap="none" spc="0" normalizeH="0" baseline="0">
              <a:ln>
                <a:noFill/>
              </a:ln>
              <a:solidFill>
                <a:srgbClr val="000000"/>
              </a:solidFill>
              <a:effectLst/>
              <a:uLnTx/>
              <a:uFillTx/>
              <a:latin typeface="Arial"/>
              <a:ea typeface="+mn-ea"/>
              <a:cs typeface="+mn-cs"/>
            </a:endParaRPr>
          </a:p>
        </p:txBody>
      </p:sp>
      <p:pic>
        <p:nvPicPr>
          <p:cNvPr id="62" name="Picture 61">
            <a:extLst>
              <a:ext uri="{FF2B5EF4-FFF2-40B4-BE49-F238E27FC236}">
                <a16:creationId xmlns:a16="http://schemas.microsoft.com/office/drawing/2014/main" id="{A1306CF3-0256-36AB-C2B9-F0C10FE89F58}"/>
              </a:ext>
            </a:extLst>
          </p:cNvPr>
          <p:cNvPicPr>
            <a:picLocks noChangeAspect="1"/>
          </p:cNvPicPr>
          <p:nvPr/>
        </p:nvPicPr>
        <p:blipFill rotWithShape="1">
          <a:blip r:embed="rId5"/>
          <a:srcRect t="17402"/>
          <a:stretch/>
        </p:blipFill>
        <p:spPr>
          <a:xfrm>
            <a:off x="8078786" y="4466880"/>
            <a:ext cx="3670301" cy="1705319"/>
          </a:xfrm>
          <a:prstGeom prst="rect">
            <a:avLst/>
          </a:prstGeom>
        </p:spPr>
      </p:pic>
      <p:sp>
        <p:nvSpPr>
          <p:cNvPr id="71" name="Rectangle 70">
            <a:extLst>
              <a:ext uri="{FF2B5EF4-FFF2-40B4-BE49-F238E27FC236}">
                <a16:creationId xmlns:a16="http://schemas.microsoft.com/office/drawing/2014/main" id="{A18E4CFB-C614-EEB8-9F22-5BCFB0E4794F}"/>
              </a:ext>
            </a:extLst>
          </p:cNvPr>
          <p:cNvSpPr/>
          <p:nvPr/>
        </p:nvSpPr>
        <p:spPr>
          <a:xfrm>
            <a:off x="442913" y="1827213"/>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881DEF99-D4C6-55BA-956F-1D8578FF812B}"/>
              </a:ext>
            </a:extLst>
          </p:cNvPr>
          <p:cNvSpPr/>
          <p:nvPr/>
        </p:nvSpPr>
        <p:spPr>
          <a:xfrm>
            <a:off x="442913" y="2809525"/>
            <a:ext cx="72000" cy="288000"/>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78B07236-4649-F429-1521-1E756BB479F4}"/>
              </a:ext>
            </a:extLst>
          </p:cNvPr>
          <p:cNvSpPr/>
          <p:nvPr/>
        </p:nvSpPr>
        <p:spPr>
          <a:xfrm>
            <a:off x="442913" y="4466880"/>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E7205BC0-CD6F-37FB-E7A8-11E2B6D030B6}"/>
              </a:ext>
            </a:extLst>
          </p:cNvPr>
          <p:cNvSpPr/>
          <p:nvPr/>
        </p:nvSpPr>
        <p:spPr>
          <a:xfrm>
            <a:off x="4260850" y="1827213"/>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09F003D-2BCA-88C0-5842-A181453CF1F7}"/>
              </a:ext>
            </a:extLst>
          </p:cNvPr>
          <p:cNvSpPr/>
          <p:nvPr/>
        </p:nvSpPr>
        <p:spPr>
          <a:xfrm>
            <a:off x="4260850" y="2809525"/>
            <a:ext cx="72000" cy="482084"/>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95A84400-7ED0-6145-9F45-252060FA706B}"/>
              </a:ext>
            </a:extLst>
          </p:cNvPr>
          <p:cNvSpPr/>
          <p:nvPr/>
        </p:nvSpPr>
        <p:spPr>
          <a:xfrm>
            <a:off x="4260850" y="4467542"/>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E2B14FFD-89ED-0A4E-6408-0C0AEFFB101A}"/>
              </a:ext>
            </a:extLst>
          </p:cNvPr>
          <p:cNvSpPr/>
          <p:nvPr/>
        </p:nvSpPr>
        <p:spPr>
          <a:xfrm>
            <a:off x="8078788" y="3003550"/>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4C152AB0-056B-8D1F-7150-01AE827488E0}"/>
              </a:ext>
            </a:extLst>
          </p:cNvPr>
          <p:cNvSpPr/>
          <p:nvPr/>
        </p:nvSpPr>
        <p:spPr>
          <a:xfrm>
            <a:off x="8078788" y="1827213"/>
            <a:ext cx="72000" cy="482085"/>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8E1F6C2-4D9A-2180-E8A1-590F485CB304}"/>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3" name="Group 2">
            <a:extLst>
              <a:ext uri="{FF2B5EF4-FFF2-40B4-BE49-F238E27FC236}">
                <a16:creationId xmlns:a16="http://schemas.microsoft.com/office/drawing/2014/main" id="{AE257426-4014-B52D-3C8F-D7B6EF73B785}"/>
              </a:ext>
            </a:extLst>
          </p:cNvPr>
          <p:cNvGrpSpPr/>
          <p:nvPr/>
        </p:nvGrpSpPr>
        <p:grpSpPr>
          <a:xfrm>
            <a:off x="6597001" y="124926"/>
            <a:ext cx="5150498" cy="230498"/>
            <a:chOff x="6351171" y="122774"/>
            <a:chExt cx="5150498" cy="230498"/>
          </a:xfrm>
        </p:grpSpPr>
        <p:sp>
          <p:nvSpPr>
            <p:cNvPr id="5" name="Rectangle 4">
              <a:extLst>
                <a:ext uri="{FF2B5EF4-FFF2-40B4-BE49-F238E27FC236}">
                  <a16:creationId xmlns:a16="http://schemas.microsoft.com/office/drawing/2014/main" id="{6D4F17ED-F3C6-3EEB-FFC8-E5378F905956}"/>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6" name="Rectangle 5">
              <a:extLst>
                <a:ext uri="{FF2B5EF4-FFF2-40B4-BE49-F238E27FC236}">
                  <a16:creationId xmlns:a16="http://schemas.microsoft.com/office/drawing/2014/main" id="{BB1D69FE-CAA7-2385-02D6-1A7EAC2A5498}"/>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7" name="Rectangle 6">
              <a:extLst>
                <a:ext uri="{FF2B5EF4-FFF2-40B4-BE49-F238E27FC236}">
                  <a16:creationId xmlns:a16="http://schemas.microsoft.com/office/drawing/2014/main" id="{41773896-1F7A-1AAB-9F7B-C89D34FDB3C1}"/>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8" name="Rectangle 7">
              <a:extLst>
                <a:ext uri="{FF2B5EF4-FFF2-40B4-BE49-F238E27FC236}">
                  <a16:creationId xmlns:a16="http://schemas.microsoft.com/office/drawing/2014/main" id="{6F536CF0-5554-43E6-154B-640E27C96850}"/>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9" name="Rectangle 8">
              <a:extLst>
                <a:ext uri="{FF2B5EF4-FFF2-40B4-BE49-F238E27FC236}">
                  <a16:creationId xmlns:a16="http://schemas.microsoft.com/office/drawing/2014/main" id="{581B6AF9-C629-AC96-C8A6-CFA55B97B3A7}"/>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10" name="Rectangle 9">
              <a:extLst>
                <a:ext uri="{FF2B5EF4-FFF2-40B4-BE49-F238E27FC236}">
                  <a16:creationId xmlns:a16="http://schemas.microsoft.com/office/drawing/2014/main" id="{2EA28E3E-E83A-1D80-34C8-5E987BA29E51}"/>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Tree>
    <p:extLst>
      <p:ext uri="{BB962C8B-B14F-4D97-AF65-F5344CB8AC3E}">
        <p14:creationId xmlns:p14="http://schemas.microsoft.com/office/powerpoint/2010/main" val="3128847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71505FF-FF98-D3FF-BE92-489894397393}"/>
              </a:ext>
            </a:extLst>
          </p:cNvPr>
          <p:cNvPicPr>
            <a:picLocks noChangeAspect="1"/>
          </p:cNvPicPr>
          <p:nvPr/>
        </p:nvPicPr>
        <p:blipFill rotWithShape="1">
          <a:blip r:embed="rId3"/>
          <a:srcRect t="65717" b="2122"/>
          <a:stretch/>
        </p:blipFill>
        <p:spPr>
          <a:xfrm>
            <a:off x="442913" y="3748880"/>
            <a:ext cx="11306174" cy="2424115"/>
          </a:xfrm>
          <a:prstGeom prst="rect">
            <a:avLst/>
          </a:prstGeom>
        </p:spPr>
      </p:pic>
      <p:sp>
        <p:nvSpPr>
          <p:cNvPr id="31" name="Title 30">
            <a:extLst>
              <a:ext uri="{FF2B5EF4-FFF2-40B4-BE49-F238E27FC236}">
                <a16:creationId xmlns:a16="http://schemas.microsoft.com/office/drawing/2014/main" id="{FAB8C7BF-E397-506D-FF45-BC8578AECA02}"/>
              </a:ext>
            </a:extLst>
          </p:cNvPr>
          <p:cNvSpPr>
            <a:spLocks noGrp="1"/>
          </p:cNvSpPr>
          <p:nvPr>
            <p:ph type="title"/>
          </p:nvPr>
        </p:nvSpPr>
        <p:spPr>
          <a:xfrm>
            <a:off x="442913" y="431800"/>
            <a:ext cx="11306175" cy="1387475"/>
          </a:xfrm>
        </p:spPr>
        <p:txBody>
          <a:bodyPr vert="horz" rtlCol="0"/>
          <a:lstStyle/>
          <a:p>
            <a:pPr rtl="0"/>
            <a:r>
              <a:rPr lang="en-US" dirty="0"/>
              <a:t>The </a:t>
            </a:r>
            <a:r>
              <a:rPr lang="lv-LV" dirty="0"/>
              <a:t>P</a:t>
            </a:r>
            <a:r>
              <a:rPr lang="en-US" dirty="0" err="1"/>
              <a:t>rinciple</a:t>
            </a:r>
            <a:r>
              <a:rPr lang="en-US" dirty="0"/>
              <a:t> of </a:t>
            </a:r>
            <a:r>
              <a:rPr lang="lv-LV" dirty="0"/>
              <a:t>C</a:t>
            </a:r>
            <a:r>
              <a:rPr lang="en-US" dirty="0"/>
              <a:t>o-operation of </a:t>
            </a:r>
            <a:r>
              <a:rPr lang="lv-LV" dirty="0"/>
              <a:t>T</a:t>
            </a:r>
            <a:r>
              <a:rPr lang="en-US" dirty="0" err="1"/>
              <a:t>erritories</a:t>
            </a:r>
            <a:r>
              <a:rPr lang="lv-LV" dirty="0"/>
              <a:t> – </a:t>
            </a:r>
            <a:r>
              <a:rPr lang="en-US" dirty="0"/>
              <a:t>the </a:t>
            </a:r>
            <a:r>
              <a:rPr lang="lv-LV" dirty="0"/>
              <a:t>B</a:t>
            </a:r>
            <a:r>
              <a:rPr lang="en-US" dirty="0" err="1"/>
              <a:t>asis</a:t>
            </a:r>
            <a:r>
              <a:rPr lang="en-US" dirty="0"/>
              <a:t> for the </a:t>
            </a:r>
            <a:r>
              <a:rPr lang="lv-LV" dirty="0"/>
              <a:t>O</a:t>
            </a:r>
            <a:r>
              <a:rPr lang="en-US" dirty="0" err="1"/>
              <a:t>rganisation</a:t>
            </a:r>
            <a:r>
              <a:rPr lang="en-US" dirty="0"/>
              <a:t> of the </a:t>
            </a:r>
            <a:r>
              <a:rPr lang="lv-LV" dirty="0"/>
              <a:t>S</a:t>
            </a:r>
            <a:r>
              <a:rPr lang="en-US" dirty="0" err="1"/>
              <a:t>ystem</a:t>
            </a:r>
            <a:r>
              <a:rPr lang="en-US" dirty="0"/>
              <a:t> of </a:t>
            </a:r>
            <a:r>
              <a:rPr lang="lv-LV" dirty="0"/>
              <a:t>C</a:t>
            </a:r>
            <a:r>
              <a:rPr lang="en-US" dirty="0" err="1"/>
              <a:t>ivil</a:t>
            </a:r>
            <a:r>
              <a:rPr lang="en-US" dirty="0"/>
              <a:t> </a:t>
            </a:r>
            <a:r>
              <a:rPr lang="lv-LV" dirty="0"/>
              <a:t>P</a:t>
            </a:r>
            <a:r>
              <a:rPr lang="en-US" dirty="0" err="1"/>
              <a:t>rotection</a:t>
            </a:r>
            <a:endParaRPr lang="cs-CZ"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A9DEB5B7-0CCF-447A-91D6-F7DB098D19F7}" type="slidenum">
              <a:rPr lang="lv-LV" altLang="en-US" noProof="0" dirty="0"/>
              <a:pPr lvl="0" rtl="0"/>
              <a:t>16</a:t>
            </a:fld>
            <a:endParaRPr lang="lv-LV" altLang="en-US" noProof="0"/>
          </a:p>
        </p:txBody>
      </p:sp>
      <p:sp>
        <p:nvSpPr>
          <p:cNvPr id="37" name="Rectangle 36">
            <a:extLst>
              <a:ext uri="{FF2B5EF4-FFF2-40B4-BE49-F238E27FC236}">
                <a16:creationId xmlns:a16="http://schemas.microsoft.com/office/drawing/2014/main" id="{F346EEDC-1F89-80EA-F033-BD2D87C3FA56}"/>
              </a:ext>
            </a:extLst>
          </p:cNvPr>
          <p:cNvSpPr/>
          <p:nvPr/>
        </p:nvSpPr>
        <p:spPr>
          <a:xfrm>
            <a:off x="442912" y="1830122"/>
            <a:ext cx="576000" cy="159887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38" name="Rectangle 37">
            <a:extLst>
              <a:ext uri="{FF2B5EF4-FFF2-40B4-BE49-F238E27FC236}">
                <a16:creationId xmlns:a16="http://schemas.microsoft.com/office/drawing/2014/main" id="{352DEB54-7FDE-EE3B-5721-A2A76790BF32}"/>
              </a:ext>
            </a:extLst>
          </p:cNvPr>
          <p:cNvSpPr/>
          <p:nvPr/>
        </p:nvSpPr>
        <p:spPr>
          <a:xfrm>
            <a:off x="1120998"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rtl="0">
              <a:buNone/>
              <a:defRPr/>
            </a:pPr>
            <a:r>
              <a:rPr lang="lv-LV" sz="1400" b="1" dirty="0">
                <a:solidFill>
                  <a:schemeClr val="tx1"/>
                </a:solidFill>
                <a:ea typeface="+mn-lt"/>
                <a:cs typeface="+mn-lt"/>
              </a:rPr>
              <a:t>M</a:t>
            </a:r>
            <a:r>
              <a:rPr lang="en-US" sz="1400" b="1" dirty="0" err="1">
                <a:solidFill>
                  <a:schemeClr val="tx1"/>
                </a:solidFill>
                <a:ea typeface="+mn-lt"/>
                <a:cs typeface="+mn-lt"/>
              </a:rPr>
              <a:t>unicipalities</a:t>
            </a:r>
            <a:r>
              <a:rPr lang="en-US" sz="1400" b="1" dirty="0">
                <a:solidFill>
                  <a:schemeClr val="tx1"/>
                </a:solidFill>
                <a:ea typeface="+mn-lt"/>
                <a:cs typeface="+mn-lt"/>
              </a:rPr>
              <a:t> and republic cities </a:t>
            </a:r>
            <a:r>
              <a:rPr lang="lv-LV" sz="1400" b="1" dirty="0" err="1">
                <a:solidFill>
                  <a:schemeClr val="tx1"/>
                </a:solidFill>
                <a:ea typeface="+mn-lt"/>
                <a:cs typeface="+mn-lt"/>
              </a:rPr>
              <a:t>are</a:t>
            </a:r>
            <a:r>
              <a:rPr lang="lv-LV" sz="1400" b="1" dirty="0">
                <a:solidFill>
                  <a:schemeClr val="tx1"/>
                </a:solidFill>
                <a:ea typeface="+mn-lt"/>
                <a:cs typeface="+mn-lt"/>
              </a:rPr>
              <a:t> </a:t>
            </a:r>
            <a:r>
              <a:rPr lang="en-US" sz="1400" b="1" dirty="0">
                <a:solidFill>
                  <a:schemeClr val="tx1"/>
                </a:solidFill>
                <a:ea typeface="+mn-lt"/>
                <a:cs typeface="+mn-lt"/>
              </a:rPr>
              <a:t>the territorial basic units </a:t>
            </a:r>
            <a:r>
              <a:rPr lang="en-US" sz="1400" dirty="0">
                <a:solidFill>
                  <a:schemeClr val="tx1"/>
                </a:solidFill>
                <a:ea typeface="+mn-lt"/>
                <a:cs typeface="+mn-lt"/>
              </a:rPr>
              <a:t>of the structure of the system of civil protection</a:t>
            </a:r>
            <a:r>
              <a:rPr lang="lv-LV" sz="1400" dirty="0">
                <a:solidFill>
                  <a:schemeClr val="tx1"/>
                </a:solidFill>
                <a:ea typeface="+mn-lt"/>
                <a:cs typeface="+mn-lt"/>
              </a:rPr>
              <a:t>.</a:t>
            </a:r>
            <a:endParaRPr lang="en-US" sz="1400" b="1" dirty="0">
              <a:solidFill>
                <a:schemeClr val="tx1"/>
              </a:solidFill>
            </a:endParaRPr>
          </a:p>
        </p:txBody>
      </p:sp>
      <p:sp>
        <p:nvSpPr>
          <p:cNvPr id="39" name="Rectangle 38">
            <a:extLst>
              <a:ext uri="{FF2B5EF4-FFF2-40B4-BE49-F238E27FC236}">
                <a16:creationId xmlns:a16="http://schemas.microsoft.com/office/drawing/2014/main" id="{B1261975-ACAF-B7CD-0411-D85934FDED0F}"/>
              </a:ext>
            </a:extLst>
          </p:cNvPr>
          <p:cNvSpPr/>
          <p:nvPr/>
        </p:nvSpPr>
        <p:spPr>
          <a:xfrm>
            <a:off x="3548977" y="1830122"/>
            <a:ext cx="576000" cy="15988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40" name="Rectangle 39">
            <a:extLst>
              <a:ext uri="{FF2B5EF4-FFF2-40B4-BE49-F238E27FC236}">
                <a16:creationId xmlns:a16="http://schemas.microsoft.com/office/drawing/2014/main" id="{36D6E8CF-BFDF-5A95-3F0B-E732A2ABC0C9}"/>
              </a:ext>
            </a:extLst>
          </p:cNvPr>
          <p:cNvSpPr/>
          <p:nvPr/>
        </p:nvSpPr>
        <p:spPr>
          <a:xfrm>
            <a:off x="4227063"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rtl="0">
              <a:buNone/>
              <a:defRPr/>
            </a:pPr>
            <a:r>
              <a:rPr lang="en-gb" sz="1400" dirty="0">
                <a:solidFill>
                  <a:schemeClr val="tx1"/>
                </a:solidFill>
                <a:ea typeface="+mn-lt"/>
                <a:cs typeface="+mn-lt"/>
              </a:rPr>
              <a:t>There are </a:t>
            </a:r>
            <a:r>
              <a:rPr lang="en-gb" sz="1400" b="1" dirty="0">
                <a:solidFill>
                  <a:schemeClr val="tx1"/>
                </a:solidFill>
                <a:ea typeface="+mn-lt"/>
                <a:cs typeface="+mn-lt"/>
              </a:rPr>
              <a:t>38 </a:t>
            </a:r>
            <a:r>
              <a:rPr lang="en-US" sz="1400" b="1" dirty="0">
                <a:solidFill>
                  <a:schemeClr val="tx1"/>
                </a:solidFill>
                <a:ea typeface="+mn-lt"/>
                <a:cs typeface="+mn-lt"/>
              </a:rPr>
              <a:t>Civil Protection Commission</a:t>
            </a:r>
            <a:r>
              <a:rPr lang="lv-LV" sz="1400" b="1" dirty="0">
                <a:solidFill>
                  <a:schemeClr val="tx1"/>
                </a:solidFill>
                <a:ea typeface="+mn-lt"/>
                <a:cs typeface="+mn-lt"/>
              </a:rPr>
              <a:t>s</a:t>
            </a:r>
            <a:r>
              <a:rPr lang="en-US" sz="1400" b="1" dirty="0">
                <a:solidFill>
                  <a:schemeClr val="tx1"/>
                </a:solidFill>
                <a:ea typeface="+mn-lt"/>
                <a:cs typeface="+mn-lt"/>
              </a:rPr>
              <a:t> for Local Government Cooperation Territory</a:t>
            </a:r>
            <a:r>
              <a:rPr lang="lv-LV" sz="1400" b="1" dirty="0">
                <a:solidFill>
                  <a:schemeClr val="tx1"/>
                </a:solidFill>
                <a:ea typeface="+mn-lt"/>
                <a:cs typeface="+mn-lt"/>
              </a:rPr>
              <a:t> </a:t>
            </a:r>
            <a:r>
              <a:rPr lang="en-gb" sz="1400" dirty="0">
                <a:solidFill>
                  <a:schemeClr val="tx1"/>
                </a:solidFill>
                <a:ea typeface="+mn-lt"/>
                <a:cs typeface="+mn-lt"/>
              </a:rPr>
              <a:t>in </a:t>
            </a:r>
            <a:r>
              <a:rPr lang="en-gb" sz="1400" dirty="0" err="1">
                <a:solidFill>
                  <a:schemeClr val="tx1"/>
                </a:solidFill>
                <a:ea typeface="+mn-lt"/>
                <a:cs typeface="+mn-lt"/>
              </a:rPr>
              <a:t>Latvi</a:t>
            </a:r>
            <a:r>
              <a:rPr lang="lv-LV" sz="1400" dirty="0">
                <a:solidFill>
                  <a:schemeClr val="tx1"/>
                </a:solidFill>
                <a:ea typeface="+mn-lt"/>
                <a:cs typeface="+mn-lt"/>
              </a:rPr>
              <a:t>a.</a:t>
            </a:r>
          </a:p>
        </p:txBody>
      </p:sp>
      <p:sp>
        <p:nvSpPr>
          <p:cNvPr id="41" name="Rectangle 40">
            <a:extLst>
              <a:ext uri="{FF2B5EF4-FFF2-40B4-BE49-F238E27FC236}">
                <a16:creationId xmlns:a16="http://schemas.microsoft.com/office/drawing/2014/main" id="{DFF635C4-5891-C4F2-1E91-37A0224329A3}"/>
              </a:ext>
            </a:extLst>
          </p:cNvPr>
          <p:cNvSpPr/>
          <p:nvPr/>
        </p:nvSpPr>
        <p:spPr>
          <a:xfrm>
            <a:off x="6655041" y="1830122"/>
            <a:ext cx="576000" cy="1598878"/>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42" name="Rectangle 41">
            <a:extLst>
              <a:ext uri="{FF2B5EF4-FFF2-40B4-BE49-F238E27FC236}">
                <a16:creationId xmlns:a16="http://schemas.microsoft.com/office/drawing/2014/main" id="{5F494258-283A-E20E-984C-57F69A3BAA29}"/>
              </a:ext>
            </a:extLst>
          </p:cNvPr>
          <p:cNvSpPr/>
          <p:nvPr/>
        </p:nvSpPr>
        <p:spPr>
          <a:xfrm>
            <a:off x="7333126" y="1830850"/>
            <a:ext cx="4422311"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rtl="0">
              <a:buNone/>
              <a:defRPr/>
            </a:pPr>
            <a:r>
              <a:rPr lang="en-gb" sz="1400" dirty="0">
                <a:solidFill>
                  <a:schemeClr val="tx1"/>
                </a:solidFill>
                <a:ea typeface="+mn-lt"/>
                <a:cs typeface="+mn-lt"/>
              </a:rPr>
              <a:t>The purpose of </a:t>
            </a:r>
            <a:r>
              <a:rPr lang="en-gb" sz="1400" b="1" dirty="0">
                <a:solidFill>
                  <a:schemeClr val="tx1"/>
                </a:solidFill>
                <a:ea typeface="+mn-lt"/>
                <a:cs typeface="+mn-lt"/>
              </a:rPr>
              <a:t>the Commission is to coordinate measures </a:t>
            </a:r>
            <a:r>
              <a:rPr lang="en-gb" sz="1400" dirty="0">
                <a:solidFill>
                  <a:schemeClr val="tx1"/>
                </a:solidFill>
                <a:ea typeface="+mn-lt"/>
                <a:cs typeface="+mn-lt"/>
              </a:rPr>
              <a:t>in the event of a disaster or threat of disaster and </a:t>
            </a:r>
            <a:r>
              <a:rPr lang="en-gb" sz="1400" b="1" dirty="0">
                <a:solidFill>
                  <a:schemeClr val="tx1"/>
                </a:solidFill>
                <a:ea typeface="+mn-lt"/>
                <a:cs typeface="+mn-lt"/>
              </a:rPr>
              <a:t>contribute to the resolution of civil protection, disaster management or disaster management coordination issues</a:t>
            </a:r>
            <a:r>
              <a:rPr lang="en-gb" sz="1400" dirty="0">
                <a:solidFill>
                  <a:schemeClr val="tx1"/>
                </a:solidFill>
                <a:ea typeface="+mn-lt"/>
                <a:cs typeface="+mn-lt"/>
              </a:rPr>
              <a:t>.</a:t>
            </a:r>
          </a:p>
        </p:txBody>
      </p:sp>
      <p:sp>
        <p:nvSpPr>
          <p:cNvPr id="44" name="Rectangle 43">
            <a:extLst>
              <a:ext uri="{FF2B5EF4-FFF2-40B4-BE49-F238E27FC236}">
                <a16:creationId xmlns:a16="http://schemas.microsoft.com/office/drawing/2014/main" id="{BB951536-D0CC-F2BE-A7D7-CE45FE6D4C9C}"/>
              </a:ext>
            </a:extLst>
          </p:cNvPr>
          <p:cNvSpPr/>
          <p:nvPr/>
        </p:nvSpPr>
        <p:spPr>
          <a:xfrm rot="5400000">
            <a:off x="6060282" y="484188"/>
            <a:ext cx="71438" cy="113061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0" name="Google Shape;1397;p89">
            <a:extLst>
              <a:ext uri="{FF2B5EF4-FFF2-40B4-BE49-F238E27FC236}">
                <a16:creationId xmlns:a16="http://schemas.microsoft.com/office/drawing/2014/main" id="{EFB27379-D2EF-64D4-4C11-E01C33AE8E7C}"/>
              </a:ext>
            </a:extLst>
          </p:cNvPr>
          <p:cNvSpPr/>
          <p:nvPr/>
        </p:nvSpPr>
        <p:spPr>
          <a:xfrm>
            <a:off x="550912" y="2449561"/>
            <a:ext cx="360000" cy="360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chemeClr val="bg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1" name="Google Shape;1359;p89">
            <a:extLst>
              <a:ext uri="{FF2B5EF4-FFF2-40B4-BE49-F238E27FC236}">
                <a16:creationId xmlns:a16="http://schemas.microsoft.com/office/drawing/2014/main" id="{320B8206-74AD-60AD-86B0-9DB02ECC0273}"/>
              </a:ext>
            </a:extLst>
          </p:cNvPr>
          <p:cNvGrpSpPr/>
          <p:nvPr/>
        </p:nvGrpSpPr>
        <p:grpSpPr>
          <a:xfrm>
            <a:off x="3656977" y="2449561"/>
            <a:ext cx="360000" cy="360000"/>
            <a:chOff x="3530517" y="5322517"/>
            <a:chExt cx="457200" cy="457200"/>
          </a:xfrm>
          <a:solidFill>
            <a:schemeClr val="bg1"/>
          </a:solidFill>
        </p:grpSpPr>
        <p:sp>
          <p:nvSpPr>
            <p:cNvPr id="52" name="Google Shape;1360;p89">
              <a:extLst>
                <a:ext uri="{FF2B5EF4-FFF2-40B4-BE49-F238E27FC236}">
                  <a16:creationId xmlns:a16="http://schemas.microsoft.com/office/drawing/2014/main" id="{18342718-6E96-D64C-9613-54BC7DD603F1}"/>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3" name="Google Shape;1361;p89">
              <a:extLst>
                <a:ext uri="{FF2B5EF4-FFF2-40B4-BE49-F238E27FC236}">
                  <a16:creationId xmlns:a16="http://schemas.microsoft.com/office/drawing/2014/main" id="{CA048ADD-E1F4-2311-E420-E08E93C612E1}"/>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4" name="Google Shape;1362;p89">
              <a:extLst>
                <a:ext uri="{FF2B5EF4-FFF2-40B4-BE49-F238E27FC236}">
                  <a16:creationId xmlns:a16="http://schemas.microsoft.com/office/drawing/2014/main" id="{E99C720C-E10C-8B5F-7C2D-F901F20787B9}"/>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5" name="Google Shape;1363;p89">
              <a:extLst>
                <a:ext uri="{FF2B5EF4-FFF2-40B4-BE49-F238E27FC236}">
                  <a16:creationId xmlns:a16="http://schemas.microsoft.com/office/drawing/2014/main" id="{8EFE971E-AA1E-B6FF-9245-AC33440614C6}"/>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56" name="Google Shape;695;p78">
            <a:extLst>
              <a:ext uri="{FF2B5EF4-FFF2-40B4-BE49-F238E27FC236}">
                <a16:creationId xmlns:a16="http://schemas.microsoft.com/office/drawing/2014/main" id="{835261E7-CC8C-161D-4947-8C8D479E22E3}"/>
              </a:ext>
            </a:extLst>
          </p:cNvPr>
          <p:cNvSpPr/>
          <p:nvPr/>
        </p:nvSpPr>
        <p:spPr>
          <a:xfrm>
            <a:off x="6763041" y="2449561"/>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18" name="Rectangle 17">
            <a:extLst>
              <a:ext uri="{FF2B5EF4-FFF2-40B4-BE49-F238E27FC236}">
                <a16:creationId xmlns:a16="http://schemas.microsoft.com/office/drawing/2014/main" id="{5C42046E-0E73-70A2-1F54-EDE90D8FA6DF}"/>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3D26F88E-A150-751B-B425-EABFE33EAFF8}"/>
              </a:ext>
            </a:extLst>
          </p:cNvPr>
          <p:cNvGrpSpPr/>
          <p:nvPr/>
        </p:nvGrpSpPr>
        <p:grpSpPr>
          <a:xfrm>
            <a:off x="6597001" y="124926"/>
            <a:ext cx="5150498" cy="230498"/>
            <a:chOff x="6351171" y="122774"/>
            <a:chExt cx="5150498" cy="230498"/>
          </a:xfrm>
        </p:grpSpPr>
        <p:sp>
          <p:nvSpPr>
            <p:cNvPr id="3" name="Rectangle 2">
              <a:extLst>
                <a:ext uri="{FF2B5EF4-FFF2-40B4-BE49-F238E27FC236}">
                  <a16:creationId xmlns:a16="http://schemas.microsoft.com/office/drawing/2014/main" id="{2BFEC6BB-2212-6227-6CEA-831977DAA4F9}"/>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12" name="Rectangle 11">
              <a:extLst>
                <a:ext uri="{FF2B5EF4-FFF2-40B4-BE49-F238E27FC236}">
                  <a16:creationId xmlns:a16="http://schemas.microsoft.com/office/drawing/2014/main" id="{B1AE9793-C1A7-4ED0-ACB1-A3F58FF00741}"/>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13" name="Rectangle 12">
              <a:extLst>
                <a:ext uri="{FF2B5EF4-FFF2-40B4-BE49-F238E27FC236}">
                  <a16:creationId xmlns:a16="http://schemas.microsoft.com/office/drawing/2014/main" id="{A23891ED-3D6B-5D07-0D10-0BC8045C3536}"/>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14" name="Rectangle 13">
              <a:extLst>
                <a:ext uri="{FF2B5EF4-FFF2-40B4-BE49-F238E27FC236}">
                  <a16:creationId xmlns:a16="http://schemas.microsoft.com/office/drawing/2014/main" id="{91113C01-0A6B-3B44-84DD-8D7BDDB9C524}"/>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15" name="Rectangle 14">
              <a:extLst>
                <a:ext uri="{FF2B5EF4-FFF2-40B4-BE49-F238E27FC236}">
                  <a16:creationId xmlns:a16="http://schemas.microsoft.com/office/drawing/2014/main" id="{505CBD98-FC22-59D8-7111-F59F8BEE7F92}"/>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16" name="Rectangle 15">
              <a:extLst>
                <a:ext uri="{FF2B5EF4-FFF2-40B4-BE49-F238E27FC236}">
                  <a16:creationId xmlns:a16="http://schemas.microsoft.com/office/drawing/2014/main" id="{6B71FEEA-29F4-6732-7162-3241679DCB24}"/>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Tree>
    <p:extLst>
      <p:ext uri="{BB962C8B-B14F-4D97-AF65-F5344CB8AC3E}">
        <p14:creationId xmlns:p14="http://schemas.microsoft.com/office/powerpoint/2010/main" val="12612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1BC587B-0998-D3AF-1342-C8447F380D4A}"/>
              </a:ext>
            </a:extLst>
          </p:cNvPr>
          <p:cNvSpPr>
            <a:spLocks noGrp="1"/>
          </p:cNvSpPr>
          <p:nvPr>
            <p:ph type="title"/>
          </p:nvPr>
        </p:nvSpPr>
        <p:spPr>
          <a:xfrm>
            <a:off x="442913" y="432001"/>
            <a:ext cx="11306175" cy="1387274"/>
          </a:xfrm>
        </p:spPr>
        <p:txBody>
          <a:bodyPr vert="horz" rtlCol="0"/>
          <a:lstStyle/>
          <a:p>
            <a:pPr rtl="0"/>
            <a:r>
              <a:rPr lang="en-gb"/>
              <a:t>Civil Protection Coordination Platforms</a:t>
            </a:r>
            <a:endParaRPr lang="cs-CZ"/>
          </a:p>
        </p:txBody>
      </p:sp>
      <p:sp>
        <p:nvSpPr>
          <p:cNvPr id="10" name="Rectangle 9">
            <a:extLst>
              <a:ext uri="{FF2B5EF4-FFF2-40B4-BE49-F238E27FC236}">
                <a16:creationId xmlns:a16="http://schemas.microsoft.com/office/drawing/2014/main" id="{EEBF5786-2E6A-AE20-299C-B5EEE07894D2}"/>
              </a:ext>
            </a:extLst>
          </p:cNvPr>
          <p:cNvSpPr/>
          <p:nvPr/>
        </p:nvSpPr>
        <p:spPr>
          <a:xfrm>
            <a:off x="3292475" y="1819275"/>
            <a:ext cx="5602996" cy="59388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US" sz="1300" b="1" dirty="0">
                <a:solidFill>
                  <a:schemeClr val="tx1"/>
                </a:solidFill>
              </a:rPr>
              <a:t>Operational Control Centre of Civil Protection</a:t>
            </a:r>
            <a:endParaRPr lang="lv-LV" sz="1300" b="1" dirty="0">
              <a:solidFill>
                <a:schemeClr val="tx1"/>
              </a:solidFill>
            </a:endParaRPr>
          </a:p>
          <a:p>
            <a:pPr algn="ctr" rtl="0">
              <a:lnSpc>
                <a:spcPct val="100000"/>
              </a:lnSpc>
            </a:pPr>
            <a:r>
              <a:rPr lang="en-gb" sz="1300" dirty="0">
                <a:solidFill>
                  <a:schemeClr val="tx1"/>
                </a:solidFill>
              </a:rPr>
              <a:t>(headed by an official from the Ministry of Interior </a:t>
            </a:r>
            <a:endParaRPr lang="lv-LV" sz="1300" dirty="0">
              <a:solidFill>
                <a:schemeClr val="tx1"/>
              </a:solidFill>
            </a:endParaRPr>
          </a:p>
          <a:p>
            <a:pPr algn="ctr" rtl="0">
              <a:lnSpc>
                <a:spcPct val="100000"/>
              </a:lnSpc>
            </a:pPr>
            <a:r>
              <a:rPr lang="en-gb" sz="1300" dirty="0">
                <a:solidFill>
                  <a:schemeClr val="tx1"/>
                </a:solidFill>
              </a:rPr>
              <a:t>appointed by the Prime Minister)</a:t>
            </a:r>
            <a:endParaRPr lang="cs-CZ" sz="1300" dirty="0">
              <a:solidFill>
                <a:schemeClr val="tx1"/>
              </a:solidFill>
            </a:endParaRPr>
          </a:p>
        </p:txBody>
      </p:sp>
      <p:sp>
        <p:nvSpPr>
          <p:cNvPr id="11" name="Rectangle 10">
            <a:extLst>
              <a:ext uri="{FF2B5EF4-FFF2-40B4-BE49-F238E27FC236}">
                <a16:creationId xmlns:a16="http://schemas.microsoft.com/office/drawing/2014/main" id="{0F4C3BFD-4944-308A-CCCC-AD35FC363808}"/>
              </a:ext>
            </a:extLst>
          </p:cNvPr>
          <p:cNvSpPr/>
          <p:nvPr/>
        </p:nvSpPr>
        <p:spPr>
          <a:xfrm>
            <a:off x="442913" y="1819275"/>
            <a:ext cx="2503308" cy="35131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rtl="0">
              <a:lnSpc>
                <a:spcPct val="100000"/>
              </a:lnSpc>
            </a:pPr>
            <a:endParaRPr lang="en-US" sz="1400" b="1"/>
          </a:p>
          <a:p>
            <a:pPr algn="ctr" rtl="0">
              <a:lnSpc>
                <a:spcPct val="100000"/>
              </a:lnSpc>
            </a:pPr>
            <a:endParaRPr lang="en-US" sz="1400" b="1"/>
          </a:p>
          <a:p>
            <a:pPr algn="ctr" rtl="0">
              <a:lnSpc>
                <a:spcPct val="100000"/>
              </a:lnSpc>
            </a:pPr>
            <a:endParaRPr lang="en-US" sz="1400" b="1"/>
          </a:p>
          <a:p>
            <a:pPr algn="ctr" rtl="0">
              <a:lnSpc>
                <a:spcPct val="100000"/>
              </a:lnSpc>
            </a:pPr>
            <a:endParaRPr lang="en-US" sz="1400" b="1"/>
          </a:p>
          <a:p>
            <a:pPr algn="ctr" rtl="0">
              <a:lnSpc>
                <a:spcPct val="100000"/>
              </a:lnSpc>
            </a:pPr>
            <a:r>
              <a:rPr lang="lv-LV" sz="1400" b="1"/>
              <a:t>The </a:t>
            </a:r>
            <a:r>
              <a:rPr lang="en-gb" sz="1400" b="1"/>
              <a:t>Cabinet</a:t>
            </a:r>
            <a:endParaRPr lang="en-US" sz="1400" b="1"/>
          </a:p>
          <a:p>
            <a:pPr algn="ctr" rtl="0">
              <a:lnSpc>
                <a:spcPct val="100000"/>
              </a:lnSpc>
            </a:pPr>
            <a:r>
              <a:rPr lang="en-gb" sz="1400"/>
              <a:t>(pursuant to </a:t>
            </a:r>
            <a:r>
              <a:rPr lang="lv-LV" sz="1400" err="1"/>
              <a:t>Article</a:t>
            </a:r>
            <a:r>
              <a:rPr lang="en-gb" sz="1400"/>
              <a:t> 30 (1) of the </a:t>
            </a:r>
            <a:r>
              <a:rPr lang="en-GB" sz="1400"/>
              <a:t>Cabinet Structure Law</a:t>
            </a:r>
            <a:r>
              <a:rPr lang="en-gb" sz="1400"/>
              <a:t>)</a:t>
            </a:r>
            <a:endParaRPr lang="cs-CZ" sz="1400"/>
          </a:p>
        </p:txBody>
      </p:sp>
      <p:sp>
        <p:nvSpPr>
          <p:cNvPr id="14" name="Rectangle 13">
            <a:extLst>
              <a:ext uri="{FF2B5EF4-FFF2-40B4-BE49-F238E27FC236}">
                <a16:creationId xmlns:a16="http://schemas.microsoft.com/office/drawing/2014/main" id="{2578A2FB-B994-82A1-5B0D-947804EA88ED}"/>
              </a:ext>
            </a:extLst>
          </p:cNvPr>
          <p:cNvSpPr/>
          <p:nvPr/>
        </p:nvSpPr>
        <p:spPr>
          <a:xfrm>
            <a:off x="9245779" y="1819275"/>
            <a:ext cx="2503308" cy="35131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rtl="0">
              <a:lnSpc>
                <a:spcPct val="100000"/>
              </a:lnSpc>
            </a:pPr>
            <a:endParaRPr lang="en-US" sz="1400" b="1" dirty="0"/>
          </a:p>
          <a:p>
            <a:pPr algn="ctr" rtl="0">
              <a:lnSpc>
                <a:spcPct val="100000"/>
              </a:lnSpc>
            </a:pPr>
            <a:endParaRPr lang="en-US" sz="1400" b="1" dirty="0"/>
          </a:p>
          <a:p>
            <a:pPr algn="ctr" rtl="0">
              <a:lnSpc>
                <a:spcPct val="100000"/>
              </a:lnSpc>
            </a:pPr>
            <a:endParaRPr lang="en-US" sz="1400" b="1" dirty="0"/>
          </a:p>
          <a:p>
            <a:pPr algn="ctr" rtl="0">
              <a:lnSpc>
                <a:spcPct val="100000"/>
              </a:lnSpc>
            </a:pPr>
            <a:endParaRPr lang="en-US" sz="1400" b="1" dirty="0"/>
          </a:p>
          <a:p>
            <a:pPr algn="ctr" rtl="0">
              <a:lnSpc>
                <a:spcPct val="100000"/>
              </a:lnSpc>
            </a:pPr>
            <a:r>
              <a:rPr lang="en-US" sz="1400" b="1" dirty="0"/>
              <a:t>Civil Protection Commission for Local Government Cooperation Territory</a:t>
            </a:r>
            <a:endParaRPr lang="lv-LV" sz="1400" b="1" dirty="0"/>
          </a:p>
          <a:p>
            <a:pPr algn="ctr" rtl="0">
              <a:lnSpc>
                <a:spcPct val="100000"/>
              </a:lnSpc>
            </a:pPr>
            <a:r>
              <a:rPr lang="en-gb" sz="1400" dirty="0"/>
              <a:t>(chaired by the </a:t>
            </a:r>
            <a:r>
              <a:rPr lang="lv-LV" sz="1400" dirty="0"/>
              <a:t>c</a:t>
            </a:r>
            <a:r>
              <a:rPr lang="en-US" sz="1400" dirty="0" err="1"/>
              <a:t>hairperson</a:t>
            </a:r>
            <a:r>
              <a:rPr lang="en-US" sz="1400" dirty="0"/>
              <a:t> of the </a:t>
            </a:r>
            <a:r>
              <a:rPr lang="lv-LV" sz="1400" dirty="0" err="1"/>
              <a:t>local</a:t>
            </a:r>
            <a:r>
              <a:rPr lang="lv-LV" sz="1400" dirty="0"/>
              <a:t> </a:t>
            </a:r>
            <a:r>
              <a:rPr lang="lv-LV" sz="1400" dirty="0" err="1"/>
              <a:t>government</a:t>
            </a:r>
            <a:r>
              <a:rPr lang="lv-LV" sz="1400" dirty="0"/>
              <a:t> </a:t>
            </a:r>
            <a:r>
              <a:rPr lang="lv-LV" sz="1400" dirty="0" err="1"/>
              <a:t>Council</a:t>
            </a:r>
            <a:r>
              <a:rPr lang="lv-LV" sz="1400" dirty="0"/>
              <a:t>)</a:t>
            </a:r>
            <a:endParaRPr lang="en-US" sz="1400" dirty="0"/>
          </a:p>
          <a:p>
            <a:pPr algn="ctr" rtl="0">
              <a:lnSpc>
                <a:spcPct val="100000"/>
              </a:lnSpc>
            </a:pPr>
            <a:r>
              <a:rPr lang="en-gb" sz="1400" dirty="0"/>
              <a:t>) </a:t>
            </a:r>
            <a:endParaRPr lang="cs-CZ" sz="1400" dirty="0"/>
          </a:p>
        </p:txBody>
      </p:sp>
      <p:sp>
        <p:nvSpPr>
          <p:cNvPr id="22" name="L-Shape 21">
            <a:extLst>
              <a:ext uri="{FF2B5EF4-FFF2-40B4-BE49-F238E27FC236}">
                <a16:creationId xmlns:a16="http://schemas.microsoft.com/office/drawing/2014/main" id="{A23DE491-DA32-07AE-2BC8-2650EB990F3D}"/>
              </a:ext>
            </a:extLst>
          </p:cNvPr>
          <p:cNvSpPr/>
          <p:nvPr/>
        </p:nvSpPr>
        <p:spPr>
          <a:xfrm rot="8100000" flipV="1">
            <a:off x="2952735" y="2855560"/>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L-Shape 24">
            <a:extLst>
              <a:ext uri="{FF2B5EF4-FFF2-40B4-BE49-F238E27FC236}">
                <a16:creationId xmlns:a16="http://schemas.microsoft.com/office/drawing/2014/main" id="{52854D32-0A87-308D-FAD4-91E5E27C097B}"/>
              </a:ext>
            </a:extLst>
          </p:cNvPr>
          <p:cNvSpPr/>
          <p:nvPr/>
        </p:nvSpPr>
        <p:spPr>
          <a:xfrm rot="13500000" flipH="1" flipV="1">
            <a:off x="3029735" y="3986968"/>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L-Shape 25">
            <a:extLst>
              <a:ext uri="{FF2B5EF4-FFF2-40B4-BE49-F238E27FC236}">
                <a16:creationId xmlns:a16="http://schemas.microsoft.com/office/drawing/2014/main" id="{33E9B9FA-E996-6643-5918-7D5967B6B363}"/>
              </a:ext>
            </a:extLst>
          </p:cNvPr>
          <p:cNvSpPr/>
          <p:nvPr/>
        </p:nvSpPr>
        <p:spPr>
          <a:xfrm rot="8100000" flipV="1">
            <a:off x="8908290" y="2849809"/>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L-Shape 26">
            <a:extLst>
              <a:ext uri="{FF2B5EF4-FFF2-40B4-BE49-F238E27FC236}">
                <a16:creationId xmlns:a16="http://schemas.microsoft.com/office/drawing/2014/main" id="{C06CC62B-703D-DEBA-04B2-21F4A47C3601}"/>
              </a:ext>
            </a:extLst>
          </p:cNvPr>
          <p:cNvSpPr/>
          <p:nvPr/>
        </p:nvSpPr>
        <p:spPr>
          <a:xfrm rot="13500000" flipH="1" flipV="1">
            <a:off x="8985290" y="3981217"/>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1" name="Rectangle 30">
            <a:extLst>
              <a:ext uri="{FF2B5EF4-FFF2-40B4-BE49-F238E27FC236}">
                <a16:creationId xmlns:a16="http://schemas.microsoft.com/office/drawing/2014/main" id="{4D6D6BFC-98F2-DD6C-6B62-05C9DD8E9BEC}"/>
              </a:ext>
            </a:extLst>
          </p:cNvPr>
          <p:cNvSpPr/>
          <p:nvPr/>
        </p:nvSpPr>
        <p:spPr>
          <a:xfrm>
            <a:off x="3292475"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Health and Medical Group</a:t>
            </a:r>
          </a:p>
        </p:txBody>
      </p:sp>
      <p:sp>
        <p:nvSpPr>
          <p:cNvPr id="35" name="Rectangle 34">
            <a:extLst>
              <a:ext uri="{FF2B5EF4-FFF2-40B4-BE49-F238E27FC236}">
                <a16:creationId xmlns:a16="http://schemas.microsoft.com/office/drawing/2014/main" id="{3C54A9F6-9F14-88B2-7D5D-86D235B85F90}"/>
              </a:ext>
            </a:extLst>
          </p:cNvPr>
          <p:cNvSpPr/>
          <p:nvPr/>
        </p:nvSpPr>
        <p:spPr>
          <a:xfrm>
            <a:off x="3292475" y="2991212"/>
            <a:ext cx="2758977" cy="360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Energy Group</a:t>
            </a:r>
          </a:p>
        </p:txBody>
      </p:sp>
      <p:sp>
        <p:nvSpPr>
          <p:cNvPr id="37" name="Rectangle 36">
            <a:extLst>
              <a:ext uri="{FF2B5EF4-FFF2-40B4-BE49-F238E27FC236}">
                <a16:creationId xmlns:a16="http://schemas.microsoft.com/office/drawing/2014/main" id="{BACC94A7-FFB8-5FBB-D4AC-04AB5EB148E6}"/>
              </a:ext>
            </a:extLst>
          </p:cNvPr>
          <p:cNvSpPr/>
          <p:nvPr/>
        </p:nvSpPr>
        <p:spPr>
          <a:xfrm>
            <a:off x="3292475" y="3460103"/>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Public order and </a:t>
            </a:r>
            <a:endParaRPr lang="en-US" sz="1200">
              <a:solidFill>
                <a:schemeClr val="tx1"/>
              </a:solidFill>
            </a:endParaRPr>
          </a:p>
          <a:p>
            <a:pPr algn="ctr" rtl="0">
              <a:lnSpc>
                <a:spcPct val="100000"/>
              </a:lnSpc>
            </a:pPr>
            <a:r>
              <a:rPr lang="en-gb" sz="1200">
                <a:solidFill>
                  <a:schemeClr val="tx1"/>
                </a:solidFill>
              </a:rPr>
              <a:t>Security Group</a:t>
            </a:r>
          </a:p>
        </p:txBody>
      </p:sp>
      <p:sp>
        <p:nvSpPr>
          <p:cNvPr id="39" name="Rectangle 38">
            <a:extLst>
              <a:ext uri="{FF2B5EF4-FFF2-40B4-BE49-F238E27FC236}">
                <a16:creationId xmlns:a16="http://schemas.microsoft.com/office/drawing/2014/main" id="{268E07CD-EFC2-C5A9-C76B-142425386EF4}"/>
              </a:ext>
            </a:extLst>
          </p:cNvPr>
          <p:cNvSpPr/>
          <p:nvPr/>
        </p:nvSpPr>
        <p:spPr>
          <a:xfrm>
            <a:off x="3292475" y="4072631"/>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Human </a:t>
            </a:r>
            <a:r>
              <a:rPr lang="en-GB" sz="1200">
                <a:solidFill>
                  <a:schemeClr val="tx1"/>
                </a:solidFill>
              </a:rPr>
              <a:t>movement</a:t>
            </a:r>
            <a:r>
              <a:rPr lang="en-gb" sz="1200">
                <a:solidFill>
                  <a:schemeClr val="tx1"/>
                </a:solidFill>
              </a:rPr>
              <a:t> </a:t>
            </a:r>
            <a:endParaRPr lang="en-US" sz="1200">
              <a:solidFill>
                <a:schemeClr val="tx1"/>
              </a:solidFill>
            </a:endParaRPr>
          </a:p>
          <a:p>
            <a:pPr algn="ctr" rtl="0">
              <a:lnSpc>
                <a:spcPct val="100000"/>
              </a:lnSpc>
            </a:pPr>
            <a:r>
              <a:rPr lang="en-gb" sz="1200">
                <a:solidFill>
                  <a:schemeClr val="tx1"/>
                </a:solidFill>
              </a:rPr>
              <a:t>(evacuation) group</a:t>
            </a:r>
          </a:p>
        </p:txBody>
      </p:sp>
      <p:sp>
        <p:nvSpPr>
          <p:cNvPr id="41" name="Rectangle 40">
            <a:extLst>
              <a:ext uri="{FF2B5EF4-FFF2-40B4-BE49-F238E27FC236}">
                <a16:creationId xmlns:a16="http://schemas.microsoft.com/office/drawing/2014/main" id="{E556FEFD-432C-C352-10B0-E68312D04B63}"/>
              </a:ext>
            </a:extLst>
          </p:cNvPr>
          <p:cNvSpPr/>
          <p:nvPr/>
        </p:nvSpPr>
        <p:spPr>
          <a:xfrm>
            <a:off x="6136494" y="4072540"/>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Food and water </a:t>
            </a:r>
            <a:endParaRPr lang="en-US" sz="1200">
              <a:solidFill>
                <a:schemeClr val="tx1"/>
              </a:solidFill>
            </a:endParaRPr>
          </a:p>
          <a:p>
            <a:pPr algn="ctr" rtl="0">
              <a:lnSpc>
                <a:spcPct val="100000"/>
              </a:lnSpc>
            </a:pPr>
            <a:r>
              <a:rPr lang="en-gb" sz="1200">
                <a:solidFill>
                  <a:schemeClr val="tx1"/>
                </a:solidFill>
              </a:rPr>
              <a:t>Collateral group</a:t>
            </a:r>
          </a:p>
        </p:txBody>
      </p:sp>
      <p:sp>
        <p:nvSpPr>
          <p:cNvPr id="42" name="Rectangle 41">
            <a:extLst>
              <a:ext uri="{FF2B5EF4-FFF2-40B4-BE49-F238E27FC236}">
                <a16:creationId xmlns:a16="http://schemas.microsoft.com/office/drawing/2014/main" id="{6E447855-DF68-F523-9708-EC53089269CB}"/>
              </a:ext>
            </a:extLst>
          </p:cNvPr>
          <p:cNvSpPr/>
          <p:nvPr/>
        </p:nvSpPr>
        <p:spPr>
          <a:xfrm>
            <a:off x="6136494"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Transport Infrastructure Group</a:t>
            </a:r>
          </a:p>
        </p:txBody>
      </p:sp>
      <p:sp>
        <p:nvSpPr>
          <p:cNvPr id="43" name="Rectangle 42">
            <a:extLst>
              <a:ext uri="{FF2B5EF4-FFF2-40B4-BE49-F238E27FC236}">
                <a16:creationId xmlns:a16="http://schemas.microsoft.com/office/drawing/2014/main" id="{D15AC798-52BB-F5C8-67BE-701A149EFE5F}"/>
              </a:ext>
            </a:extLst>
          </p:cNvPr>
          <p:cNvSpPr/>
          <p:nvPr/>
        </p:nvSpPr>
        <p:spPr>
          <a:xfrm>
            <a:off x="6136494" y="2991303"/>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Communications Support Group</a:t>
            </a:r>
          </a:p>
        </p:txBody>
      </p:sp>
      <p:sp>
        <p:nvSpPr>
          <p:cNvPr id="45" name="Rectangle 44">
            <a:extLst>
              <a:ext uri="{FF2B5EF4-FFF2-40B4-BE49-F238E27FC236}">
                <a16:creationId xmlns:a16="http://schemas.microsoft.com/office/drawing/2014/main" id="{3E3BC61C-9762-FA67-7C19-59F1B7239468}"/>
              </a:ext>
            </a:extLst>
          </p:cNvPr>
          <p:cNvSpPr/>
          <p:nvPr/>
        </p:nvSpPr>
        <p:spPr>
          <a:xfrm>
            <a:off x="6136494" y="3459922"/>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Cultural Heritage and Archives Preservation Group</a:t>
            </a:r>
          </a:p>
        </p:txBody>
      </p:sp>
      <p:sp>
        <p:nvSpPr>
          <p:cNvPr id="46" name="Rectangle 45">
            <a:extLst>
              <a:ext uri="{FF2B5EF4-FFF2-40B4-BE49-F238E27FC236}">
                <a16:creationId xmlns:a16="http://schemas.microsoft.com/office/drawing/2014/main" id="{FB80FA6E-FF4A-74ED-205A-C0D33D200D98}"/>
              </a:ext>
            </a:extLst>
          </p:cNvPr>
          <p:cNvSpPr/>
          <p:nvPr/>
        </p:nvSpPr>
        <p:spPr>
          <a:xfrm>
            <a:off x="3292475"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US" sz="1200" dirty="0">
                <a:solidFill>
                  <a:schemeClr val="tx1"/>
                </a:solidFill>
              </a:rPr>
              <a:t>Civil Protection Commission</a:t>
            </a:r>
            <a:r>
              <a:rPr lang="lv-LV" sz="1200" dirty="0">
                <a:solidFill>
                  <a:schemeClr val="tx1"/>
                </a:solidFill>
              </a:rPr>
              <a:t>s</a:t>
            </a:r>
            <a:r>
              <a:rPr lang="en-US" sz="1200" dirty="0">
                <a:solidFill>
                  <a:schemeClr val="tx1"/>
                </a:solidFill>
              </a:rPr>
              <a:t> for Local Government Cooperation Territory</a:t>
            </a:r>
            <a:r>
              <a:rPr lang="lv-LV" sz="1200" dirty="0">
                <a:solidFill>
                  <a:schemeClr val="tx1"/>
                </a:solidFill>
              </a:rPr>
              <a:t> </a:t>
            </a:r>
            <a:r>
              <a:rPr lang="en-gb" sz="1200" dirty="0">
                <a:solidFill>
                  <a:schemeClr val="tx1"/>
                </a:solidFill>
              </a:rPr>
              <a:t>Steering Group</a:t>
            </a:r>
          </a:p>
        </p:txBody>
      </p:sp>
      <p:sp>
        <p:nvSpPr>
          <p:cNvPr id="47" name="Rectangle 46">
            <a:extLst>
              <a:ext uri="{FF2B5EF4-FFF2-40B4-BE49-F238E27FC236}">
                <a16:creationId xmlns:a16="http://schemas.microsoft.com/office/drawing/2014/main" id="{14EC3B2E-40A5-362C-CFA6-7285A2699928}"/>
              </a:ext>
            </a:extLst>
          </p:cNvPr>
          <p:cNvSpPr/>
          <p:nvPr/>
        </p:nvSpPr>
        <p:spPr>
          <a:xfrm>
            <a:off x="6136494"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0000"/>
              </a:lnSpc>
            </a:pPr>
            <a:r>
              <a:rPr lang="en-gb" sz="1200">
                <a:solidFill>
                  <a:schemeClr val="tx1"/>
                </a:solidFill>
              </a:rPr>
              <a:t>Basic necessities security group</a:t>
            </a:r>
          </a:p>
        </p:txBody>
      </p:sp>
      <p:sp>
        <p:nvSpPr>
          <p:cNvPr id="48" name="TextBox 47">
            <a:extLst>
              <a:ext uri="{FF2B5EF4-FFF2-40B4-BE49-F238E27FC236}">
                <a16:creationId xmlns:a16="http://schemas.microsoft.com/office/drawing/2014/main" id="{8E721789-0606-5A51-1AD7-AE2C3DD7BA5F}"/>
              </a:ext>
            </a:extLst>
          </p:cNvPr>
          <p:cNvSpPr txBox="1"/>
          <p:nvPr/>
        </p:nvSpPr>
        <p:spPr>
          <a:xfrm>
            <a:off x="442913"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rtl="0">
              <a:lnSpc>
                <a:spcPct val="100000"/>
              </a:lnSpc>
              <a:spcAft>
                <a:spcPts val="600"/>
              </a:spcAft>
              <a:buSzPct val="100000"/>
            </a:pPr>
            <a:r>
              <a:rPr lang="en-gb" sz="1400" b="1"/>
              <a:t>Strategic level</a:t>
            </a:r>
            <a:endParaRPr lang="cs-CZ" sz="1400" b="1"/>
          </a:p>
        </p:txBody>
      </p:sp>
      <p:sp>
        <p:nvSpPr>
          <p:cNvPr id="49" name="TextBox 48">
            <a:extLst>
              <a:ext uri="{FF2B5EF4-FFF2-40B4-BE49-F238E27FC236}">
                <a16:creationId xmlns:a16="http://schemas.microsoft.com/office/drawing/2014/main" id="{CE65DA6F-9D43-7C07-EE9F-FDA0F484CC19}"/>
              </a:ext>
            </a:extLst>
          </p:cNvPr>
          <p:cNvSpPr txBox="1"/>
          <p:nvPr/>
        </p:nvSpPr>
        <p:spPr>
          <a:xfrm>
            <a:off x="3292475" y="5509548"/>
            <a:ext cx="5564170" cy="662651"/>
          </a:xfrm>
          <a:prstGeom prst="rect">
            <a:avLst/>
          </a:prstGeom>
          <a:noFill/>
          <a:ln w="3175">
            <a:solidFill>
              <a:schemeClr val="bg1">
                <a:lumMod val="75000"/>
              </a:schemeClr>
            </a:solidFill>
          </a:ln>
        </p:spPr>
        <p:txBody>
          <a:bodyPr wrap="square" lIns="0" tIns="0" rIns="0" bIns="0" rtlCol="0" anchor="ctr">
            <a:noAutofit/>
          </a:bodyPr>
          <a:lstStyle/>
          <a:p>
            <a:pPr algn="ctr" rtl="0">
              <a:lnSpc>
                <a:spcPct val="100000"/>
              </a:lnSpc>
              <a:spcAft>
                <a:spcPts val="600"/>
              </a:spcAft>
              <a:buSzPct val="100000"/>
            </a:pPr>
            <a:r>
              <a:rPr lang="en-gb" sz="1400" b="1"/>
              <a:t>Operational level</a:t>
            </a:r>
            <a:endParaRPr lang="cs-CZ" sz="1400" b="1"/>
          </a:p>
        </p:txBody>
      </p:sp>
      <p:sp>
        <p:nvSpPr>
          <p:cNvPr id="51" name="TextBox 50">
            <a:extLst>
              <a:ext uri="{FF2B5EF4-FFF2-40B4-BE49-F238E27FC236}">
                <a16:creationId xmlns:a16="http://schemas.microsoft.com/office/drawing/2014/main" id="{84CC2273-A4B4-153A-058F-5D86DE0AB628}"/>
              </a:ext>
            </a:extLst>
          </p:cNvPr>
          <p:cNvSpPr txBox="1"/>
          <p:nvPr/>
        </p:nvSpPr>
        <p:spPr>
          <a:xfrm>
            <a:off x="9253538"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rtl="0">
              <a:lnSpc>
                <a:spcPct val="100000"/>
              </a:lnSpc>
              <a:spcAft>
                <a:spcPts val="600"/>
              </a:spcAft>
              <a:buSzPct val="100000"/>
            </a:pPr>
            <a:r>
              <a:rPr lang="en-gb" sz="1400" b="1"/>
              <a:t>Tactical level</a:t>
            </a:r>
            <a:endParaRPr lang="cs-CZ" sz="1400" b="1"/>
          </a:p>
        </p:txBody>
      </p:sp>
      <p:pic>
        <p:nvPicPr>
          <p:cNvPr id="53" name="Graphic 52">
            <a:extLst>
              <a:ext uri="{FF2B5EF4-FFF2-40B4-BE49-F238E27FC236}">
                <a16:creationId xmlns:a16="http://schemas.microsoft.com/office/drawing/2014/main" id="{DA6551F7-D68B-F6FE-240C-A1D993C5A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30945" y="4079525"/>
            <a:ext cx="714722" cy="714722"/>
          </a:xfrm>
          <a:prstGeom prst="rect">
            <a:avLst/>
          </a:prstGeom>
        </p:spPr>
      </p:pic>
      <p:sp>
        <p:nvSpPr>
          <p:cNvPr id="55" name="Freeform 65">
            <a:extLst>
              <a:ext uri="{FF2B5EF4-FFF2-40B4-BE49-F238E27FC236}">
                <a16:creationId xmlns:a16="http://schemas.microsoft.com/office/drawing/2014/main" id="{DFFB22B8-5CAA-ED33-2ECC-97E2DCF957DF}"/>
              </a:ext>
            </a:extLst>
          </p:cNvPr>
          <p:cNvSpPr>
            <a:spLocks noChangeAspect="1" noEditPoints="1"/>
          </p:cNvSpPr>
          <p:nvPr/>
        </p:nvSpPr>
        <p:spPr bwMode="auto">
          <a:xfrm>
            <a:off x="10154718" y="4078284"/>
            <a:ext cx="715963" cy="7159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2" name="object 24">
            <a:extLst>
              <a:ext uri="{FF2B5EF4-FFF2-40B4-BE49-F238E27FC236}">
                <a16:creationId xmlns:a16="http://schemas.microsoft.com/office/drawing/2014/main" id="{4C5C1BE0-6814-ED81-7962-447D55F5B987}"/>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en-GB" smtClean="0"/>
              <a:pPr rtl="0"/>
              <a:t>17</a:t>
            </a:fld>
            <a:endParaRPr lang="en-GB"/>
          </a:p>
        </p:txBody>
      </p:sp>
      <p:sp>
        <p:nvSpPr>
          <p:cNvPr id="23" name="Rectangle 22">
            <a:extLst>
              <a:ext uri="{FF2B5EF4-FFF2-40B4-BE49-F238E27FC236}">
                <a16:creationId xmlns:a16="http://schemas.microsoft.com/office/drawing/2014/main" id="{8152A51C-B7D7-2B7F-BE19-FDED47A059BD}"/>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3" name="Group 2">
            <a:extLst>
              <a:ext uri="{FF2B5EF4-FFF2-40B4-BE49-F238E27FC236}">
                <a16:creationId xmlns:a16="http://schemas.microsoft.com/office/drawing/2014/main" id="{A9C5EE3E-4CEE-671E-1EA1-758CAE0A9275}"/>
              </a:ext>
            </a:extLst>
          </p:cNvPr>
          <p:cNvGrpSpPr/>
          <p:nvPr/>
        </p:nvGrpSpPr>
        <p:grpSpPr>
          <a:xfrm>
            <a:off x="6597001" y="124926"/>
            <a:ext cx="5150498" cy="230498"/>
            <a:chOff x="6351171" y="122774"/>
            <a:chExt cx="5150498" cy="230498"/>
          </a:xfrm>
        </p:grpSpPr>
        <p:sp>
          <p:nvSpPr>
            <p:cNvPr id="4" name="Rectangle 3">
              <a:extLst>
                <a:ext uri="{FF2B5EF4-FFF2-40B4-BE49-F238E27FC236}">
                  <a16:creationId xmlns:a16="http://schemas.microsoft.com/office/drawing/2014/main" id="{949F21B0-7628-E2A7-0F69-F575083F90EA}"/>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16" name="Rectangle 15">
              <a:extLst>
                <a:ext uri="{FF2B5EF4-FFF2-40B4-BE49-F238E27FC236}">
                  <a16:creationId xmlns:a16="http://schemas.microsoft.com/office/drawing/2014/main" id="{FF5B1784-BF0C-9549-4A57-388C06BD3C9F}"/>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17" name="Rectangle 16">
              <a:extLst>
                <a:ext uri="{FF2B5EF4-FFF2-40B4-BE49-F238E27FC236}">
                  <a16:creationId xmlns:a16="http://schemas.microsoft.com/office/drawing/2014/main" id="{6076D1A6-16E7-0BBA-EB48-373D8798CFE7}"/>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18" name="Rectangle 17">
              <a:extLst>
                <a:ext uri="{FF2B5EF4-FFF2-40B4-BE49-F238E27FC236}">
                  <a16:creationId xmlns:a16="http://schemas.microsoft.com/office/drawing/2014/main" id="{05F8259D-E856-7FD0-49A6-03FD39CFADB7}"/>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19" name="Rectangle 18">
              <a:extLst>
                <a:ext uri="{FF2B5EF4-FFF2-40B4-BE49-F238E27FC236}">
                  <a16:creationId xmlns:a16="http://schemas.microsoft.com/office/drawing/2014/main" id="{91A75DB2-6B27-A20D-4A26-F1A713610259}"/>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20" name="Rectangle 19">
              <a:extLst>
                <a:ext uri="{FF2B5EF4-FFF2-40B4-BE49-F238E27FC236}">
                  <a16:creationId xmlns:a16="http://schemas.microsoft.com/office/drawing/2014/main" id="{C93B1233-0F90-7268-E689-067A4CA712DC}"/>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Tree>
    <p:extLst>
      <p:ext uri="{BB962C8B-B14F-4D97-AF65-F5344CB8AC3E}">
        <p14:creationId xmlns:p14="http://schemas.microsoft.com/office/powerpoint/2010/main" val="2731229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C123D3F-8291-84F2-B48E-02E31E278036}"/>
              </a:ext>
            </a:extLst>
          </p:cNvPr>
          <p:cNvPicPr>
            <a:picLocks noChangeAspect="1"/>
          </p:cNvPicPr>
          <p:nvPr/>
        </p:nvPicPr>
        <p:blipFill rotWithShape="1">
          <a:blip r:embed="rId3"/>
          <a:srcRect l="22964" r="22964"/>
          <a:stretch/>
        </p:blipFill>
        <p:spPr>
          <a:xfrm>
            <a:off x="442913" y="1819274"/>
            <a:ext cx="3530600" cy="4352925"/>
          </a:xfrm>
          <a:prstGeom prst="rect">
            <a:avLst/>
          </a:prstGeom>
        </p:spPr>
      </p:pic>
      <p:sp>
        <p:nvSpPr>
          <p:cNvPr id="20" name="Rectangle 19">
            <a:extLst>
              <a:ext uri="{FF2B5EF4-FFF2-40B4-BE49-F238E27FC236}">
                <a16:creationId xmlns:a16="http://schemas.microsoft.com/office/drawing/2014/main" id="{9E37260E-4A2E-237C-717D-AABF4DF78E82}"/>
              </a:ext>
            </a:extLst>
          </p:cNvPr>
          <p:cNvSpPr/>
          <p:nvPr/>
        </p:nvSpPr>
        <p:spPr>
          <a:xfrm>
            <a:off x="5007196" y="250472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dirty="0" err="1">
                <a:solidFill>
                  <a:schemeClr val="tx1"/>
                </a:solidFill>
              </a:rPr>
              <a:t>during</a:t>
            </a:r>
            <a:r>
              <a:rPr lang="lv-LV" sz="1400" dirty="0">
                <a:solidFill>
                  <a:schemeClr val="tx1"/>
                </a:solidFill>
              </a:rPr>
              <a:t> </a:t>
            </a:r>
            <a:r>
              <a:rPr lang="en-gb" sz="1400" dirty="0">
                <a:solidFill>
                  <a:schemeClr val="tx1"/>
                </a:solidFill>
              </a:rPr>
              <a:t>national and regional disasters</a:t>
            </a:r>
            <a:r>
              <a:rPr lang="lv-LV" sz="1400" dirty="0">
                <a:solidFill>
                  <a:schemeClr val="tx1"/>
                </a:solidFill>
              </a:rPr>
              <a:t>,</a:t>
            </a:r>
            <a:r>
              <a:rPr lang="en-gb" sz="1400" dirty="0">
                <a:solidFill>
                  <a:schemeClr val="tx1"/>
                </a:solidFill>
              </a:rPr>
              <a:t> </a:t>
            </a:r>
          </a:p>
        </p:txBody>
      </p:sp>
      <p:sp>
        <p:nvSpPr>
          <p:cNvPr id="22" name="Rectangle 21">
            <a:extLst>
              <a:ext uri="{FF2B5EF4-FFF2-40B4-BE49-F238E27FC236}">
                <a16:creationId xmlns:a16="http://schemas.microsoft.com/office/drawing/2014/main" id="{4F15A08B-341B-83AB-C698-02B91A85BB91}"/>
              </a:ext>
            </a:extLst>
          </p:cNvPr>
          <p:cNvSpPr/>
          <p:nvPr/>
        </p:nvSpPr>
        <p:spPr>
          <a:xfrm>
            <a:off x="5007196" y="346321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a:solidFill>
                  <a:schemeClr val="tx1"/>
                </a:solidFill>
              </a:rPr>
              <a:t>in the event of a disaster, </a:t>
            </a:r>
          </a:p>
        </p:txBody>
      </p:sp>
      <p:sp>
        <p:nvSpPr>
          <p:cNvPr id="23" name="Rectangle 22">
            <a:extLst>
              <a:ext uri="{FF2B5EF4-FFF2-40B4-BE49-F238E27FC236}">
                <a16:creationId xmlns:a16="http://schemas.microsoft.com/office/drawing/2014/main" id="{05CA1F69-6BBB-7AE7-1C27-600330A2C998}"/>
              </a:ext>
            </a:extLst>
          </p:cNvPr>
          <p:cNvSpPr/>
          <p:nvPr/>
        </p:nvSpPr>
        <p:spPr>
          <a:xfrm>
            <a:off x="5007196" y="442170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dirty="0" err="1">
                <a:solidFill>
                  <a:schemeClr val="tx1"/>
                </a:solidFill>
              </a:rPr>
              <a:t>in</a:t>
            </a:r>
            <a:r>
              <a:rPr lang="lv-LV" sz="1400" dirty="0">
                <a:solidFill>
                  <a:schemeClr val="tx1"/>
                </a:solidFill>
              </a:rPr>
              <a:t> </a:t>
            </a:r>
            <a:r>
              <a:rPr lang="lv-LV" sz="1400" dirty="0" err="1">
                <a:solidFill>
                  <a:schemeClr val="tx1"/>
                </a:solidFill>
              </a:rPr>
              <a:t>case</a:t>
            </a:r>
            <a:r>
              <a:rPr lang="lv-LV" sz="1400" dirty="0">
                <a:solidFill>
                  <a:schemeClr val="tx1"/>
                </a:solidFill>
              </a:rPr>
              <a:t> </a:t>
            </a:r>
            <a:r>
              <a:rPr lang="lv-LV" sz="1400" dirty="0" err="1">
                <a:solidFill>
                  <a:schemeClr val="tx1"/>
                </a:solidFill>
              </a:rPr>
              <a:t>of</a:t>
            </a:r>
            <a:r>
              <a:rPr lang="lv-LV" sz="1400" dirty="0">
                <a:solidFill>
                  <a:schemeClr val="tx1"/>
                </a:solidFill>
              </a:rPr>
              <a:t> </a:t>
            </a:r>
            <a:r>
              <a:rPr lang="en-gb" sz="1400" dirty="0">
                <a:solidFill>
                  <a:schemeClr val="tx1"/>
                </a:solidFill>
              </a:rPr>
              <a:t>war</a:t>
            </a:r>
            <a:r>
              <a:rPr lang="lv-LV" sz="1400" dirty="0">
                <a:solidFill>
                  <a:schemeClr val="tx1"/>
                </a:solidFill>
              </a:rPr>
              <a:t>,</a:t>
            </a:r>
            <a:endParaRPr lang="en-gb" sz="1400" dirty="0">
              <a:solidFill>
                <a:schemeClr val="tx1"/>
              </a:solidFill>
            </a:endParaRPr>
          </a:p>
        </p:txBody>
      </p:sp>
      <p:sp>
        <p:nvSpPr>
          <p:cNvPr id="24" name="Rectangle 23">
            <a:extLst>
              <a:ext uri="{FF2B5EF4-FFF2-40B4-BE49-F238E27FC236}">
                <a16:creationId xmlns:a16="http://schemas.microsoft.com/office/drawing/2014/main" id="{E9643F06-BFBA-83AC-3FEE-1823301E5097}"/>
              </a:ext>
            </a:extLst>
          </p:cNvPr>
          <p:cNvSpPr/>
          <p:nvPr/>
        </p:nvSpPr>
        <p:spPr>
          <a:xfrm>
            <a:off x="5007196" y="5380200"/>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a:solidFill>
                  <a:schemeClr val="tx1"/>
                </a:solidFill>
              </a:rPr>
              <a:t>in the event of military invasion or threat thereof</a:t>
            </a:r>
          </a:p>
        </p:txBody>
      </p:sp>
      <p:grpSp>
        <p:nvGrpSpPr>
          <p:cNvPr id="38" name="Group 37">
            <a:extLst>
              <a:ext uri="{FF2B5EF4-FFF2-40B4-BE49-F238E27FC236}">
                <a16:creationId xmlns:a16="http://schemas.microsoft.com/office/drawing/2014/main" id="{9E389FCD-2D09-2C4C-F3A9-F5E02E0C9371}"/>
              </a:ext>
            </a:extLst>
          </p:cNvPr>
          <p:cNvGrpSpPr/>
          <p:nvPr/>
        </p:nvGrpSpPr>
        <p:grpSpPr>
          <a:xfrm>
            <a:off x="4327525" y="2506663"/>
            <a:ext cx="576000" cy="792163"/>
            <a:chOff x="441326" y="2506663"/>
            <a:chExt cx="576000" cy="792163"/>
          </a:xfrm>
        </p:grpSpPr>
        <p:sp>
          <p:nvSpPr>
            <p:cNvPr id="26" name="Rectangle 25">
              <a:extLst>
                <a:ext uri="{FF2B5EF4-FFF2-40B4-BE49-F238E27FC236}">
                  <a16:creationId xmlns:a16="http://schemas.microsoft.com/office/drawing/2014/main" id="{99012F6C-7A3C-5071-6733-10B80BA1819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7" name="L-Shape 26">
              <a:extLst>
                <a:ext uri="{FF2B5EF4-FFF2-40B4-BE49-F238E27FC236}">
                  <a16:creationId xmlns:a16="http://schemas.microsoft.com/office/drawing/2014/main" id="{81904B36-FE59-B4EC-D43C-0FB0ACA94E65}"/>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rtlCol="0">
            <a:normAutofit/>
          </a:bodyPr>
          <a:lstStyle/>
          <a:p>
            <a:pPr rtl="0"/>
            <a:r>
              <a:rPr lang="en-gb"/>
              <a:t>Tasks of the </a:t>
            </a:r>
            <a:r>
              <a:rPr lang="en-US"/>
              <a:t>Operational Control Centre of Civil Protection</a:t>
            </a:r>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A9DEB5B7-0CCF-447A-91D6-F7DB098D19F7}" type="slidenum">
              <a:rPr lang="lv-LV" altLang="en-US" noProof="0"/>
              <a:pPr lvl="0" rtl="0"/>
              <a:t>18</a:t>
            </a:fld>
            <a:endParaRPr lang="lv-LV" altLang="en-US" noProof="0"/>
          </a:p>
        </p:txBody>
      </p:sp>
      <p:sp>
        <p:nvSpPr>
          <p:cNvPr id="5" name="Rectangle 4">
            <a:extLst>
              <a:ext uri="{FF2B5EF4-FFF2-40B4-BE49-F238E27FC236}">
                <a16:creationId xmlns:a16="http://schemas.microsoft.com/office/drawing/2014/main" id="{59E0BC62-C563-1ABD-2B52-C1D580548F2A}"/>
              </a:ext>
            </a:extLst>
          </p:cNvPr>
          <p:cNvSpPr/>
          <p:nvPr/>
        </p:nvSpPr>
        <p:spPr>
          <a:xfrm>
            <a:off x="4327525"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dirty="0"/>
              <a:t>Coordinating the national civil protection system</a:t>
            </a:r>
          </a:p>
        </p:txBody>
      </p:sp>
      <p:sp>
        <p:nvSpPr>
          <p:cNvPr id="7" name="Rectangle 6">
            <a:extLst>
              <a:ext uri="{FF2B5EF4-FFF2-40B4-BE49-F238E27FC236}">
                <a16:creationId xmlns:a16="http://schemas.microsoft.com/office/drawing/2014/main" id="{2408AF45-B07A-C4F5-E222-677CFFCAE3E8}"/>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Rectangle 7">
            <a:extLst>
              <a:ext uri="{FF2B5EF4-FFF2-40B4-BE49-F238E27FC236}">
                <a16:creationId xmlns:a16="http://schemas.microsoft.com/office/drawing/2014/main" id="{51B62037-B422-D9BC-4FBC-E63BBACC04AB}"/>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39" name="Group 38">
            <a:extLst>
              <a:ext uri="{FF2B5EF4-FFF2-40B4-BE49-F238E27FC236}">
                <a16:creationId xmlns:a16="http://schemas.microsoft.com/office/drawing/2014/main" id="{13E69BB8-0693-157A-8563-99946ACCB70B}"/>
              </a:ext>
            </a:extLst>
          </p:cNvPr>
          <p:cNvGrpSpPr/>
          <p:nvPr/>
        </p:nvGrpSpPr>
        <p:grpSpPr>
          <a:xfrm>
            <a:off x="4327525" y="3464454"/>
            <a:ext cx="576000" cy="792163"/>
            <a:chOff x="441326" y="2506663"/>
            <a:chExt cx="576000" cy="792163"/>
          </a:xfrm>
        </p:grpSpPr>
        <p:sp>
          <p:nvSpPr>
            <p:cNvPr id="40" name="Rectangle 39">
              <a:extLst>
                <a:ext uri="{FF2B5EF4-FFF2-40B4-BE49-F238E27FC236}">
                  <a16:creationId xmlns:a16="http://schemas.microsoft.com/office/drawing/2014/main" id="{78B8A44B-2AAF-414C-09F5-AD3373E86AE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1" name="L-Shape 40">
              <a:extLst>
                <a:ext uri="{FF2B5EF4-FFF2-40B4-BE49-F238E27FC236}">
                  <a16:creationId xmlns:a16="http://schemas.microsoft.com/office/drawing/2014/main" id="{A5CD25BD-47BA-5581-F321-80F098C3097E}"/>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2" name="Group 41">
            <a:extLst>
              <a:ext uri="{FF2B5EF4-FFF2-40B4-BE49-F238E27FC236}">
                <a16:creationId xmlns:a16="http://schemas.microsoft.com/office/drawing/2014/main" id="{A4CA4AD9-995C-BC85-6C50-F7110CC6A28A}"/>
              </a:ext>
            </a:extLst>
          </p:cNvPr>
          <p:cNvGrpSpPr/>
          <p:nvPr/>
        </p:nvGrpSpPr>
        <p:grpSpPr>
          <a:xfrm>
            <a:off x="4327525" y="4422245"/>
            <a:ext cx="576000" cy="792163"/>
            <a:chOff x="441326" y="2506663"/>
            <a:chExt cx="576000" cy="792163"/>
          </a:xfrm>
        </p:grpSpPr>
        <p:sp>
          <p:nvSpPr>
            <p:cNvPr id="43" name="Rectangle 42">
              <a:extLst>
                <a:ext uri="{FF2B5EF4-FFF2-40B4-BE49-F238E27FC236}">
                  <a16:creationId xmlns:a16="http://schemas.microsoft.com/office/drawing/2014/main" id="{1EEE2FBF-3553-962F-24F7-B50911C799FA}"/>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4" name="L-Shape 43">
              <a:extLst>
                <a:ext uri="{FF2B5EF4-FFF2-40B4-BE49-F238E27FC236}">
                  <a16:creationId xmlns:a16="http://schemas.microsoft.com/office/drawing/2014/main" id="{42164CCF-0F0B-2B2E-BE50-1F6CEB1F96CC}"/>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5" name="Group 44">
            <a:extLst>
              <a:ext uri="{FF2B5EF4-FFF2-40B4-BE49-F238E27FC236}">
                <a16:creationId xmlns:a16="http://schemas.microsoft.com/office/drawing/2014/main" id="{90501613-C9C1-2796-1FE2-1AC60E0CC26D}"/>
              </a:ext>
            </a:extLst>
          </p:cNvPr>
          <p:cNvGrpSpPr/>
          <p:nvPr/>
        </p:nvGrpSpPr>
        <p:grpSpPr>
          <a:xfrm>
            <a:off x="4327525" y="5380037"/>
            <a:ext cx="576000" cy="792163"/>
            <a:chOff x="441326" y="2506663"/>
            <a:chExt cx="576000" cy="792163"/>
          </a:xfrm>
        </p:grpSpPr>
        <p:sp>
          <p:nvSpPr>
            <p:cNvPr id="46" name="Rectangle 45">
              <a:extLst>
                <a:ext uri="{FF2B5EF4-FFF2-40B4-BE49-F238E27FC236}">
                  <a16:creationId xmlns:a16="http://schemas.microsoft.com/office/drawing/2014/main" id="{4B2E6CA2-6B82-135E-C316-107E7BD89EB2}"/>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7" name="L-Shape 46">
              <a:extLst>
                <a:ext uri="{FF2B5EF4-FFF2-40B4-BE49-F238E27FC236}">
                  <a16:creationId xmlns:a16="http://schemas.microsoft.com/office/drawing/2014/main" id="{FEC6FB97-817B-9E56-112D-81C73E9C7E69}"/>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48" name="Rectangle 47">
            <a:extLst>
              <a:ext uri="{FF2B5EF4-FFF2-40B4-BE49-F238E27FC236}">
                <a16:creationId xmlns:a16="http://schemas.microsoft.com/office/drawing/2014/main" id="{E427FBA8-D801-1663-212D-92C41E2A1DD0}"/>
              </a:ext>
            </a:extLst>
          </p:cNvPr>
          <p:cNvSpPr/>
          <p:nvPr/>
        </p:nvSpPr>
        <p:spPr>
          <a:xfrm rot="5400000">
            <a:off x="2172494" y="4371181"/>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57" name="Google Shape;738;p79">
            <a:extLst>
              <a:ext uri="{FF2B5EF4-FFF2-40B4-BE49-F238E27FC236}">
                <a16:creationId xmlns:a16="http://schemas.microsoft.com/office/drawing/2014/main" id="{FE9C66E0-222F-F2FE-C5DE-C97F7DA8988D}"/>
              </a:ext>
            </a:extLst>
          </p:cNvPr>
          <p:cNvGrpSpPr/>
          <p:nvPr/>
        </p:nvGrpSpPr>
        <p:grpSpPr>
          <a:xfrm>
            <a:off x="11279499" y="1927275"/>
            <a:ext cx="360000" cy="360000"/>
            <a:chOff x="2538910" y="4634724"/>
            <a:chExt cx="457200" cy="457200"/>
          </a:xfrm>
          <a:solidFill>
            <a:schemeClr val="bg1"/>
          </a:solidFill>
        </p:grpSpPr>
        <p:sp>
          <p:nvSpPr>
            <p:cNvPr id="58" name="Google Shape;739;p79">
              <a:extLst>
                <a:ext uri="{FF2B5EF4-FFF2-40B4-BE49-F238E27FC236}">
                  <a16:creationId xmlns:a16="http://schemas.microsoft.com/office/drawing/2014/main" id="{0BEF674A-5D57-8606-4DDC-CD969390B3F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9" name="Google Shape;740;p79">
              <a:extLst>
                <a:ext uri="{FF2B5EF4-FFF2-40B4-BE49-F238E27FC236}">
                  <a16:creationId xmlns:a16="http://schemas.microsoft.com/office/drawing/2014/main" id="{5A84B8DE-559A-5EFC-FA1E-31C2BE36EB7D}"/>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60" name="Google Shape;741;p79">
              <a:extLst>
                <a:ext uri="{FF2B5EF4-FFF2-40B4-BE49-F238E27FC236}">
                  <a16:creationId xmlns:a16="http://schemas.microsoft.com/office/drawing/2014/main" id="{B479609E-1A70-0328-CEF2-329607BA3071}"/>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5" name="Rectangle 24">
            <a:extLst>
              <a:ext uri="{FF2B5EF4-FFF2-40B4-BE49-F238E27FC236}">
                <a16:creationId xmlns:a16="http://schemas.microsoft.com/office/drawing/2014/main" id="{CA3EE79B-E8E9-CBDD-5677-C516FFF6AB53}"/>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9C2F37F5-99AA-8830-05A0-1F8A45AD8F47}"/>
              </a:ext>
            </a:extLst>
          </p:cNvPr>
          <p:cNvGrpSpPr/>
          <p:nvPr/>
        </p:nvGrpSpPr>
        <p:grpSpPr>
          <a:xfrm>
            <a:off x="6597001" y="124926"/>
            <a:ext cx="5150498" cy="230498"/>
            <a:chOff x="6351171" y="122774"/>
            <a:chExt cx="5150498" cy="230498"/>
          </a:xfrm>
        </p:grpSpPr>
        <p:sp>
          <p:nvSpPr>
            <p:cNvPr id="3" name="Rectangle 2">
              <a:extLst>
                <a:ext uri="{FF2B5EF4-FFF2-40B4-BE49-F238E27FC236}">
                  <a16:creationId xmlns:a16="http://schemas.microsoft.com/office/drawing/2014/main" id="{39D926DA-BD9B-9927-6E82-FF578AE615C6}"/>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2</a:t>
              </a:r>
            </a:p>
          </p:txBody>
        </p:sp>
        <p:sp>
          <p:nvSpPr>
            <p:cNvPr id="6" name="Rectangle 5">
              <a:extLst>
                <a:ext uri="{FF2B5EF4-FFF2-40B4-BE49-F238E27FC236}">
                  <a16:creationId xmlns:a16="http://schemas.microsoft.com/office/drawing/2014/main" id="{B53B056B-B490-A5FB-6E0E-CA8E8827D0BF}"/>
                </a:ext>
              </a:extLst>
            </p:cNvPr>
            <p:cNvSpPr/>
            <p:nvPr/>
          </p:nvSpPr>
          <p:spPr>
            <a:xfrm>
              <a:off x="6854868" y="1227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ym typeface="Georgia"/>
                </a:rPr>
                <a:t>2.3</a:t>
              </a:r>
              <a:endParaRPr lang="en-US"/>
            </a:p>
          </p:txBody>
        </p:sp>
        <p:sp>
          <p:nvSpPr>
            <p:cNvPr id="9" name="Rectangle 8">
              <a:extLst>
                <a:ext uri="{FF2B5EF4-FFF2-40B4-BE49-F238E27FC236}">
                  <a16:creationId xmlns:a16="http://schemas.microsoft.com/office/drawing/2014/main" id="{499E91B8-8BF6-2F7C-D17B-B4BD35C462EA}"/>
                </a:ext>
              </a:extLst>
            </p:cNvPr>
            <p:cNvSpPr/>
            <p:nvPr/>
          </p:nvSpPr>
          <p:spPr>
            <a:xfrm>
              <a:off x="7102070" y="122774"/>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latin typeface="Arial"/>
                  <a:cs typeface="Arial"/>
                </a:rPr>
                <a:t>Organisation and Management of the System of Civil Protection </a:t>
              </a:r>
            </a:p>
          </p:txBody>
        </p:sp>
        <p:sp>
          <p:nvSpPr>
            <p:cNvPr id="10" name="Rectangle 9">
              <a:extLst>
                <a:ext uri="{FF2B5EF4-FFF2-40B4-BE49-F238E27FC236}">
                  <a16:creationId xmlns:a16="http://schemas.microsoft.com/office/drawing/2014/main" id="{CF16BCAA-570F-A770-48F5-3C640056F64A}"/>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4</a:t>
              </a:r>
              <a:endParaRPr lang="en-US"/>
            </a:p>
          </p:txBody>
        </p:sp>
        <p:sp>
          <p:nvSpPr>
            <p:cNvPr id="11" name="Rectangle 10">
              <a:extLst>
                <a:ext uri="{FF2B5EF4-FFF2-40B4-BE49-F238E27FC236}">
                  <a16:creationId xmlns:a16="http://schemas.microsoft.com/office/drawing/2014/main" id="{701A46ED-E8FE-E53F-FB2F-2A44996906FC}"/>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5</a:t>
              </a:r>
              <a:endParaRPr lang="en-US"/>
            </a:p>
          </p:txBody>
        </p:sp>
        <p:sp>
          <p:nvSpPr>
            <p:cNvPr id="12" name="Rectangle 11">
              <a:extLst>
                <a:ext uri="{FF2B5EF4-FFF2-40B4-BE49-F238E27FC236}">
                  <a16:creationId xmlns:a16="http://schemas.microsoft.com/office/drawing/2014/main" id="{45245B99-B087-2AA9-B5FE-298FD3C6A8F2}"/>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a:lnSpc>
                  <a:spcPct val="100000"/>
                </a:lnSpc>
                <a:spcBef>
                  <a:spcPts val="0"/>
                </a:spcBef>
                <a:spcAft>
                  <a:spcPts val="0"/>
                </a:spcAft>
                <a:buNone/>
                <a:tabLst/>
                <a:defRPr/>
              </a:pPr>
              <a:r>
                <a:rPr lang="en-gb" sz="800" b="1" kern="0">
                  <a:solidFill>
                    <a:srgbClr val="A4A3B2"/>
                  </a:solidFill>
                  <a:sym typeface="Georgia"/>
                </a:rPr>
                <a:t>2.1</a:t>
              </a:r>
              <a:endParaRPr lang="en-US"/>
            </a:p>
          </p:txBody>
        </p:sp>
      </p:grpSp>
    </p:spTree>
    <p:extLst>
      <p:ext uri="{BB962C8B-B14F-4D97-AF65-F5344CB8AC3E}">
        <p14:creationId xmlns:p14="http://schemas.microsoft.com/office/powerpoint/2010/main" val="2326445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40A6A7B-2B87-4B90-13A2-74CF008C6E1F}"/>
              </a:ext>
            </a:extLst>
          </p:cNvPr>
          <p:cNvPicPr>
            <a:picLocks noGrp="1" noChangeAspect="1"/>
          </p:cNvPicPr>
          <p:nvPr>
            <p:ph type="pic" sz="quarter" idx="10"/>
          </p:nvPr>
        </p:nvPicPr>
        <p:blipFill>
          <a:blip r:embed="rId3"/>
          <a:srcRect t="20918" b="20918"/>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rtl="0"/>
            <a:r>
              <a:rPr lang="en-gb" sz="4000" dirty="0"/>
              <a:t>2.4. </a:t>
            </a:r>
            <a:r>
              <a:rPr lang="en-GB" sz="4000" dirty="0"/>
              <a:t>Civil Protection Measure Planning </a:t>
            </a:r>
          </a:p>
        </p:txBody>
      </p:sp>
    </p:spTree>
    <p:extLst>
      <p:ext uri="{BB962C8B-B14F-4D97-AF65-F5344CB8AC3E}">
        <p14:creationId xmlns:p14="http://schemas.microsoft.com/office/powerpoint/2010/main" val="4260349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a:t>Tasks</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0209" y="1832844"/>
            <a:ext cx="5473702" cy="251065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en-GB" sz="1600" err="1">
                <a:cs typeface="Arial"/>
              </a:rPr>
              <a:t>Educatees</a:t>
            </a:r>
            <a:r>
              <a:rPr lang="en-gb" sz="1600">
                <a:cs typeface="Arial"/>
              </a:rPr>
              <a:t>:</a:t>
            </a:r>
          </a:p>
          <a:p>
            <a:pPr marL="742950" lvl="3" indent="-285750" rtl="0">
              <a:buBlip>
                <a:blip r:embed="rId3"/>
              </a:buBlip>
            </a:pPr>
            <a:r>
              <a:rPr lang="en-gb" sz="1600">
                <a:cs typeface="Arial"/>
              </a:rPr>
              <a:t>can explain the hierarchy of laws and regulations that define the legal framework for civil protection; </a:t>
            </a:r>
          </a:p>
          <a:p>
            <a:pPr marL="742950" lvl="3" indent="-285750" rtl="0">
              <a:buBlip>
                <a:blip r:embed="rId3"/>
              </a:buBlip>
            </a:pPr>
            <a:r>
              <a:rPr lang="en-gb" sz="1600">
                <a:cs typeface="Arial"/>
              </a:rPr>
              <a:t>understand civil protection planning documents and processes;</a:t>
            </a:r>
          </a:p>
          <a:p>
            <a:pPr marL="742950" lvl="3" indent="-285750" rtl="0">
              <a:buBlip>
                <a:blip r:embed="rId3"/>
              </a:buBlip>
            </a:pPr>
            <a:r>
              <a:rPr lang="en-gb" sz="1600">
                <a:cs typeface="Arial"/>
              </a:rPr>
              <a:t>understand the organisational structure of </a:t>
            </a:r>
            <a:r>
              <a:rPr lang="en-gb" sz="1600" err="1">
                <a:cs typeface="Arial"/>
              </a:rPr>
              <a:t>th</a:t>
            </a:r>
            <a:r>
              <a:rPr lang="lv-LV" sz="1600">
                <a:cs typeface="Arial"/>
              </a:rPr>
              <a:t>e</a:t>
            </a:r>
            <a:r>
              <a:rPr lang="en-GB" sz="1600">
                <a:cs typeface="Arial"/>
              </a:rPr>
              <a:t> system</a:t>
            </a:r>
            <a:r>
              <a:rPr lang="lv-LV" sz="1600">
                <a:cs typeface="Arial"/>
              </a:rPr>
              <a:t> </a:t>
            </a:r>
            <a:r>
              <a:rPr lang="lv-LV" sz="1600" err="1">
                <a:cs typeface="Arial"/>
              </a:rPr>
              <a:t>of</a:t>
            </a:r>
            <a:r>
              <a:rPr lang="lv-LV" sz="1600">
                <a:cs typeface="Arial"/>
              </a:rPr>
              <a:t> </a:t>
            </a:r>
            <a:r>
              <a:rPr lang="en-gb" sz="1600">
                <a:cs typeface="Arial"/>
              </a:rPr>
              <a:t>civil protection;  </a:t>
            </a:r>
          </a:p>
          <a:p>
            <a:pPr marL="742950" lvl="3" indent="-285750" rtl="0">
              <a:buBlip>
                <a:blip r:embed="rId3"/>
              </a:buBlip>
            </a:pPr>
            <a:r>
              <a:rPr lang="en-gb" sz="1600">
                <a:cs typeface="Arial"/>
              </a:rPr>
              <a:t>can identify when special legal regimes need to be declared</a:t>
            </a:r>
            <a:r>
              <a:rPr lang="lv-LV" sz="1600">
                <a:cs typeface="Arial"/>
              </a:rPr>
              <a:t>.</a:t>
            </a:r>
            <a:endParaRPr lang="en-GB" sz="160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80210"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en-GB" sz="3600" dirty="0">
                <a:latin typeface="Georgia"/>
                <a:cs typeface="Arial"/>
              </a:rPr>
              <a:t>Intended </a:t>
            </a:r>
            <a:r>
              <a:rPr lang="lv-LV" sz="3600" dirty="0">
                <a:latin typeface="Georgia"/>
                <a:cs typeface="Arial"/>
              </a:rPr>
              <a:t>R</a:t>
            </a:r>
            <a:r>
              <a:rPr lang="en-GB" sz="3600" dirty="0" err="1">
                <a:latin typeface="Georgia"/>
                <a:cs typeface="Arial"/>
              </a:rPr>
              <a:t>esult</a:t>
            </a:r>
            <a:r>
              <a:rPr lang="lv-LV" sz="3600" dirty="0">
                <a:latin typeface="Georgia"/>
                <a:cs typeface="Arial"/>
              </a:rPr>
              <a:t>s</a:t>
            </a:r>
            <a:endParaRPr lang="lv-LV"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32843"/>
            <a:ext cx="5473702" cy="250981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To introduce </a:t>
            </a:r>
            <a:r>
              <a:rPr lang="lv-LV" sz="1600" dirty="0">
                <a:cs typeface="Arial"/>
              </a:rPr>
              <a:t>e</a:t>
            </a:r>
            <a:r>
              <a:rPr lang="en-GB" sz="1600" dirty="0" err="1">
                <a:cs typeface="Arial"/>
              </a:rPr>
              <a:t>ducates</a:t>
            </a:r>
            <a:r>
              <a:rPr lang="lv-LV" sz="1600" dirty="0">
                <a:cs typeface="Arial"/>
              </a:rPr>
              <a:t> to</a:t>
            </a:r>
            <a:r>
              <a:rPr lang="en-gb" sz="1600" dirty="0">
                <a:cs typeface="Arial"/>
              </a:rPr>
              <a:t>: </a:t>
            </a:r>
          </a:p>
          <a:p>
            <a:pPr marL="740664" indent="-285750" rtl="0">
              <a:buBlip>
                <a:blip r:embed="rId3"/>
              </a:buBlip>
            </a:pPr>
            <a:r>
              <a:rPr lang="en-gb" sz="1600" dirty="0">
                <a:cs typeface="Arial"/>
              </a:rPr>
              <a:t>the role of national civil protection in the national security system; </a:t>
            </a:r>
          </a:p>
          <a:p>
            <a:pPr marL="740664" indent="-285750" rtl="0">
              <a:buBlip>
                <a:blip r:embed="rId3"/>
              </a:buBlip>
            </a:pPr>
            <a:r>
              <a:rPr lang="en-gb" sz="1600" dirty="0">
                <a:cs typeface="Arial"/>
              </a:rPr>
              <a:t>the national civil protection </a:t>
            </a:r>
            <a:r>
              <a:rPr lang="lv-LV" sz="1600" dirty="0" err="1">
                <a:cs typeface="Arial"/>
              </a:rPr>
              <a:t>legislation</a:t>
            </a:r>
            <a:r>
              <a:rPr lang="lv-LV" sz="1600" dirty="0">
                <a:cs typeface="Arial"/>
              </a:rPr>
              <a:t> </a:t>
            </a:r>
            <a:r>
              <a:rPr lang="en-gb" sz="1600" dirty="0">
                <a:cs typeface="Arial"/>
              </a:rPr>
              <a:t>and policy planning framework; </a:t>
            </a:r>
          </a:p>
          <a:p>
            <a:pPr marL="740664" indent="-285750" rtl="0">
              <a:buBlip>
                <a:blip r:embed="rId3"/>
              </a:buBlip>
            </a:pPr>
            <a:r>
              <a:rPr lang="en-gb" sz="1600" dirty="0">
                <a:cs typeface="Arial"/>
              </a:rPr>
              <a:t>the key principles of </a:t>
            </a:r>
            <a:r>
              <a:rPr lang="en-US" sz="1600" dirty="0">
                <a:cs typeface="Arial"/>
              </a:rPr>
              <a:t>the system of civil protection</a:t>
            </a:r>
            <a:r>
              <a:rPr lang="en-gb" sz="1600" dirty="0">
                <a:cs typeface="Arial"/>
              </a:rPr>
              <a:t>, derived from the regulatory framework; </a:t>
            </a:r>
          </a:p>
          <a:p>
            <a:pPr marL="740664" indent="-285750" rtl="0">
              <a:buBlip>
                <a:blip r:embed="rId3"/>
              </a:buBlip>
            </a:pPr>
            <a:r>
              <a:rPr lang="en-GB" sz="1600" dirty="0">
                <a:cs typeface="Arial"/>
              </a:rPr>
              <a:t>special</a:t>
            </a:r>
            <a:r>
              <a:rPr lang="en-gb" sz="1600" dirty="0">
                <a:cs typeface="Arial"/>
              </a:rPr>
              <a:t> legal regimes.</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801060" y="1026929"/>
            <a:ext cx="432000" cy="433227"/>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lv-LV" altLang="ja-JP"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2963762"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a:srcRect t="46541" b="30359"/>
          <a:stretch/>
        </p:blipFill>
        <p:spPr>
          <a:xfrm>
            <a:off x="442911" y="4643699"/>
            <a:ext cx="11309609" cy="1528500"/>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rtl="0"/>
              <a:t>2</a:t>
            </a:fld>
            <a:endParaRPr lang="lv-LV"/>
          </a:p>
        </p:txBody>
      </p:sp>
      <p:sp>
        <p:nvSpPr>
          <p:cNvPr id="5" name="Rectangle 4">
            <a:extLst>
              <a:ext uri="{FF2B5EF4-FFF2-40B4-BE49-F238E27FC236}">
                <a16:creationId xmlns:a16="http://schemas.microsoft.com/office/drawing/2014/main" id="{7E4ED79F-2C53-B555-2F4D-21E619D1E11A}"/>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a:t>
            </a:r>
            <a:r>
              <a:rPr lang="en-GB" sz="800" i="0" u="none" strike="noStrike" kern="0" cap="none" spc="0" normalizeH="0">
                <a:ln>
                  <a:noFill/>
                </a:ln>
                <a:solidFill>
                  <a:srgbClr val="A4A3B2"/>
                </a:solidFill>
                <a:effectLst/>
                <a:uLnTx/>
                <a:uFillTx/>
                <a:ea typeface="Georgia"/>
                <a:cs typeface="Georgia"/>
                <a:sym typeface="Georgia"/>
              </a:rPr>
              <a:t>THE </a:t>
            </a:r>
            <a:r>
              <a:rPr lang="en-gb" sz="800" i="0" u="none" strike="noStrike" kern="0" cap="none" spc="0" normalizeH="0">
                <a:ln>
                  <a:noFill/>
                </a:ln>
                <a:solidFill>
                  <a:srgbClr val="A4A3B2"/>
                </a:solidFill>
                <a:effectLst/>
                <a:uLnTx/>
                <a:uFillTx/>
                <a:ea typeface="Georgia"/>
                <a:cs typeface="Georgia"/>
                <a:sym typeface="Georgia"/>
              </a:rPr>
              <a:t>SYSTEM AND REGULATORY AND POLICY PLANNING FRAMEWORK</a:t>
            </a:r>
            <a:r>
              <a:rPr lang="en-GB" sz="800" i="0" u="none" strike="noStrike" kern="0" cap="none" spc="0" normalizeH="0">
                <a:ln>
                  <a:noFill/>
                </a:ln>
                <a:solidFill>
                  <a:srgbClr val="A4A3B2"/>
                </a:solidFill>
                <a:effectLst/>
                <a:uLnTx/>
                <a:uFillTx/>
                <a:ea typeface="Georgia"/>
                <a:cs typeface="Georgia"/>
                <a:sym typeface="Georgia"/>
              </a:rPr>
              <a:t> OF CIVIL PROTECTION </a:t>
            </a:r>
            <a:endParaRPr lang="en-gb" sz="800" i="0" u="none" strike="noStrike" kern="0" cap="none" spc="0" normalizeH="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839732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357EC6F2-1635-70B7-5B7F-BB128477D3E0}"/>
              </a:ext>
            </a:extLst>
          </p:cNvPr>
          <p:cNvCxnSpPr>
            <a:cxnSpLocks/>
            <a:stCxn id="22" idx="2"/>
            <a:endCxn id="24" idx="0"/>
          </p:cNvCxnSpPr>
          <p:nvPr/>
        </p:nvCxnSpPr>
        <p:spPr>
          <a:xfrm flipH="1">
            <a:off x="2207418" y="3171829"/>
            <a:ext cx="1" cy="929531"/>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20E7F01A-0296-CA40-67E8-3AD150E4A711}"/>
              </a:ext>
            </a:extLst>
          </p:cNvPr>
          <p:cNvCxnSpPr>
            <a:cxnSpLocks/>
            <a:stCxn id="6" idx="2"/>
            <a:endCxn id="12" idx="0"/>
          </p:cNvCxnSpPr>
          <p:nvPr/>
        </p:nvCxnSpPr>
        <p:spPr>
          <a:xfrm flipH="1">
            <a:off x="6096000" y="3172347"/>
            <a:ext cx="1" cy="929013"/>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32" name="Straight Connector 31">
            <a:extLst>
              <a:ext uri="{FF2B5EF4-FFF2-40B4-BE49-F238E27FC236}">
                <a16:creationId xmlns:a16="http://schemas.microsoft.com/office/drawing/2014/main" id="{8E2E4806-19A1-F115-8D19-90D1F1623135}"/>
              </a:ext>
            </a:extLst>
          </p:cNvPr>
          <p:cNvCxnSpPr>
            <a:cxnSpLocks/>
            <a:stCxn id="7" idx="2"/>
            <a:endCxn id="13" idx="0"/>
          </p:cNvCxnSpPr>
          <p:nvPr/>
        </p:nvCxnSpPr>
        <p:spPr>
          <a:xfrm flipH="1">
            <a:off x="9984581" y="3172347"/>
            <a:ext cx="1" cy="929013"/>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80428542-5D63-2988-7216-41474822B4F7}"/>
              </a:ext>
            </a:extLst>
          </p:cNvPr>
          <p:cNvSpPr/>
          <p:nvPr/>
        </p:nvSpPr>
        <p:spPr>
          <a:xfrm>
            <a:off x="442913" y="1827312"/>
            <a:ext cx="3529012" cy="1344517"/>
          </a:xfrm>
          <a:prstGeom prst="rect">
            <a:avLst/>
          </a:prstGeom>
          <a:solidFill>
            <a:srgbClr val="525A72"/>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400" b="1" err="1">
                <a:solidFill>
                  <a:schemeClr val="bg1"/>
                </a:solidFill>
              </a:rPr>
              <a:t>State</a:t>
            </a:r>
            <a:r>
              <a:rPr lang="lv-LV" sz="1400" b="1">
                <a:solidFill>
                  <a:schemeClr val="bg1"/>
                </a:solidFill>
              </a:rPr>
              <a:t> </a:t>
            </a:r>
            <a:r>
              <a:rPr lang="lv-LV" sz="1400" b="1" err="1">
                <a:solidFill>
                  <a:schemeClr val="bg1"/>
                </a:solidFill>
              </a:rPr>
              <a:t>Civil</a:t>
            </a:r>
            <a:r>
              <a:rPr lang="lv-LV" sz="1400" b="1">
                <a:solidFill>
                  <a:schemeClr val="bg1"/>
                </a:solidFill>
              </a:rPr>
              <a:t> </a:t>
            </a:r>
            <a:r>
              <a:rPr lang="lv-LV" sz="1400" b="1" err="1">
                <a:solidFill>
                  <a:schemeClr val="bg1"/>
                </a:solidFill>
              </a:rPr>
              <a:t>Protection</a:t>
            </a:r>
            <a:r>
              <a:rPr lang="lv-LV" sz="1400" b="1">
                <a:solidFill>
                  <a:schemeClr val="bg1"/>
                </a:solidFill>
              </a:rPr>
              <a:t> </a:t>
            </a:r>
            <a:r>
              <a:rPr lang="lv-LV" sz="1400" b="1" err="1">
                <a:solidFill>
                  <a:schemeClr val="bg1"/>
                </a:solidFill>
              </a:rPr>
              <a:t>Plan</a:t>
            </a:r>
            <a:endParaRPr lang="en-gb" sz="1400" b="1">
              <a:solidFill>
                <a:schemeClr val="bg1"/>
              </a:solidFill>
            </a:endParaRPr>
          </a:p>
        </p:txBody>
      </p:sp>
      <p:sp>
        <p:nvSpPr>
          <p:cNvPr id="23" name="Rectangle 22">
            <a:extLst>
              <a:ext uri="{FF2B5EF4-FFF2-40B4-BE49-F238E27FC236}">
                <a16:creationId xmlns:a16="http://schemas.microsoft.com/office/drawing/2014/main" id="{A301957B-95BB-8438-2ED5-29CD83E02DDB}"/>
              </a:ext>
            </a:extLst>
          </p:cNvPr>
          <p:cNvSpPr/>
          <p:nvPr/>
        </p:nvSpPr>
        <p:spPr>
          <a:xfrm>
            <a:off x="442913" y="3420047"/>
            <a:ext cx="3529012"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Reviewed annually</a:t>
            </a:r>
          </a:p>
        </p:txBody>
      </p:sp>
      <p:sp>
        <p:nvSpPr>
          <p:cNvPr id="2" name="Title 1"/>
          <p:cNvSpPr>
            <a:spLocks noGrp="1"/>
          </p:cNvSpPr>
          <p:nvPr>
            <p:ph type="title"/>
          </p:nvPr>
        </p:nvSpPr>
        <p:spPr>
          <a:xfrm>
            <a:off x="442913" y="431800"/>
            <a:ext cx="11306175" cy="1387475"/>
          </a:xfrm>
        </p:spPr>
        <p:txBody>
          <a:bodyPr vert="horz" rtlCol="0"/>
          <a:lstStyle/>
          <a:p>
            <a:pPr rtl="0"/>
            <a:r>
              <a:rPr lang="lv-LV" dirty="0" err="1"/>
              <a:t>Three</a:t>
            </a:r>
            <a:r>
              <a:rPr lang="en-gb" dirty="0"/>
              <a:t> Level Civil Protection Plans for Disaster Management</a:t>
            </a:r>
            <a:endParaRPr lang="en-US" dirty="0"/>
          </a:p>
        </p:txBody>
      </p:sp>
      <p:sp>
        <p:nvSpPr>
          <p:cNvPr id="4" name="Slide Number Placeholder 3"/>
          <p:cNvSpPr>
            <a:spLocks noGrp="1"/>
          </p:cNvSpPr>
          <p:nvPr>
            <p:ph type="sldNum" sz="quarter" idx="11"/>
          </p:nvPr>
        </p:nvSpPr>
        <p:spPr>
          <a:xfrm>
            <a:off x="9984296" y="6492240"/>
            <a:ext cx="1764792" cy="137160"/>
          </a:xfrm>
        </p:spPr>
        <p:txBody>
          <a:bodyPr rtlCol="0"/>
          <a:lstStyle/>
          <a:p>
            <a:pPr rtl="0"/>
            <a:fld id="{F3B79C7E-2A42-4703-9B32-3E662761BF60}" type="slidenum">
              <a:rPr lang="lv-LV" smtClean="0"/>
              <a:pPr rtl="0"/>
              <a:t>20</a:t>
            </a:fld>
            <a:endParaRPr lang="lv-LV"/>
          </a:p>
        </p:txBody>
      </p:sp>
      <p:sp>
        <p:nvSpPr>
          <p:cNvPr id="6" name="Title 1">
            <a:extLst>
              <a:ext uri="{FF2B5EF4-FFF2-40B4-BE49-F238E27FC236}">
                <a16:creationId xmlns:a16="http://schemas.microsoft.com/office/drawing/2014/main" id="{D2062633-92A0-8A70-37D6-9AEE832B563D}"/>
              </a:ext>
            </a:extLst>
          </p:cNvPr>
          <p:cNvSpPr txBox="1">
            <a:spLocks/>
          </p:cNvSpPr>
          <p:nvPr/>
        </p:nvSpPr>
        <p:spPr>
          <a:xfrm>
            <a:off x="4331494" y="1826419"/>
            <a:ext cx="3529013" cy="1345928"/>
          </a:xfrm>
          <a:prstGeom prst="rect">
            <a:avLst/>
          </a:prstGeom>
          <a:solidFill>
            <a:srgbClr val="A8192D"/>
          </a:solidFill>
          <a:ln>
            <a:noFill/>
          </a:ln>
        </p:spPr>
        <p:txBody>
          <a:bodyPr vert="horz" lIns="72000" tIns="72000" rIns="72000" bIns="14400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1400" b="1" dirty="0">
                <a:solidFill>
                  <a:srgbClr val="FFFFFF"/>
                </a:solidFill>
                <a:cs typeface="Arial"/>
              </a:rPr>
              <a:t>Civil Protection Plan of the Local Government Cooperation Territory</a:t>
            </a:r>
          </a:p>
        </p:txBody>
      </p:sp>
      <p:sp>
        <p:nvSpPr>
          <p:cNvPr id="7" name="Title 1">
            <a:extLst>
              <a:ext uri="{FF2B5EF4-FFF2-40B4-BE49-F238E27FC236}">
                <a16:creationId xmlns:a16="http://schemas.microsoft.com/office/drawing/2014/main" id="{8961976B-EF35-6606-985F-A22667F84A79}"/>
              </a:ext>
            </a:extLst>
          </p:cNvPr>
          <p:cNvSpPr txBox="1">
            <a:spLocks/>
          </p:cNvSpPr>
          <p:nvPr/>
        </p:nvSpPr>
        <p:spPr>
          <a:xfrm>
            <a:off x="8220075" y="1826419"/>
            <a:ext cx="3529013" cy="1345928"/>
          </a:xfrm>
          <a:prstGeom prst="rect">
            <a:avLst/>
          </a:prstGeom>
          <a:solidFill>
            <a:srgbClr val="525A72"/>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sz="1400" b="1">
              <a:solidFill>
                <a:srgbClr val="FFFFFF"/>
              </a:solidFill>
              <a:cs typeface="Arial"/>
            </a:endParaRPr>
          </a:p>
          <a:p>
            <a:pPr algn="ctr" rtl="0"/>
            <a:r>
              <a:rPr lang="lv-LV" sz="1400" b="1">
                <a:solidFill>
                  <a:srgbClr val="FFFFFF"/>
                </a:solidFill>
                <a:cs typeface="Arial"/>
              </a:rPr>
              <a:t>C</a:t>
            </a:r>
            <a:r>
              <a:rPr lang="en-US" sz="1400" b="1" err="1">
                <a:solidFill>
                  <a:srgbClr val="FFFFFF"/>
                </a:solidFill>
                <a:cs typeface="Arial"/>
              </a:rPr>
              <a:t>ivil</a:t>
            </a:r>
            <a:r>
              <a:rPr lang="en-US" sz="1400" b="1">
                <a:solidFill>
                  <a:srgbClr val="FFFFFF"/>
                </a:solidFill>
                <a:cs typeface="Arial"/>
              </a:rPr>
              <a:t> </a:t>
            </a:r>
            <a:r>
              <a:rPr lang="lv-LV" sz="1400" b="1">
                <a:solidFill>
                  <a:srgbClr val="FFFFFF"/>
                </a:solidFill>
                <a:cs typeface="Arial"/>
              </a:rPr>
              <a:t>P</a:t>
            </a:r>
            <a:r>
              <a:rPr lang="en-US" sz="1400" b="1" err="1">
                <a:solidFill>
                  <a:srgbClr val="FFFFFF"/>
                </a:solidFill>
                <a:cs typeface="Arial"/>
              </a:rPr>
              <a:t>rotection</a:t>
            </a:r>
            <a:r>
              <a:rPr lang="en-US" sz="1400" b="1">
                <a:solidFill>
                  <a:srgbClr val="FFFFFF"/>
                </a:solidFill>
                <a:cs typeface="Arial"/>
              </a:rPr>
              <a:t> </a:t>
            </a:r>
            <a:r>
              <a:rPr lang="lv-LV" sz="1400" b="1">
                <a:solidFill>
                  <a:srgbClr val="FFFFFF"/>
                </a:solidFill>
                <a:cs typeface="Arial"/>
              </a:rPr>
              <a:t>P</a:t>
            </a:r>
            <a:r>
              <a:rPr lang="en-US" sz="1400" b="1" err="1">
                <a:solidFill>
                  <a:srgbClr val="FFFFFF"/>
                </a:solidFill>
                <a:cs typeface="Arial"/>
              </a:rPr>
              <a:t>lan</a:t>
            </a:r>
            <a:r>
              <a:rPr lang="en-US" sz="1400" b="1">
                <a:solidFill>
                  <a:srgbClr val="FFFFFF"/>
                </a:solidFill>
                <a:cs typeface="Arial"/>
              </a:rPr>
              <a:t> for the </a:t>
            </a:r>
            <a:r>
              <a:rPr lang="lv-LV" sz="1400" b="1">
                <a:solidFill>
                  <a:srgbClr val="FFFFFF"/>
                </a:solidFill>
                <a:cs typeface="Arial"/>
              </a:rPr>
              <a:t>O</a:t>
            </a:r>
            <a:r>
              <a:rPr lang="en-US" sz="1400" b="1" err="1">
                <a:solidFill>
                  <a:srgbClr val="FFFFFF"/>
                </a:solidFill>
                <a:cs typeface="Arial"/>
              </a:rPr>
              <a:t>bject</a:t>
            </a:r>
            <a:r>
              <a:rPr lang="lv-LV" sz="1400" b="1">
                <a:solidFill>
                  <a:srgbClr val="FFFFFF"/>
                </a:solidFill>
                <a:cs typeface="Arial"/>
              </a:rPr>
              <a:t>*</a:t>
            </a:r>
            <a:r>
              <a:rPr lang="en-US" sz="1400" b="1">
                <a:solidFill>
                  <a:srgbClr val="FFFFFF"/>
                </a:solidFill>
                <a:cs typeface="Arial"/>
              </a:rPr>
              <a:t> or </a:t>
            </a:r>
            <a:r>
              <a:rPr lang="lv-LV" sz="1400" b="1">
                <a:solidFill>
                  <a:srgbClr val="FFFFFF"/>
                </a:solidFill>
                <a:cs typeface="Arial"/>
              </a:rPr>
              <a:t>O</a:t>
            </a:r>
            <a:r>
              <a:rPr lang="en-US" sz="1400" b="1" err="1">
                <a:solidFill>
                  <a:srgbClr val="FFFFFF"/>
                </a:solidFill>
                <a:cs typeface="Arial"/>
              </a:rPr>
              <a:t>bject</a:t>
            </a:r>
            <a:r>
              <a:rPr lang="en-US" sz="1400" b="1">
                <a:solidFill>
                  <a:srgbClr val="FFFFFF"/>
                </a:solidFill>
                <a:cs typeface="Arial"/>
              </a:rPr>
              <a:t> of </a:t>
            </a:r>
            <a:r>
              <a:rPr lang="lv-LV" sz="1400" b="1">
                <a:solidFill>
                  <a:srgbClr val="FFFFFF"/>
                </a:solidFill>
                <a:cs typeface="Arial"/>
              </a:rPr>
              <a:t>I</a:t>
            </a:r>
            <a:r>
              <a:rPr lang="en-US" sz="1400" b="1" err="1">
                <a:solidFill>
                  <a:srgbClr val="FFFFFF"/>
                </a:solidFill>
                <a:cs typeface="Arial"/>
              </a:rPr>
              <a:t>ncreased</a:t>
            </a:r>
            <a:r>
              <a:rPr lang="en-US" sz="1400" b="1">
                <a:solidFill>
                  <a:srgbClr val="FFFFFF"/>
                </a:solidFill>
                <a:cs typeface="Arial"/>
              </a:rPr>
              <a:t> </a:t>
            </a:r>
            <a:r>
              <a:rPr lang="lv-LV" sz="1400" b="1">
                <a:solidFill>
                  <a:srgbClr val="FFFFFF"/>
                </a:solidFill>
                <a:cs typeface="Arial"/>
              </a:rPr>
              <a:t>D</a:t>
            </a:r>
            <a:r>
              <a:rPr lang="en-US" sz="1400" b="1">
                <a:solidFill>
                  <a:srgbClr val="FFFFFF"/>
                </a:solidFill>
                <a:cs typeface="Arial"/>
              </a:rPr>
              <a:t>anger</a:t>
            </a:r>
            <a:endParaRPr lang="en-gb" sz="1400" b="1">
              <a:solidFill>
                <a:srgbClr val="FFFFFF"/>
              </a:solidFill>
              <a:cs typeface="Arial"/>
            </a:endParaRPr>
          </a:p>
        </p:txBody>
      </p:sp>
      <p:sp>
        <p:nvSpPr>
          <p:cNvPr id="9" name="Title 1">
            <a:extLst>
              <a:ext uri="{FF2B5EF4-FFF2-40B4-BE49-F238E27FC236}">
                <a16:creationId xmlns:a16="http://schemas.microsoft.com/office/drawing/2014/main" id="{19DB7956-0AA1-251B-6E22-F79FD32A6B25}"/>
              </a:ext>
            </a:extLst>
          </p:cNvPr>
          <p:cNvSpPr txBox="1">
            <a:spLocks/>
          </p:cNvSpPr>
          <p:nvPr/>
        </p:nvSpPr>
        <p:spPr>
          <a:xfrm>
            <a:off x="8220075"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t> </a:t>
            </a:r>
            <a:r>
              <a:rPr lang="lv-LV"/>
              <a:t>A</a:t>
            </a:r>
            <a:r>
              <a:rPr lang="en-GB" err="1"/>
              <a:t>pprove</a:t>
            </a:r>
            <a:r>
              <a:rPr lang="lv-LV"/>
              <a:t>d</a:t>
            </a:r>
            <a:r>
              <a:rPr lang="en-gb"/>
              <a:t> at least every four years</a:t>
            </a:r>
            <a:endParaRPr lang="en-US"/>
          </a:p>
        </p:txBody>
      </p:sp>
      <p:sp>
        <p:nvSpPr>
          <p:cNvPr id="10" name="Title 1">
            <a:extLst>
              <a:ext uri="{FF2B5EF4-FFF2-40B4-BE49-F238E27FC236}">
                <a16:creationId xmlns:a16="http://schemas.microsoft.com/office/drawing/2014/main" id="{A8BB9E36-BDA4-E644-92C0-7E95FD88D3F0}"/>
              </a:ext>
            </a:extLst>
          </p:cNvPr>
          <p:cNvSpPr txBox="1">
            <a:spLocks/>
          </p:cNvSpPr>
          <p:nvPr/>
        </p:nvSpPr>
        <p:spPr>
          <a:xfrm>
            <a:off x="4331494"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t> </a:t>
            </a:r>
            <a:r>
              <a:rPr lang="lv-LV"/>
              <a:t>A</a:t>
            </a:r>
            <a:r>
              <a:rPr lang="en-GB" err="1"/>
              <a:t>pprove</a:t>
            </a:r>
            <a:r>
              <a:rPr lang="lv-LV"/>
              <a:t>d</a:t>
            </a:r>
            <a:r>
              <a:rPr lang="en-gb"/>
              <a:t> at least every four years</a:t>
            </a:r>
            <a:endParaRPr lang="en-US"/>
          </a:p>
        </p:txBody>
      </p:sp>
      <p:sp>
        <p:nvSpPr>
          <p:cNvPr id="11" name="Title 1">
            <a:extLst>
              <a:ext uri="{FF2B5EF4-FFF2-40B4-BE49-F238E27FC236}">
                <a16:creationId xmlns:a16="http://schemas.microsoft.com/office/drawing/2014/main" id="{9AB0BC82-6EDF-14C5-7CD5-6F5243DAB025}"/>
              </a:ext>
            </a:extLst>
          </p:cNvPr>
          <p:cNvSpPr txBox="1">
            <a:spLocks/>
          </p:cNvSpPr>
          <p:nvPr/>
        </p:nvSpPr>
        <p:spPr>
          <a:xfrm>
            <a:off x="442913" y="5034177"/>
            <a:ext cx="11306175" cy="1138023"/>
          </a:xfrm>
          <a:prstGeom prst="rect">
            <a:avLst/>
          </a:prstGeom>
          <a:solidFill>
            <a:srgbClr val="D18D85"/>
          </a:solidFill>
          <a:ln>
            <a:noFill/>
          </a:ln>
        </p:spPr>
        <p:style>
          <a:lnRef idx="2">
            <a:schemeClr val="accent3"/>
          </a:lnRef>
          <a:fillRef idx="1">
            <a:schemeClr val="lt1"/>
          </a:fillRef>
          <a:effectRef idx="0">
            <a:schemeClr val="accent3"/>
          </a:effectRef>
          <a:fontRef idx="minor">
            <a:schemeClr val="dk1"/>
          </a:fontRef>
        </p:style>
        <p:txBody>
          <a:bodyPr vert="horz" lIns="72000" tIns="0" rIns="2016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rtl="0">
              <a:spcAft>
                <a:spcPts val="600"/>
              </a:spcAft>
              <a:buBlip>
                <a:blip r:embed="rId3"/>
              </a:buBlip>
            </a:pPr>
            <a:r>
              <a:rPr lang="en-gb" sz="1400">
                <a:cs typeface="Arial"/>
              </a:rPr>
              <a:t>Civil protection plans are prepared on the basis of a risk assessment and </a:t>
            </a:r>
            <a:r>
              <a:rPr lang="en-GB" sz="1400">
                <a:cs typeface="Arial"/>
              </a:rPr>
              <a:t>determining </a:t>
            </a:r>
            <a:r>
              <a:rPr lang="en-gb" sz="1400">
                <a:cs typeface="Arial"/>
              </a:rPr>
              <a:t>disaster</a:t>
            </a:r>
            <a:r>
              <a:rPr lang="lv-LV" sz="1400">
                <a:cs typeface="Arial"/>
              </a:rPr>
              <a:t> </a:t>
            </a:r>
            <a:r>
              <a:rPr lang="en-gb" sz="1400">
                <a:cs typeface="Arial"/>
              </a:rPr>
              <a:t>management measures and their implementers.</a:t>
            </a:r>
            <a:endParaRPr lang="lv-LV" sz="1400"/>
          </a:p>
          <a:p>
            <a:pPr marL="285750" indent="-285750" rtl="0">
              <a:buBlip>
                <a:blip r:embed="rId3"/>
              </a:buBlip>
            </a:pPr>
            <a:r>
              <a:rPr lang="en-gb" sz="1400">
                <a:cs typeface="Arial"/>
              </a:rPr>
              <a:t>Disaster management</a:t>
            </a:r>
            <a:r>
              <a:rPr lang="lv-LV" sz="1400">
                <a:cs typeface="Arial"/>
              </a:rPr>
              <a:t> </a:t>
            </a:r>
            <a:r>
              <a:rPr lang="en-GB" sz="1400">
                <a:cs typeface="Arial"/>
              </a:rPr>
              <a:t>subject</a:t>
            </a:r>
            <a:r>
              <a:rPr lang="en-gb" sz="1400">
                <a:cs typeface="Arial"/>
              </a:rPr>
              <a:t> </a:t>
            </a:r>
            <a:r>
              <a:rPr lang="lv-LV" sz="1400">
                <a:cs typeface="Arial"/>
              </a:rPr>
              <a:t>–</a:t>
            </a:r>
            <a:r>
              <a:rPr lang="en-gb" sz="1400">
                <a:cs typeface="Arial"/>
              </a:rPr>
              <a:t> </a:t>
            </a:r>
            <a:r>
              <a:rPr lang="lv-LV" sz="1400">
                <a:cs typeface="Arial"/>
              </a:rPr>
              <a:t>s</a:t>
            </a:r>
            <a:r>
              <a:rPr lang="en-GB" sz="1400" err="1">
                <a:cs typeface="Arial"/>
              </a:rPr>
              <a:t>ectoral</a:t>
            </a:r>
            <a:r>
              <a:rPr lang="lv-LV" sz="1400">
                <a:cs typeface="Arial"/>
              </a:rPr>
              <a:t> </a:t>
            </a:r>
            <a:r>
              <a:rPr lang="lv-LV" sz="1400" err="1">
                <a:cs typeface="Arial"/>
              </a:rPr>
              <a:t>ministries</a:t>
            </a:r>
            <a:r>
              <a:rPr lang="en-GB" sz="1400">
                <a:cs typeface="Arial"/>
              </a:rPr>
              <a:t> </a:t>
            </a:r>
            <a:r>
              <a:rPr lang="en-gb" sz="1400">
                <a:cs typeface="Arial"/>
              </a:rPr>
              <a:t>and municipalities </a:t>
            </a:r>
            <a:r>
              <a:rPr lang="lv-LV" sz="1400">
                <a:cs typeface="Arial"/>
              </a:rPr>
              <a:t>–</a:t>
            </a:r>
            <a:r>
              <a:rPr lang="en-gb" sz="1400">
                <a:cs typeface="Arial"/>
              </a:rPr>
              <a:t> coordinate the management of a given disaster in cooperation with other institutions.</a:t>
            </a:r>
          </a:p>
        </p:txBody>
      </p:sp>
      <p:sp>
        <p:nvSpPr>
          <p:cNvPr id="12" name="Title 1">
            <a:extLst>
              <a:ext uri="{FF2B5EF4-FFF2-40B4-BE49-F238E27FC236}">
                <a16:creationId xmlns:a16="http://schemas.microsoft.com/office/drawing/2014/main" id="{3661166F-289F-2205-5CEF-3BF7DDFE0314}"/>
              </a:ext>
            </a:extLst>
          </p:cNvPr>
          <p:cNvSpPr txBox="1">
            <a:spLocks/>
          </p:cNvSpPr>
          <p:nvPr/>
        </p:nvSpPr>
        <p:spPr>
          <a:xfrm>
            <a:off x="4331493" y="4101360"/>
            <a:ext cx="3529013" cy="776853"/>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dirty="0"/>
              <a:t>Developed by </a:t>
            </a:r>
            <a:r>
              <a:rPr lang="lv-LV" dirty="0" err="1"/>
              <a:t>the</a:t>
            </a:r>
            <a:r>
              <a:rPr lang="lv-LV" dirty="0"/>
              <a:t> C</a:t>
            </a:r>
            <a:r>
              <a:rPr lang="en-US" dirty="0" err="1"/>
              <a:t>ivil</a:t>
            </a:r>
            <a:r>
              <a:rPr lang="en-US" dirty="0"/>
              <a:t> Protection Commissions of the Local Government Cooperation Territory</a:t>
            </a:r>
          </a:p>
        </p:txBody>
      </p:sp>
      <p:sp>
        <p:nvSpPr>
          <p:cNvPr id="13" name="Title 1">
            <a:extLst>
              <a:ext uri="{FF2B5EF4-FFF2-40B4-BE49-F238E27FC236}">
                <a16:creationId xmlns:a16="http://schemas.microsoft.com/office/drawing/2014/main" id="{A8786237-280D-456E-82F0-1F2FC1172089}"/>
              </a:ext>
            </a:extLst>
          </p:cNvPr>
          <p:cNvSpPr txBox="1">
            <a:spLocks/>
          </p:cNvSpPr>
          <p:nvPr/>
        </p:nvSpPr>
        <p:spPr>
          <a:xfrm>
            <a:off x="8220074" y="4101360"/>
            <a:ext cx="3529013" cy="776853"/>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t>Developed </a:t>
            </a:r>
            <a:r>
              <a:rPr lang="en-gb"/>
              <a:t>by </a:t>
            </a:r>
            <a:r>
              <a:rPr lang="en-US"/>
              <a:t>the owner or lawful possessor of the object</a:t>
            </a:r>
          </a:p>
        </p:txBody>
      </p:sp>
      <p:sp>
        <p:nvSpPr>
          <p:cNvPr id="24" name="Rectangle 23">
            <a:extLst>
              <a:ext uri="{FF2B5EF4-FFF2-40B4-BE49-F238E27FC236}">
                <a16:creationId xmlns:a16="http://schemas.microsoft.com/office/drawing/2014/main" id="{718CA143-3104-09A7-16C0-C6AEE7D3610F}"/>
              </a:ext>
            </a:extLst>
          </p:cNvPr>
          <p:cNvSpPr/>
          <p:nvPr/>
        </p:nvSpPr>
        <p:spPr>
          <a:xfrm>
            <a:off x="442912" y="4101360"/>
            <a:ext cx="3529012" cy="776853"/>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Developed by SFRS</a:t>
            </a:r>
          </a:p>
        </p:txBody>
      </p:sp>
      <p:sp>
        <p:nvSpPr>
          <p:cNvPr id="38" name="Rectangle 37">
            <a:extLst>
              <a:ext uri="{FF2B5EF4-FFF2-40B4-BE49-F238E27FC236}">
                <a16:creationId xmlns:a16="http://schemas.microsoft.com/office/drawing/2014/main" id="{CCE82973-5FC6-0AD3-F11A-E43DBE1D150A}"/>
              </a:ext>
            </a:extLst>
          </p:cNvPr>
          <p:cNvSpPr/>
          <p:nvPr/>
        </p:nvSpPr>
        <p:spPr>
          <a:xfrm>
            <a:off x="442913" y="3099829"/>
            <a:ext cx="3529012" cy="72000"/>
          </a:xfrm>
          <a:prstGeom prst="rect">
            <a:avLst/>
          </a:prstGeom>
          <a:solidFill>
            <a:srgbClr val="D18D85"/>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p:txBody>
      </p:sp>
      <p:sp>
        <p:nvSpPr>
          <p:cNvPr id="39" name="Title 1">
            <a:extLst>
              <a:ext uri="{FF2B5EF4-FFF2-40B4-BE49-F238E27FC236}">
                <a16:creationId xmlns:a16="http://schemas.microsoft.com/office/drawing/2014/main" id="{C0B71A69-204F-8E7F-2666-409A80AE1AD7}"/>
              </a:ext>
            </a:extLst>
          </p:cNvPr>
          <p:cNvSpPr txBox="1">
            <a:spLocks/>
          </p:cNvSpPr>
          <p:nvPr/>
        </p:nvSpPr>
        <p:spPr>
          <a:xfrm>
            <a:off x="4331494" y="3099829"/>
            <a:ext cx="3529013" cy="72000"/>
          </a:xfrm>
          <a:prstGeom prst="rect">
            <a:avLst/>
          </a:prstGeom>
          <a:solidFill>
            <a:srgbClr val="CFD6E8"/>
          </a:solidFill>
          <a:ln>
            <a:noFill/>
          </a:ln>
        </p:spPr>
        <p:txBody>
          <a:bodyPr vert="horz" lIns="72000" tIns="72000" rIns="72000" bIns="144000" rtlCol="0" anchor="b" anchorCtr="0">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sz="1400" b="1">
              <a:solidFill>
                <a:srgbClr val="FFFFFF"/>
              </a:solidFill>
              <a:cs typeface="Arial"/>
            </a:endParaRPr>
          </a:p>
        </p:txBody>
      </p:sp>
      <p:sp>
        <p:nvSpPr>
          <p:cNvPr id="40" name="Title 1">
            <a:extLst>
              <a:ext uri="{FF2B5EF4-FFF2-40B4-BE49-F238E27FC236}">
                <a16:creationId xmlns:a16="http://schemas.microsoft.com/office/drawing/2014/main" id="{C7A1244C-6024-E136-500C-7B517ECE44D1}"/>
              </a:ext>
            </a:extLst>
          </p:cNvPr>
          <p:cNvSpPr txBox="1">
            <a:spLocks/>
          </p:cNvSpPr>
          <p:nvPr/>
        </p:nvSpPr>
        <p:spPr>
          <a:xfrm>
            <a:off x="8220075" y="3099829"/>
            <a:ext cx="3529013" cy="72000"/>
          </a:xfrm>
          <a:prstGeom prst="rect">
            <a:avLst/>
          </a:prstGeom>
          <a:solidFill>
            <a:srgbClr val="D18D85"/>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lv-LV" sz="1400" b="1">
              <a:solidFill>
                <a:srgbClr val="FFFFFF"/>
              </a:solidFill>
              <a:cs typeface="Arial"/>
            </a:endParaRPr>
          </a:p>
        </p:txBody>
      </p:sp>
      <p:grpSp>
        <p:nvGrpSpPr>
          <p:cNvPr id="41" name="Google Shape;545;p75">
            <a:extLst>
              <a:ext uri="{FF2B5EF4-FFF2-40B4-BE49-F238E27FC236}">
                <a16:creationId xmlns:a16="http://schemas.microsoft.com/office/drawing/2014/main" id="{A40B54A6-1399-6ABC-2F09-DBD0FA05BD4F}"/>
              </a:ext>
            </a:extLst>
          </p:cNvPr>
          <p:cNvGrpSpPr/>
          <p:nvPr/>
        </p:nvGrpSpPr>
        <p:grpSpPr>
          <a:xfrm>
            <a:off x="1991410" y="1975076"/>
            <a:ext cx="431999" cy="432001"/>
            <a:chOff x="4322721" y="2242308"/>
            <a:chExt cx="456085" cy="455929"/>
          </a:xfrm>
          <a:solidFill>
            <a:schemeClr val="bg1"/>
          </a:solidFill>
        </p:grpSpPr>
        <p:sp>
          <p:nvSpPr>
            <p:cNvPr id="42" name="Google Shape;546;p75">
              <a:extLst>
                <a:ext uri="{FF2B5EF4-FFF2-40B4-BE49-F238E27FC236}">
                  <a16:creationId xmlns:a16="http://schemas.microsoft.com/office/drawing/2014/main" id="{B3ACBB0E-5941-40A0-6D33-3273010A7723}"/>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3" name="Google Shape;547;p75">
              <a:extLst>
                <a:ext uri="{FF2B5EF4-FFF2-40B4-BE49-F238E27FC236}">
                  <a16:creationId xmlns:a16="http://schemas.microsoft.com/office/drawing/2014/main" id="{653AA9E0-2208-909F-D45D-5E7FEA300400}"/>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 name="Google Shape;548;p75">
              <a:extLst>
                <a:ext uri="{FF2B5EF4-FFF2-40B4-BE49-F238E27FC236}">
                  <a16:creationId xmlns:a16="http://schemas.microsoft.com/office/drawing/2014/main" id="{D31C4433-8027-468D-6953-2036EE860614}"/>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5" name="Google Shape;549;p75">
              <a:extLst>
                <a:ext uri="{FF2B5EF4-FFF2-40B4-BE49-F238E27FC236}">
                  <a16:creationId xmlns:a16="http://schemas.microsoft.com/office/drawing/2014/main" id="{07A036FB-7792-FD40-E456-5E0E2D0173CB}"/>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Google Shape;550;p75">
              <a:extLst>
                <a:ext uri="{FF2B5EF4-FFF2-40B4-BE49-F238E27FC236}">
                  <a16:creationId xmlns:a16="http://schemas.microsoft.com/office/drawing/2014/main" id="{9F87FFD2-BFE5-7424-F9BA-17997EB97E3C}"/>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Google Shape;551;p75">
              <a:extLst>
                <a:ext uri="{FF2B5EF4-FFF2-40B4-BE49-F238E27FC236}">
                  <a16:creationId xmlns:a16="http://schemas.microsoft.com/office/drawing/2014/main" id="{A89C4CB7-ACE0-E7F6-1F4E-3F185686CA61}"/>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8" name="Google Shape;552;p75">
              <a:extLst>
                <a:ext uri="{FF2B5EF4-FFF2-40B4-BE49-F238E27FC236}">
                  <a16:creationId xmlns:a16="http://schemas.microsoft.com/office/drawing/2014/main" id="{195EFC0C-2F9C-C015-6F6B-DDC94901FE4D}"/>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9" name="Google Shape;553;p75">
              <a:extLst>
                <a:ext uri="{FF2B5EF4-FFF2-40B4-BE49-F238E27FC236}">
                  <a16:creationId xmlns:a16="http://schemas.microsoft.com/office/drawing/2014/main" id="{F99A95B8-71A9-C2F1-0873-58EE999CAFD9}"/>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Google Shape;554;p75">
              <a:extLst>
                <a:ext uri="{FF2B5EF4-FFF2-40B4-BE49-F238E27FC236}">
                  <a16:creationId xmlns:a16="http://schemas.microsoft.com/office/drawing/2014/main" id="{94BB2311-8379-261B-1C33-2A9842C73F76}"/>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1" name="Google Shape;555;p75">
              <a:extLst>
                <a:ext uri="{FF2B5EF4-FFF2-40B4-BE49-F238E27FC236}">
                  <a16:creationId xmlns:a16="http://schemas.microsoft.com/office/drawing/2014/main" id="{6F276A1C-A5D2-25F5-3E2D-1FE5A33D1413}"/>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2" name="Google Shape;556;p75">
              <a:extLst>
                <a:ext uri="{FF2B5EF4-FFF2-40B4-BE49-F238E27FC236}">
                  <a16:creationId xmlns:a16="http://schemas.microsoft.com/office/drawing/2014/main" id="{1829110C-47DC-D577-3966-DF5FD71F1867}"/>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Google Shape;557;p75">
              <a:extLst>
                <a:ext uri="{FF2B5EF4-FFF2-40B4-BE49-F238E27FC236}">
                  <a16:creationId xmlns:a16="http://schemas.microsoft.com/office/drawing/2014/main" id="{CE798B40-5E9E-C8C0-C89A-953AD7EF48B9}"/>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4" name="Google Shape;558;p75">
              <a:extLst>
                <a:ext uri="{FF2B5EF4-FFF2-40B4-BE49-F238E27FC236}">
                  <a16:creationId xmlns:a16="http://schemas.microsoft.com/office/drawing/2014/main" id="{A2EFFB05-E76D-8788-BE2C-76F9EC58E1FB}"/>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5" name="Google Shape;559;p75">
              <a:extLst>
                <a:ext uri="{FF2B5EF4-FFF2-40B4-BE49-F238E27FC236}">
                  <a16:creationId xmlns:a16="http://schemas.microsoft.com/office/drawing/2014/main" id="{24571FF6-C16C-843A-8B4B-A134EBC24795}"/>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6" name="Google Shape;560;p75">
              <a:extLst>
                <a:ext uri="{FF2B5EF4-FFF2-40B4-BE49-F238E27FC236}">
                  <a16:creationId xmlns:a16="http://schemas.microsoft.com/office/drawing/2014/main" id="{C08932C7-B97D-0F29-5802-FFCEF8598495}"/>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7" name="Google Shape;561;p75">
              <a:extLst>
                <a:ext uri="{FF2B5EF4-FFF2-40B4-BE49-F238E27FC236}">
                  <a16:creationId xmlns:a16="http://schemas.microsoft.com/office/drawing/2014/main" id="{89E918B1-3F01-66B8-3E51-9DB8F79F7DE0}"/>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58" name="Google Shape;589;p76">
            <a:extLst>
              <a:ext uri="{FF2B5EF4-FFF2-40B4-BE49-F238E27FC236}">
                <a16:creationId xmlns:a16="http://schemas.microsoft.com/office/drawing/2014/main" id="{609F321F-A027-F587-08D3-6F75A0899204}"/>
              </a:ext>
            </a:extLst>
          </p:cNvPr>
          <p:cNvSpPr/>
          <p:nvPr/>
        </p:nvSpPr>
        <p:spPr>
          <a:xfrm>
            <a:off x="5880000" y="1975073"/>
            <a:ext cx="432000" cy="432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9" name="Google Shape;1387;p89">
            <a:extLst>
              <a:ext uri="{FF2B5EF4-FFF2-40B4-BE49-F238E27FC236}">
                <a16:creationId xmlns:a16="http://schemas.microsoft.com/office/drawing/2014/main" id="{E12022BE-B37B-AD2A-2AF2-0F4030AB6D1B}"/>
              </a:ext>
            </a:extLst>
          </p:cNvPr>
          <p:cNvSpPr/>
          <p:nvPr/>
        </p:nvSpPr>
        <p:spPr>
          <a:xfrm>
            <a:off x="9768581" y="1975073"/>
            <a:ext cx="432000" cy="432000"/>
          </a:xfrm>
          <a:custGeom>
            <a:avLst/>
            <a:gdLst/>
            <a:ahLst/>
            <a:cxnLst/>
            <a:rect l="l" t="t" r="r" b="b"/>
            <a:pathLst>
              <a:path w="456085" h="455929" extrusionOk="0">
                <a:moveTo>
                  <a:pt x="200614" y="0"/>
                </a:moveTo>
                <a:lnTo>
                  <a:pt x="200614" y="0"/>
                </a:lnTo>
                <a:lnTo>
                  <a:pt x="112153" y="0"/>
                </a:lnTo>
                <a:lnTo>
                  <a:pt x="112153" y="0"/>
                </a:lnTo>
                <a:lnTo>
                  <a:pt x="0" y="0"/>
                </a:lnTo>
                <a:lnTo>
                  <a:pt x="0" y="455930"/>
                </a:lnTo>
                <a:lnTo>
                  <a:pt x="456086" y="455930"/>
                </a:lnTo>
                <a:lnTo>
                  <a:pt x="456086" y="0"/>
                </a:lnTo>
                <a:close/>
                <a:moveTo>
                  <a:pt x="436575" y="436363"/>
                </a:moveTo>
                <a:lnTo>
                  <a:pt x="19384" y="436363"/>
                </a:lnTo>
                <a:lnTo>
                  <a:pt x="19384" y="19440"/>
                </a:lnTo>
                <a:lnTo>
                  <a:pt x="112153" y="19440"/>
                </a:lnTo>
                <a:lnTo>
                  <a:pt x="112153" y="81656"/>
                </a:lnTo>
                <a:lnTo>
                  <a:pt x="35410" y="158372"/>
                </a:lnTo>
                <a:lnTo>
                  <a:pt x="141894" y="264724"/>
                </a:lnTo>
                <a:lnTo>
                  <a:pt x="131948" y="274634"/>
                </a:lnTo>
                <a:lnTo>
                  <a:pt x="175942" y="368923"/>
                </a:lnTo>
                <a:lnTo>
                  <a:pt x="227346" y="317536"/>
                </a:lnTo>
                <a:cubicBezTo>
                  <a:pt x="234473" y="320028"/>
                  <a:pt x="241979" y="321301"/>
                  <a:pt x="249517" y="321304"/>
                </a:cubicBezTo>
                <a:cubicBezTo>
                  <a:pt x="268014" y="321269"/>
                  <a:pt x="285719" y="313889"/>
                  <a:pt x="298768" y="300787"/>
                </a:cubicBezTo>
                <a:cubicBezTo>
                  <a:pt x="317550" y="282189"/>
                  <a:pt x="324074" y="254498"/>
                  <a:pt x="315523" y="229485"/>
                </a:cubicBezTo>
                <a:lnTo>
                  <a:pt x="315523" y="229485"/>
                </a:lnTo>
                <a:lnTo>
                  <a:pt x="366896" y="178129"/>
                </a:lnTo>
                <a:lnTo>
                  <a:pt x="272575" y="134183"/>
                </a:lnTo>
                <a:lnTo>
                  <a:pt x="262661" y="144093"/>
                </a:lnTo>
                <a:lnTo>
                  <a:pt x="200646" y="82131"/>
                </a:lnTo>
                <a:lnTo>
                  <a:pt x="200646" y="19440"/>
                </a:lnTo>
                <a:lnTo>
                  <a:pt x="436607" y="19440"/>
                </a:lnTo>
                <a:close/>
                <a:moveTo>
                  <a:pt x="266303" y="250223"/>
                </a:moveTo>
                <a:lnTo>
                  <a:pt x="220948" y="295531"/>
                </a:lnTo>
                <a:lnTo>
                  <a:pt x="220948" y="295531"/>
                </a:lnTo>
                <a:lnTo>
                  <a:pt x="208818" y="307626"/>
                </a:lnTo>
                <a:lnTo>
                  <a:pt x="208818" y="307626"/>
                </a:lnTo>
                <a:lnTo>
                  <a:pt x="181991" y="334444"/>
                </a:lnTo>
                <a:lnTo>
                  <a:pt x="156146" y="278972"/>
                </a:lnTo>
                <a:lnTo>
                  <a:pt x="237766" y="197380"/>
                </a:lnTo>
                <a:lnTo>
                  <a:pt x="245748" y="189401"/>
                </a:lnTo>
                <a:lnTo>
                  <a:pt x="247522" y="187628"/>
                </a:lnTo>
                <a:lnTo>
                  <a:pt x="249390" y="185760"/>
                </a:lnTo>
                <a:lnTo>
                  <a:pt x="276787" y="158404"/>
                </a:lnTo>
                <a:lnTo>
                  <a:pt x="332278" y="184240"/>
                </a:lnTo>
                <a:close/>
                <a:moveTo>
                  <a:pt x="299116" y="251806"/>
                </a:moveTo>
                <a:cubicBezTo>
                  <a:pt x="299116" y="253484"/>
                  <a:pt x="299116" y="255162"/>
                  <a:pt x="298831" y="256809"/>
                </a:cubicBezTo>
                <a:cubicBezTo>
                  <a:pt x="298831" y="256999"/>
                  <a:pt x="298831" y="257220"/>
                  <a:pt x="298831" y="257410"/>
                </a:cubicBezTo>
                <a:cubicBezTo>
                  <a:pt x="298641" y="259025"/>
                  <a:pt x="298356" y="260577"/>
                  <a:pt x="298008" y="262191"/>
                </a:cubicBezTo>
                <a:cubicBezTo>
                  <a:pt x="298008" y="262413"/>
                  <a:pt x="298008" y="262666"/>
                  <a:pt x="298008" y="262919"/>
                </a:cubicBezTo>
                <a:cubicBezTo>
                  <a:pt x="297628" y="264480"/>
                  <a:pt x="297184" y="266000"/>
                  <a:pt x="296678" y="267479"/>
                </a:cubicBezTo>
                <a:lnTo>
                  <a:pt x="296392" y="268270"/>
                </a:lnTo>
                <a:cubicBezTo>
                  <a:pt x="295854" y="269759"/>
                  <a:pt x="295252" y="271215"/>
                  <a:pt x="294555" y="272671"/>
                </a:cubicBezTo>
                <a:cubicBezTo>
                  <a:pt x="294555" y="272893"/>
                  <a:pt x="294334" y="273115"/>
                  <a:pt x="294207" y="273368"/>
                </a:cubicBezTo>
                <a:cubicBezTo>
                  <a:pt x="293510" y="274821"/>
                  <a:pt x="292719" y="276240"/>
                  <a:pt x="291863" y="277611"/>
                </a:cubicBezTo>
                <a:lnTo>
                  <a:pt x="291483" y="278180"/>
                </a:lnTo>
                <a:cubicBezTo>
                  <a:pt x="290596" y="279574"/>
                  <a:pt x="289614" y="280967"/>
                  <a:pt x="288569" y="282296"/>
                </a:cubicBezTo>
                <a:lnTo>
                  <a:pt x="288284" y="282645"/>
                </a:lnTo>
                <a:cubicBezTo>
                  <a:pt x="287144" y="284035"/>
                  <a:pt x="285972" y="285365"/>
                  <a:pt x="284705" y="286634"/>
                </a:cubicBezTo>
                <a:cubicBezTo>
                  <a:pt x="283438" y="287891"/>
                  <a:pt x="282108" y="289075"/>
                  <a:pt x="280714" y="290180"/>
                </a:cubicBezTo>
                <a:lnTo>
                  <a:pt x="280366" y="290497"/>
                </a:lnTo>
                <a:cubicBezTo>
                  <a:pt x="279036" y="291542"/>
                  <a:pt x="277674" y="292492"/>
                  <a:pt x="276280" y="293410"/>
                </a:cubicBezTo>
                <a:lnTo>
                  <a:pt x="275679" y="293790"/>
                </a:lnTo>
                <a:cubicBezTo>
                  <a:pt x="274317" y="294645"/>
                  <a:pt x="272891" y="295427"/>
                  <a:pt x="271434" y="296133"/>
                </a:cubicBezTo>
                <a:lnTo>
                  <a:pt x="270706" y="296481"/>
                </a:lnTo>
                <a:cubicBezTo>
                  <a:pt x="269281" y="297171"/>
                  <a:pt x="267792" y="297786"/>
                  <a:pt x="266303" y="298317"/>
                </a:cubicBezTo>
                <a:lnTo>
                  <a:pt x="265575" y="298571"/>
                </a:lnTo>
                <a:cubicBezTo>
                  <a:pt x="264055" y="299103"/>
                  <a:pt x="262503" y="299555"/>
                  <a:pt x="260951" y="299932"/>
                </a:cubicBezTo>
                <a:lnTo>
                  <a:pt x="260286" y="299932"/>
                </a:lnTo>
                <a:cubicBezTo>
                  <a:pt x="258702" y="300312"/>
                  <a:pt x="257055" y="300597"/>
                  <a:pt x="255440" y="300787"/>
                </a:cubicBezTo>
                <a:lnTo>
                  <a:pt x="254933" y="300787"/>
                </a:lnTo>
                <a:cubicBezTo>
                  <a:pt x="253254" y="300986"/>
                  <a:pt x="251544" y="301094"/>
                  <a:pt x="249834" y="301104"/>
                </a:cubicBezTo>
                <a:lnTo>
                  <a:pt x="249580" y="301104"/>
                </a:lnTo>
                <a:cubicBezTo>
                  <a:pt x="247870" y="301104"/>
                  <a:pt x="246128" y="301104"/>
                  <a:pt x="244386" y="300787"/>
                </a:cubicBezTo>
                <a:lnTo>
                  <a:pt x="244386" y="300787"/>
                </a:lnTo>
                <a:lnTo>
                  <a:pt x="271783" y="273400"/>
                </a:lnTo>
                <a:lnTo>
                  <a:pt x="299179" y="246044"/>
                </a:lnTo>
                <a:lnTo>
                  <a:pt x="299179" y="246044"/>
                </a:lnTo>
                <a:cubicBezTo>
                  <a:pt x="299370" y="247754"/>
                  <a:pt x="299465" y="249495"/>
                  <a:pt x="299497" y="251236"/>
                </a:cubicBezTo>
                <a:close/>
                <a:moveTo>
                  <a:pt x="156146" y="250540"/>
                </a:moveTo>
                <a:lnTo>
                  <a:pt x="63884" y="158372"/>
                </a:lnTo>
                <a:lnTo>
                  <a:pt x="112153" y="110120"/>
                </a:lnTo>
                <a:lnTo>
                  <a:pt x="112153" y="202287"/>
                </a:lnTo>
                <a:lnTo>
                  <a:pt x="200614" y="202287"/>
                </a:lnTo>
                <a:lnTo>
                  <a:pt x="200614" y="110626"/>
                </a:lnTo>
                <a:lnTo>
                  <a:pt x="228613" y="138584"/>
                </a:lnTo>
                <a:lnTo>
                  <a:pt x="248377" y="158372"/>
                </a:lnTo>
                <a:close/>
                <a:moveTo>
                  <a:pt x="134324" y="180124"/>
                </a:moveTo>
                <a:lnTo>
                  <a:pt x="134324" y="22036"/>
                </a:lnTo>
                <a:lnTo>
                  <a:pt x="178443" y="22036"/>
                </a:lnTo>
                <a:lnTo>
                  <a:pt x="178443" y="180124"/>
                </a:lnTo>
                <a:close/>
                <a:moveTo>
                  <a:pt x="331707" y="260862"/>
                </a:moveTo>
                <a:lnTo>
                  <a:pt x="412694" y="261242"/>
                </a:lnTo>
                <a:lnTo>
                  <a:pt x="412694" y="285368"/>
                </a:lnTo>
                <a:lnTo>
                  <a:pt x="331739" y="284988"/>
                </a:lnTo>
                <a:close/>
                <a:moveTo>
                  <a:pt x="300035" y="325262"/>
                </a:moveTo>
                <a:lnTo>
                  <a:pt x="317170" y="308259"/>
                </a:lnTo>
                <a:lnTo>
                  <a:pt x="377918" y="369525"/>
                </a:lnTo>
                <a:lnTo>
                  <a:pt x="360783" y="386496"/>
                </a:lnTo>
                <a:close/>
                <a:moveTo>
                  <a:pt x="252241" y="338971"/>
                </a:moveTo>
                <a:lnTo>
                  <a:pt x="276375" y="338971"/>
                </a:lnTo>
                <a:lnTo>
                  <a:pt x="275964" y="419899"/>
                </a:lnTo>
                <a:lnTo>
                  <a:pt x="251829" y="419899"/>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ECEDAD9A-CD66-6898-0D26-64B05645AF09}"/>
              </a:ext>
            </a:extLst>
          </p:cNvPr>
          <p:cNvSpPr/>
          <p:nvPr/>
        </p:nvSpPr>
        <p:spPr>
          <a:xfrm>
            <a:off x="442912" y="6341400"/>
            <a:ext cx="7775575"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rtl="0">
              <a:lnSpc>
                <a:spcPct val="100000"/>
              </a:lnSpc>
              <a:buSzPct val="100000"/>
            </a:pPr>
            <a:r>
              <a:rPr lang="en-gb" sz="1000">
                <a:solidFill>
                  <a:schemeClr val="tx1"/>
                </a:solidFill>
              </a:rPr>
              <a:t>*1. critical infrastructure (&gt;100 people)</a:t>
            </a:r>
          </a:p>
          <a:p>
            <a:pPr rtl="0">
              <a:lnSpc>
                <a:spcPct val="100000"/>
              </a:lnSpc>
              <a:buSzPct val="100000"/>
            </a:pPr>
            <a:r>
              <a:rPr lang="en-gb" sz="1000">
                <a:solidFill>
                  <a:schemeClr val="tx1"/>
                </a:solidFill>
              </a:rPr>
              <a:t>2. state, municipal </a:t>
            </a:r>
            <a:r>
              <a:rPr lang="lv-LV" sz="1000" err="1">
                <a:solidFill>
                  <a:schemeClr val="tx1"/>
                </a:solidFill>
              </a:rPr>
              <a:t>objects</a:t>
            </a:r>
            <a:r>
              <a:rPr lang="en-gb" sz="1000">
                <a:solidFill>
                  <a:schemeClr val="tx1"/>
                </a:solidFill>
              </a:rPr>
              <a:t> </a:t>
            </a:r>
            <a:r>
              <a:rPr lang="en-US" sz="1000">
                <a:solidFill>
                  <a:schemeClr val="tx1"/>
                </a:solidFill>
              </a:rPr>
              <a:t>which are </a:t>
            </a:r>
            <a:r>
              <a:rPr lang="lv-LV" sz="1000" err="1">
                <a:solidFill>
                  <a:schemeClr val="tx1"/>
                </a:solidFill>
              </a:rPr>
              <a:t>instructed</a:t>
            </a:r>
            <a:r>
              <a:rPr lang="en-US" sz="1000">
                <a:solidFill>
                  <a:schemeClr val="tx1"/>
                </a:solidFill>
              </a:rPr>
              <a:t> by ministries to develop plans</a:t>
            </a:r>
            <a:endParaRPr lang="en-gb" sz="1000">
              <a:solidFill>
                <a:schemeClr val="tx1"/>
              </a:solidFill>
            </a:endParaRPr>
          </a:p>
        </p:txBody>
      </p:sp>
      <p:grpSp>
        <p:nvGrpSpPr>
          <p:cNvPr id="33" name="Group 32">
            <a:extLst>
              <a:ext uri="{FF2B5EF4-FFF2-40B4-BE49-F238E27FC236}">
                <a16:creationId xmlns:a16="http://schemas.microsoft.com/office/drawing/2014/main" id="{A05425C7-8148-987A-2A38-B199C2885C9C}"/>
              </a:ext>
            </a:extLst>
          </p:cNvPr>
          <p:cNvGrpSpPr/>
          <p:nvPr/>
        </p:nvGrpSpPr>
        <p:grpSpPr>
          <a:xfrm>
            <a:off x="6167418" y="132067"/>
            <a:ext cx="5590962" cy="224022"/>
            <a:chOff x="5385234" y="125533"/>
            <a:chExt cx="5590962" cy="224022"/>
          </a:xfrm>
        </p:grpSpPr>
        <p:sp>
          <p:nvSpPr>
            <p:cNvPr id="35" name="Rectangle 34">
              <a:extLst>
                <a:ext uri="{FF2B5EF4-FFF2-40B4-BE49-F238E27FC236}">
                  <a16:creationId xmlns:a16="http://schemas.microsoft.com/office/drawing/2014/main" id="{78FDFB4D-FA51-B5D6-E764-4A010A81449B}"/>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D60D94DC-B7AB-B9A0-B564-49CBD5620C6D}"/>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37" name="Rectangle 36">
              <a:extLst>
                <a:ext uri="{FF2B5EF4-FFF2-40B4-BE49-F238E27FC236}">
                  <a16:creationId xmlns:a16="http://schemas.microsoft.com/office/drawing/2014/main" id="{A2FE14FF-80A1-FB77-8ED8-BC7A59DE0BB0}"/>
                </a:ext>
              </a:extLst>
            </p:cNvPr>
            <p:cNvSpPr/>
            <p:nvPr/>
          </p:nvSpPr>
          <p:spPr>
            <a:xfrm>
              <a:off x="5868888" y="132067"/>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0" name="Rectangle 59">
              <a:extLst>
                <a:ext uri="{FF2B5EF4-FFF2-40B4-BE49-F238E27FC236}">
                  <a16:creationId xmlns:a16="http://schemas.microsoft.com/office/drawing/2014/main" id="{A020183F-52C9-D25D-2C4B-4BD1566A8C62}"/>
                </a:ext>
              </a:extLst>
            </p:cNvPr>
            <p:cNvSpPr/>
            <p:nvPr/>
          </p:nvSpPr>
          <p:spPr>
            <a:xfrm>
              <a:off x="6352542" y="132067"/>
              <a:ext cx="414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600"/>
                </a:spcAft>
              </a:pPr>
              <a:r>
                <a:rPr lang="en-GB" sz="800" b="1" dirty="0">
                  <a:latin typeface="Arial"/>
                  <a:cs typeface="Arial"/>
                </a:rPr>
                <a:t>Civil Protection Measure Planning </a:t>
              </a:r>
            </a:p>
          </p:txBody>
        </p:sp>
        <p:sp>
          <p:nvSpPr>
            <p:cNvPr id="61" name="Rectangle 60">
              <a:extLst>
                <a:ext uri="{FF2B5EF4-FFF2-40B4-BE49-F238E27FC236}">
                  <a16:creationId xmlns:a16="http://schemas.microsoft.com/office/drawing/2014/main" id="{B664AF37-7808-6C03-A139-0599F6FD0A9B}"/>
                </a:ext>
              </a:extLst>
            </p:cNvPr>
            <p:cNvSpPr/>
            <p:nvPr/>
          </p:nvSpPr>
          <p:spPr>
            <a:xfrm>
              <a:off x="6110715"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4</a:t>
              </a:r>
            </a:p>
          </p:txBody>
        </p:sp>
        <p:sp>
          <p:nvSpPr>
            <p:cNvPr id="62" name="Rectangle 61">
              <a:extLst>
                <a:ext uri="{FF2B5EF4-FFF2-40B4-BE49-F238E27FC236}">
                  <a16:creationId xmlns:a16="http://schemas.microsoft.com/office/drawing/2014/main" id="{9A5A9F6E-CE1E-8DA6-E6BC-895D2DC12E01}"/>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3" name="Rectangle 62">
              <a:extLst>
                <a:ext uri="{FF2B5EF4-FFF2-40B4-BE49-F238E27FC236}">
                  <a16:creationId xmlns:a16="http://schemas.microsoft.com/office/drawing/2014/main" id="{56A308FF-6C7D-1DD9-F4FD-44BD1CA987A0}"/>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4" name="Rectangle 63">
            <a:extLst>
              <a:ext uri="{FF2B5EF4-FFF2-40B4-BE49-F238E27FC236}">
                <a16:creationId xmlns:a16="http://schemas.microsoft.com/office/drawing/2014/main" id="{D03E5E85-A0F5-2106-75EB-3074E2E17CCF}"/>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40497826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47" name="Picture 44046">
            <a:extLst>
              <a:ext uri="{FF2B5EF4-FFF2-40B4-BE49-F238E27FC236}">
                <a16:creationId xmlns:a16="http://schemas.microsoft.com/office/drawing/2014/main" id="{B61F8EC9-08C2-5F8E-8C43-B84E11B29AE2}"/>
              </a:ext>
            </a:extLst>
          </p:cNvPr>
          <p:cNvPicPr>
            <a:picLocks noChangeAspect="1"/>
          </p:cNvPicPr>
          <p:nvPr/>
        </p:nvPicPr>
        <p:blipFill>
          <a:blip r:embed="rId3"/>
          <a:stretch>
            <a:fillRect/>
          </a:stretch>
        </p:blipFill>
        <p:spPr>
          <a:xfrm>
            <a:off x="8218488" y="3433939"/>
            <a:ext cx="3530600" cy="2350282"/>
          </a:xfrm>
          <a:prstGeom prst="rect">
            <a:avLst/>
          </a:prstGeom>
        </p:spPr>
      </p:pic>
      <p:sp>
        <p:nvSpPr>
          <p:cNvPr id="10" name="Title 9">
            <a:extLst>
              <a:ext uri="{FF2B5EF4-FFF2-40B4-BE49-F238E27FC236}">
                <a16:creationId xmlns:a16="http://schemas.microsoft.com/office/drawing/2014/main" id="{A3E5090C-AF99-94CB-5AAF-F486CA901BC7}"/>
              </a:ext>
            </a:extLst>
          </p:cNvPr>
          <p:cNvSpPr>
            <a:spLocks noGrp="1"/>
          </p:cNvSpPr>
          <p:nvPr>
            <p:ph type="title"/>
          </p:nvPr>
        </p:nvSpPr>
        <p:spPr>
          <a:xfrm>
            <a:off x="442913" y="432001"/>
            <a:ext cx="11306175" cy="1387274"/>
          </a:xfrm>
        </p:spPr>
        <p:txBody>
          <a:bodyPr vert="horz" rtlCol="0"/>
          <a:lstStyle/>
          <a:p>
            <a:pPr rtl="0"/>
            <a:r>
              <a:rPr lang="en-GB"/>
              <a:t>State </a:t>
            </a:r>
            <a:r>
              <a:rPr lang="lv-LV"/>
              <a:t>C</a:t>
            </a:r>
            <a:r>
              <a:rPr lang="en-GB" err="1"/>
              <a:t>ivil</a:t>
            </a:r>
            <a:r>
              <a:rPr lang="en-GB"/>
              <a:t> </a:t>
            </a:r>
            <a:r>
              <a:rPr lang="lv-LV"/>
              <a:t>P</a:t>
            </a:r>
            <a:r>
              <a:rPr lang="en-GB" err="1"/>
              <a:t>rotection</a:t>
            </a:r>
            <a:r>
              <a:rPr lang="en-GB"/>
              <a:t> </a:t>
            </a:r>
            <a:r>
              <a:rPr lang="lv-LV"/>
              <a:t>P</a:t>
            </a:r>
            <a:r>
              <a:rPr lang="en-GB" err="1"/>
              <a:t>lan</a:t>
            </a:r>
            <a:endParaRPr lang="en-GB"/>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A9DEB5B7-0CCF-447A-91D6-F7DB098D19F7}" type="slidenum">
              <a:rPr lang="lv-LV" altLang="en-US" noProof="0" dirty="0"/>
              <a:pPr lvl="0" rtl="0"/>
              <a:t>21</a:t>
            </a:fld>
            <a:endParaRPr lang="lv-LV" altLang="en-US" noProof="0"/>
          </a:p>
        </p:txBody>
      </p:sp>
      <p:sp>
        <p:nvSpPr>
          <p:cNvPr id="15" name="Satura vietturis 2">
            <a:extLst>
              <a:ext uri="{FF2B5EF4-FFF2-40B4-BE49-F238E27FC236}">
                <a16:creationId xmlns:a16="http://schemas.microsoft.com/office/drawing/2014/main" id="{EEAA3E35-7EFC-21DD-686B-8EEE9B94F976}"/>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rtl="0">
              <a:buNone/>
              <a:defRPr/>
            </a:pPr>
            <a:r>
              <a:rPr lang="en-GB" sz="1400">
                <a:solidFill>
                  <a:schemeClr val="bg1"/>
                </a:solidFill>
                <a:ea typeface="+mn-lt"/>
                <a:cs typeface="+mn-lt"/>
              </a:rPr>
              <a:t>State Civil Protection Plan</a:t>
            </a:r>
            <a:r>
              <a:rPr lang="lv-LV" sz="1400">
                <a:solidFill>
                  <a:schemeClr val="bg1"/>
                </a:solidFill>
                <a:ea typeface="+mn-lt"/>
                <a:cs typeface="+mn-lt"/>
              </a:rPr>
              <a:t> – </a:t>
            </a:r>
            <a:r>
              <a:rPr lang="en-gb" sz="1400">
                <a:solidFill>
                  <a:schemeClr val="bg1"/>
                </a:solidFill>
                <a:ea typeface="+mn-lt"/>
                <a:cs typeface="+mn-lt"/>
              </a:rPr>
              <a:t>the </a:t>
            </a:r>
            <a:r>
              <a:rPr lang="en-US" sz="1400" b="1">
                <a:solidFill>
                  <a:schemeClr val="bg1"/>
                </a:solidFill>
                <a:ea typeface="+mn-lt"/>
                <a:cs typeface="+mn-lt"/>
              </a:rPr>
              <a:t>planning document for measures to ensure the system of civil protection</a:t>
            </a:r>
            <a:r>
              <a:rPr lang="en-gb" sz="1400">
                <a:solidFill>
                  <a:schemeClr val="bg1"/>
                </a:solidFill>
                <a:ea typeface="+mn-lt"/>
                <a:cs typeface="+mn-lt"/>
              </a:rPr>
              <a:t>.</a:t>
            </a:r>
            <a:endParaRPr lang="en-US" sz="1400">
              <a:solidFill>
                <a:schemeClr val="bg1"/>
              </a:solidFill>
              <a:ea typeface="+mn-lt"/>
              <a:cs typeface="+mn-lt"/>
            </a:endParaRPr>
          </a:p>
        </p:txBody>
      </p:sp>
      <p:sp>
        <p:nvSpPr>
          <p:cNvPr id="16" name="Rectangle 15">
            <a:extLst>
              <a:ext uri="{FF2B5EF4-FFF2-40B4-BE49-F238E27FC236}">
                <a16:creationId xmlns:a16="http://schemas.microsoft.com/office/drawing/2014/main" id="{A3FDD3CD-91CA-65B3-3B7F-DB8152E787AD}"/>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7" name="Rectangle 16">
            <a:extLst>
              <a:ext uri="{FF2B5EF4-FFF2-40B4-BE49-F238E27FC236}">
                <a16:creationId xmlns:a16="http://schemas.microsoft.com/office/drawing/2014/main" id="{A12185AE-D28B-8796-D252-49075ADD79E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Rectangle 17">
            <a:extLst>
              <a:ext uri="{FF2B5EF4-FFF2-40B4-BE49-F238E27FC236}">
                <a16:creationId xmlns:a16="http://schemas.microsoft.com/office/drawing/2014/main" id="{9A9BA8EA-750A-D8D0-0D47-DF5B06F523CE}"/>
              </a:ext>
            </a:extLst>
          </p:cNvPr>
          <p:cNvSpPr/>
          <p:nvPr/>
        </p:nvSpPr>
        <p:spPr>
          <a:xfrm>
            <a:off x="1120996" y="3433939"/>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gb" sz="1400" dirty="0">
                <a:solidFill>
                  <a:schemeClr val="tx1"/>
                </a:solidFill>
                <a:ea typeface="+mn-lt"/>
                <a:cs typeface="+mn-lt"/>
              </a:rPr>
              <a:t>disaster risk assessments</a:t>
            </a:r>
            <a:r>
              <a:rPr lang="lv-LV" sz="1400" dirty="0">
                <a:solidFill>
                  <a:schemeClr val="tx1"/>
                </a:solidFill>
                <a:ea typeface="+mn-lt"/>
                <a:cs typeface="+mn-lt"/>
              </a:rPr>
              <a:t>,</a:t>
            </a:r>
            <a:endParaRPr lang="en-gb" sz="1400" dirty="0">
              <a:solidFill>
                <a:schemeClr val="tx1"/>
              </a:solidFill>
              <a:ea typeface="+mn-lt"/>
              <a:cs typeface="+mn-lt"/>
            </a:endParaRPr>
          </a:p>
        </p:txBody>
      </p:sp>
      <p:sp>
        <p:nvSpPr>
          <p:cNvPr id="19" name="Rectangle 18">
            <a:extLst>
              <a:ext uri="{FF2B5EF4-FFF2-40B4-BE49-F238E27FC236}">
                <a16:creationId xmlns:a16="http://schemas.microsoft.com/office/drawing/2014/main" id="{9F3EBC83-A7A4-E7C4-B983-A5553B5614B6}"/>
              </a:ext>
            </a:extLst>
          </p:cNvPr>
          <p:cNvSpPr/>
          <p:nvPr/>
        </p:nvSpPr>
        <p:spPr>
          <a:xfrm>
            <a:off x="1120996" y="415583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GB" sz="1400">
                <a:solidFill>
                  <a:schemeClr val="tx1"/>
                </a:solidFill>
                <a:ea typeface="+mn-lt"/>
                <a:cs typeface="+mn-lt"/>
              </a:rPr>
              <a:t>determine</a:t>
            </a:r>
            <a:r>
              <a:rPr lang="lv-LV" sz="1400">
                <a:solidFill>
                  <a:schemeClr val="tx1"/>
                </a:solidFill>
                <a:ea typeface="+mn-lt"/>
                <a:cs typeface="+mn-lt"/>
              </a:rPr>
              <a:t>d</a:t>
            </a:r>
            <a:r>
              <a:rPr lang="en-gb" sz="1400">
                <a:solidFill>
                  <a:schemeClr val="tx1"/>
                </a:solidFill>
                <a:ea typeface="+mn-lt"/>
                <a:cs typeface="+mn-lt"/>
              </a:rPr>
              <a:t> </a:t>
            </a:r>
            <a:r>
              <a:rPr lang="en-GB" sz="1400">
                <a:solidFill>
                  <a:schemeClr val="tx1"/>
                </a:solidFill>
                <a:ea typeface="+mn-lt"/>
                <a:cs typeface="+mn-lt"/>
              </a:rPr>
              <a:t>preventive</a:t>
            </a:r>
            <a:r>
              <a:rPr lang="en-gb" sz="1400">
                <a:solidFill>
                  <a:schemeClr val="tx1"/>
                </a:solidFill>
                <a:ea typeface="+mn-lt"/>
                <a:cs typeface="+mn-lt"/>
              </a:rPr>
              <a:t>, preparedness, response and </a:t>
            </a:r>
            <a:r>
              <a:rPr lang="en-GB" sz="1400">
                <a:solidFill>
                  <a:schemeClr val="tx1"/>
                </a:solidFill>
                <a:ea typeface="+mn-lt"/>
                <a:cs typeface="+mn-lt"/>
              </a:rPr>
              <a:t>elimination of consequences measures</a:t>
            </a:r>
            <a:r>
              <a:rPr lang="en-gb" sz="1400">
                <a:solidFill>
                  <a:schemeClr val="tx1"/>
                </a:solidFill>
                <a:ea typeface="+mn-lt"/>
                <a:cs typeface="+mn-lt"/>
              </a:rPr>
              <a:t>,</a:t>
            </a:r>
          </a:p>
        </p:txBody>
      </p:sp>
      <p:sp>
        <p:nvSpPr>
          <p:cNvPr id="20" name="Rectangle 19">
            <a:extLst>
              <a:ext uri="{FF2B5EF4-FFF2-40B4-BE49-F238E27FC236}">
                <a16:creationId xmlns:a16="http://schemas.microsoft.com/office/drawing/2014/main" id="{6909AAC6-C011-6E40-568E-B038D8727A6C}"/>
              </a:ext>
            </a:extLst>
          </p:cNvPr>
          <p:cNvSpPr/>
          <p:nvPr/>
        </p:nvSpPr>
        <p:spPr>
          <a:xfrm>
            <a:off x="1120996" y="4877731"/>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US" sz="1400">
                <a:solidFill>
                  <a:schemeClr val="tx1"/>
                </a:solidFill>
                <a:ea typeface="+mn-lt"/>
                <a:cs typeface="+mn-lt"/>
              </a:rPr>
              <a:t>draw</a:t>
            </a:r>
            <a:r>
              <a:rPr lang="lv-LV" sz="1400" err="1">
                <a:solidFill>
                  <a:schemeClr val="tx1"/>
                </a:solidFill>
                <a:ea typeface="+mn-lt"/>
                <a:cs typeface="+mn-lt"/>
              </a:rPr>
              <a:t>ed</a:t>
            </a:r>
            <a:r>
              <a:rPr lang="en-US" sz="1400">
                <a:solidFill>
                  <a:schemeClr val="tx1"/>
                </a:solidFill>
                <a:ea typeface="+mn-lt"/>
                <a:cs typeface="+mn-lt"/>
              </a:rPr>
              <a:t> up planning documents for the development of the respective field, laws and regulations and other documents</a:t>
            </a:r>
            <a:r>
              <a:rPr lang="lv-LV" sz="1400">
                <a:solidFill>
                  <a:schemeClr val="tx1"/>
                </a:solidFill>
                <a:ea typeface="+mn-lt"/>
                <a:cs typeface="+mn-lt"/>
              </a:rPr>
              <a:t>,</a:t>
            </a:r>
            <a:endParaRPr lang="en-gb" sz="1400">
              <a:solidFill>
                <a:schemeClr val="tx1"/>
              </a:solidFill>
              <a:ea typeface="+mn-lt"/>
              <a:cs typeface="+mn-lt"/>
            </a:endParaRPr>
          </a:p>
        </p:txBody>
      </p:sp>
      <p:sp>
        <p:nvSpPr>
          <p:cNvPr id="21" name="Rectangle 20">
            <a:extLst>
              <a:ext uri="{FF2B5EF4-FFF2-40B4-BE49-F238E27FC236}">
                <a16:creationId xmlns:a16="http://schemas.microsoft.com/office/drawing/2014/main" id="{AE295EC9-DD61-AD34-0264-BC4C77569740}"/>
              </a:ext>
            </a:extLst>
          </p:cNvPr>
          <p:cNvSpPr/>
          <p:nvPr/>
        </p:nvSpPr>
        <p:spPr>
          <a:xfrm>
            <a:off x="1120996" y="559962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gb" sz="1400">
                <a:solidFill>
                  <a:schemeClr val="tx1"/>
                </a:solidFill>
                <a:ea typeface="+mn-lt"/>
                <a:cs typeface="+mn-lt"/>
              </a:rPr>
              <a:t>identified and planned resources for disaster management.</a:t>
            </a:r>
            <a:endParaRPr lang="lv-LV" sz="1400" b="1">
              <a:solidFill>
                <a:schemeClr val="tx1"/>
              </a:solidFill>
              <a:cs typeface="Arial"/>
            </a:endParaRPr>
          </a:p>
        </p:txBody>
      </p:sp>
      <p:sp>
        <p:nvSpPr>
          <p:cNvPr id="22" name="Rectangle 21">
            <a:extLst>
              <a:ext uri="{FF2B5EF4-FFF2-40B4-BE49-F238E27FC236}">
                <a16:creationId xmlns:a16="http://schemas.microsoft.com/office/drawing/2014/main" id="{523C5D9C-8E80-D01D-BEDE-19F8887E2911}"/>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t>The plan is based on information provided by disaster management </a:t>
            </a:r>
            <a:r>
              <a:rPr lang="en-GB" sz="1400" b="1"/>
              <a:t>subject</a:t>
            </a:r>
            <a:r>
              <a:rPr lang="lv-LV" sz="1400" b="1"/>
              <a:t>s</a:t>
            </a:r>
            <a:r>
              <a:rPr lang="en-gb" sz="1400" b="1"/>
              <a:t>:</a:t>
            </a:r>
          </a:p>
        </p:txBody>
      </p:sp>
      <p:grpSp>
        <p:nvGrpSpPr>
          <p:cNvPr id="23" name="Group 22">
            <a:extLst>
              <a:ext uri="{FF2B5EF4-FFF2-40B4-BE49-F238E27FC236}">
                <a16:creationId xmlns:a16="http://schemas.microsoft.com/office/drawing/2014/main" id="{68520FC6-D606-F175-DA70-E7C09AFC2D50}"/>
              </a:ext>
            </a:extLst>
          </p:cNvPr>
          <p:cNvGrpSpPr/>
          <p:nvPr/>
        </p:nvGrpSpPr>
        <p:grpSpPr>
          <a:xfrm>
            <a:off x="11101088" y="2708618"/>
            <a:ext cx="648000" cy="576000"/>
            <a:chOff x="7213300" y="2708618"/>
            <a:chExt cx="648000" cy="576000"/>
          </a:xfrm>
        </p:grpSpPr>
        <p:sp>
          <p:nvSpPr>
            <p:cNvPr id="24" name="Rectangle 23">
              <a:extLst>
                <a:ext uri="{FF2B5EF4-FFF2-40B4-BE49-F238E27FC236}">
                  <a16:creationId xmlns:a16="http://schemas.microsoft.com/office/drawing/2014/main" id="{86F59625-3BF8-B7EE-9793-830DAD013E32}"/>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Rectangle 24">
              <a:extLst>
                <a:ext uri="{FF2B5EF4-FFF2-40B4-BE49-F238E27FC236}">
                  <a16:creationId xmlns:a16="http://schemas.microsoft.com/office/drawing/2014/main" id="{1E93478A-CF62-FA87-9167-98A90AB5135B}"/>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26" name="Group 25">
            <a:extLst>
              <a:ext uri="{FF2B5EF4-FFF2-40B4-BE49-F238E27FC236}">
                <a16:creationId xmlns:a16="http://schemas.microsoft.com/office/drawing/2014/main" id="{9C58D15B-08D1-DC21-5F64-F62BC180C676}"/>
              </a:ext>
            </a:extLst>
          </p:cNvPr>
          <p:cNvGrpSpPr/>
          <p:nvPr/>
        </p:nvGrpSpPr>
        <p:grpSpPr>
          <a:xfrm>
            <a:off x="441326" y="3433426"/>
            <a:ext cx="576000" cy="573088"/>
            <a:chOff x="441326" y="3433426"/>
            <a:chExt cx="576000" cy="573088"/>
          </a:xfrm>
        </p:grpSpPr>
        <p:sp>
          <p:nvSpPr>
            <p:cNvPr id="27" name="Rectangle 26">
              <a:extLst>
                <a:ext uri="{FF2B5EF4-FFF2-40B4-BE49-F238E27FC236}">
                  <a16:creationId xmlns:a16="http://schemas.microsoft.com/office/drawing/2014/main" id="{DDB3ABB1-2E94-D1CB-FB2D-023E27EA9F8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8" name="L-Shape 27">
              <a:extLst>
                <a:ext uri="{FF2B5EF4-FFF2-40B4-BE49-F238E27FC236}">
                  <a16:creationId xmlns:a16="http://schemas.microsoft.com/office/drawing/2014/main" id="{1B685E7E-8B75-AE51-F3BE-D543882F14B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29" name="Group 28">
            <a:extLst>
              <a:ext uri="{FF2B5EF4-FFF2-40B4-BE49-F238E27FC236}">
                <a16:creationId xmlns:a16="http://schemas.microsoft.com/office/drawing/2014/main" id="{B5B236A9-CD02-B174-C6CA-8974515D40BE}"/>
              </a:ext>
            </a:extLst>
          </p:cNvPr>
          <p:cNvGrpSpPr/>
          <p:nvPr/>
        </p:nvGrpSpPr>
        <p:grpSpPr>
          <a:xfrm>
            <a:off x="441326" y="4155321"/>
            <a:ext cx="576000" cy="573088"/>
            <a:chOff x="441326" y="3433426"/>
            <a:chExt cx="576000" cy="573088"/>
          </a:xfrm>
        </p:grpSpPr>
        <p:sp>
          <p:nvSpPr>
            <p:cNvPr id="30" name="Rectangle 29">
              <a:extLst>
                <a:ext uri="{FF2B5EF4-FFF2-40B4-BE49-F238E27FC236}">
                  <a16:creationId xmlns:a16="http://schemas.microsoft.com/office/drawing/2014/main" id="{1816385D-481C-7F7E-C166-F8400D7CD1C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1" name="L-Shape 30">
              <a:extLst>
                <a:ext uri="{FF2B5EF4-FFF2-40B4-BE49-F238E27FC236}">
                  <a16:creationId xmlns:a16="http://schemas.microsoft.com/office/drawing/2014/main" id="{F2DAA6FA-4469-1ED4-845A-B9F21211118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32" name="Group 31">
            <a:extLst>
              <a:ext uri="{FF2B5EF4-FFF2-40B4-BE49-F238E27FC236}">
                <a16:creationId xmlns:a16="http://schemas.microsoft.com/office/drawing/2014/main" id="{00462BD0-6792-B83C-2297-3D3132F12F51}"/>
              </a:ext>
            </a:extLst>
          </p:cNvPr>
          <p:cNvGrpSpPr/>
          <p:nvPr/>
        </p:nvGrpSpPr>
        <p:grpSpPr>
          <a:xfrm>
            <a:off x="441326" y="4877216"/>
            <a:ext cx="576000" cy="573088"/>
            <a:chOff x="441326" y="3433426"/>
            <a:chExt cx="576000" cy="573088"/>
          </a:xfrm>
        </p:grpSpPr>
        <p:sp>
          <p:nvSpPr>
            <p:cNvPr id="33" name="Rectangle 32">
              <a:extLst>
                <a:ext uri="{FF2B5EF4-FFF2-40B4-BE49-F238E27FC236}">
                  <a16:creationId xmlns:a16="http://schemas.microsoft.com/office/drawing/2014/main" id="{80E0793D-0701-AD28-8946-C800B3F034CA}"/>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4" name="L-Shape 33">
              <a:extLst>
                <a:ext uri="{FF2B5EF4-FFF2-40B4-BE49-F238E27FC236}">
                  <a16:creationId xmlns:a16="http://schemas.microsoft.com/office/drawing/2014/main" id="{6E54791E-9EB4-1012-2407-02BDD9E66845}"/>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35" name="Group 34">
            <a:extLst>
              <a:ext uri="{FF2B5EF4-FFF2-40B4-BE49-F238E27FC236}">
                <a16:creationId xmlns:a16="http://schemas.microsoft.com/office/drawing/2014/main" id="{D2B85799-44CB-603B-39D5-8A1FDB8EBECF}"/>
              </a:ext>
            </a:extLst>
          </p:cNvPr>
          <p:cNvGrpSpPr/>
          <p:nvPr/>
        </p:nvGrpSpPr>
        <p:grpSpPr>
          <a:xfrm>
            <a:off x="441326" y="5599112"/>
            <a:ext cx="576000" cy="573088"/>
            <a:chOff x="441326" y="3433426"/>
            <a:chExt cx="576000" cy="573088"/>
          </a:xfrm>
        </p:grpSpPr>
        <p:sp>
          <p:nvSpPr>
            <p:cNvPr id="36" name="Rectangle 35">
              <a:extLst>
                <a:ext uri="{FF2B5EF4-FFF2-40B4-BE49-F238E27FC236}">
                  <a16:creationId xmlns:a16="http://schemas.microsoft.com/office/drawing/2014/main" id="{5D7211B2-9653-48AA-6E9F-44A178D5B10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7" name="L-Shape 36">
              <a:extLst>
                <a:ext uri="{FF2B5EF4-FFF2-40B4-BE49-F238E27FC236}">
                  <a16:creationId xmlns:a16="http://schemas.microsoft.com/office/drawing/2014/main" id="{9FE3C742-AA47-F772-7C71-AA1A321C257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56" name="Google Shape;1978;p97">
            <a:extLst>
              <a:ext uri="{FF2B5EF4-FFF2-40B4-BE49-F238E27FC236}">
                <a16:creationId xmlns:a16="http://schemas.microsoft.com/office/drawing/2014/main" id="{D2A3C828-A957-C1DF-C0A7-5970664BD1D2}"/>
              </a:ext>
            </a:extLst>
          </p:cNvPr>
          <p:cNvSpPr/>
          <p:nvPr/>
        </p:nvSpPr>
        <p:spPr>
          <a:xfrm>
            <a:off x="11279499" y="1927275"/>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7" name="Google Shape;545;p75">
            <a:extLst>
              <a:ext uri="{FF2B5EF4-FFF2-40B4-BE49-F238E27FC236}">
                <a16:creationId xmlns:a16="http://schemas.microsoft.com/office/drawing/2014/main" id="{62BFAE41-2D52-63F8-6A93-5EA574F96457}"/>
              </a:ext>
            </a:extLst>
          </p:cNvPr>
          <p:cNvGrpSpPr/>
          <p:nvPr/>
        </p:nvGrpSpPr>
        <p:grpSpPr>
          <a:xfrm>
            <a:off x="11279499" y="2816618"/>
            <a:ext cx="360000" cy="360000"/>
            <a:chOff x="4322721" y="2242308"/>
            <a:chExt cx="456085" cy="455929"/>
          </a:xfrm>
          <a:solidFill>
            <a:schemeClr val="bg1"/>
          </a:solidFill>
        </p:grpSpPr>
        <p:sp>
          <p:nvSpPr>
            <p:cNvPr id="58" name="Google Shape;546;p75">
              <a:extLst>
                <a:ext uri="{FF2B5EF4-FFF2-40B4-BE49-F238E27FC236}">
                  <a16:creationId xmlns:a16="http://schemas.microsoft.com/office/drawing/2014/main" id="{688FEA57-F443-68B4-BF49-D8F9292C33F1}"/>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9" name="Google Shape;547;p75">
              <a:extLst>
                <a:ext uri="{FF2B5EF4-FFF2-40B4-BE49-F238E27FC236}">
                  <a16:creationId xmlns:a16="http://schemas.microsoft.com/office/drawing/2014/main" id="{C94D2851-A09C-5CD8-3038-C27E54895B2D}"/>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0" name="Google Shape;548;p75">
              <a:extLst>
                <a:ext uri="{FF2B5EF4-FFF2-40B4-BE49-F238E27FC236}">
                  <a16:creationId xmlns:a16="http://schemas.microsoft.com/office/drawing/2014/main" id="{AFB2AA07-4042-DCB7-D2DA-8DD7800F926F}"/>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Google Shape;549;p75">
              <a:extLst>
                <a:ext uri="{FF2B5EF4-FFF2-40B4-BE49-F238E27FC236}">
                  <a16:creationId xmlns:a16="http://schemas.microsoft.com/office/drawing/2014/main" id="{1145924E-87AB-7E89-B7AA-1947B23D61F4}"/>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2" name="Google Shape;550;p75">
              <a:extLst>
                <a:ext uri="{FF2B5EF4-FFF2-40B4-BE49-F238E27FC236}">
                  <a16:creationId xmlns:a16="http://schemas.microsoft.com/office/drawing/2014/main" id="{CAA051BA-F460-9E2D-0B9F-D7EDFD62A8A2}"/>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3" name="Google Shape;551;p75">
              <a:extLst>
                <a:ext uri="{FF2B5EF4-FFF2-40B4-BE49-F238E27FC236}">
                  <a16:creationId xmlns:a16="http://schemas.microsoft.com/office/drawing/2014/main" id="{E4F4160E-E65F-AF21-F58A-34DF79FD79A0}"/>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2" name="Google Shape;552;p75">
              <a:extLst>
                <a:ext uri="{FF2B5EF4-FFF2-40B4-BE49-F238E27FC236}">
                  <a16:creationId xmlns:a16="http://schemas.microsoft.com/office/drawing/2014/main" id="{5D27369E-7B8B-E322-F025-CD6285829502}"/>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3" name="Google Shape;553;p75">
              <a:extLst>
                <a:ext uri="{FF2B5EF4-FFF2-40B4-BE49-F238E27FC236}">
                  <a16:creationId xmlns:a16="http://schemas.microsoft.com/office/drawing/2014/main" id="{7831F519-11E1-3A82-DCA0-DE9E67E141E1}"/>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4" name="Google Shape;554;p75">
              <a:extLst>
                <a:ext uri="{FF2B5EF4-FFF2-40B4-BE49-F238E27FC236}">
                  <a16:creationId xmlns:a16="http://schemas.microsoft.com/office/drawing/2014/main" id="{DE4E7A8E-BC37-2519-C6CC-AD5A8A3E9954}"/>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6" name="Google Shape;555;p75">
              <a:extLst>
                <a:ext uri="{FF2B5EF4-FFF2-40B4-BE49-F238E27FC236}">
                  <a16:creationId xmlns:a16="http://schemas.microsoft.com/office/drawing/2014/main" id="{831F45F6-979E-2697-27C6-4816ACEA2DAF}"/>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7" name="Google Shape;556;p75">
              <a:extLst>
                <a:ext uri="{FF2B5EF4-FFF2-40B4-BE49-F238E27FC236}">
                  <a16:creationId xmlns:a16="http://schemas.microsoft.com/office/drawing/2014/main" id="{5AFFDDCC-CB82-AAB8-D4D6-4B43F1C7DE86}"/>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8" name="Google Shape;557;p75">
              <a:extLst>
                <a:ext uri="{FF2B5EF4-FFF2-40B4-BE49-F238E27FC236}">
                  <a16:creationId xmlns:a16="http://schemas.microsoft.com/office/drawing/2014/main" id="{0A193FAF-1117-810F-2825-BAAFBA5110F8}"/>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9" name="Google Shape;558;p75">
              <a:extLst>
                <a:ext uri="{FF2B5EF4-FFF2-40B4-BE49-F238E27FC236}">
                  <a16:creationId xmlns:a16="http://schemas.microsoft.com/office/drawing/2014/main" id="{58667B94-1317-B278-334C-B891AA09D445}"/>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0" name="Google Shape;559;p75">
              <a:extLst>
                <a:ext uri="{FF2B5EF4-FFF2-40B4-BE49-F238E27FC236}">
                  <a16:creationId xmlns:a16="http://schemas.microsoft.com/office/drawing/2014/main" id="{A25ECAB4-631C-360B-5E33-96D72043B297}"/>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1" name="Google Shape;560;p75">
              <a:extLst>
                <a:ext uri="{FF2B5EF4-FFF2-40B4-BE49-F238E27FC236}">
                  <a16:creationId xmlns:a16="http://schemas.microsoft.com/office/drawing/2014/main" id="{C9107E19-F955-4181-C2A9-11B28DAF6EB6}"/>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2" name="Google Shape;561;p75">
              <a:extLst>
                <a:ext uri="{FF2B5EF4-FFF2-40B4-BE49-F238E27FC236}">
                  <a16:creationId xmlns:a16="http://schemas.microsoft.com/office/drawing/2014/main" id="{353F73BC-DC27-2D6F-D8EC-626A95BDDA27}"/>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4043" name="Rectangle 44042">
            <a:extLst>
              <a:ext uri="{FF2B5EF4-FFF2-40B4-BE49-F238E27FC236}">
                <a16:creationId xmlns:a16="http://schemas.microsoft.com/office/drawing/2014/main" id="{A722B25B-EA9D-0189-AD99-865D04E54309}"/>
              </a:ext>
            </a:extLst>
          </p:cNvPr>
          <p:cNvSpPr/>
          <p:nvPr/>
        </p:nvSpPr>
        <p:spPr>
          <a:xfrm>
            <a:off x="8218488" y="5644953"/>
            <a:ext cx="3530600" cy="52724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4044" name="Freeform 50">
            <a:extLst>
              <a:ext uri="{FF2B5EF4-FFF2-40B4-BE49-F238E27FC236}">
                <a16:creationId xmlns:a16="http://schemas.microsoft.com/office/drawing/2014/main" id="{029DBEBD-BC82-55DF-FB29-3B1AF459A727}"/>
              </a:ext>
            </a:extLst>
          </p:cNvPr>
          <p:cNvSpPr>
            <a:spLocks noChangeAspect="1"/>
          </p:cNvSpPr>
          <p:nvPr/>
        </p:nvSpPr>
        <p:spPr bwMode="auto">
          <a:xfrm>
            <a:off x="8349088" y="57669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4045" name="Google Shape;2685;p25">
            <a:extLst>
              <a:ext uri="{FF2B5EF4-FFF2-40B4-BE49-F238E27FC236}">
                <a16:creationId xmlns:a16="http://schemas.microsoft.com/office/drawing/2014/main" id="{68646772-BC1F-947C-C2AF-5525EBAD3B35}"/>
              </a:ext>
            </a:extLst>
          </p:cNvPr>
          <p:cNvSpPr txBox="1"/>
          <p:nvPr/>
        </p:nvSpPr>
        <p:spPr>
          <a:xfrm>
            <a:off x="8808721" y="5816242"/>
            <a:ext cx="2698540" cy="184666"/>
          </a:xfrm>
          <a:prstGeom prst="rect">
            <a:avLst/>
          </a:prstGeom>
          <a:noFill/>
          <a:ln>
            <a:noFill/>
          </a:ln>
        </p:spPr>
        <p:txBody>
          <a:bodyPr spcFirstLastPara="1" wrap="square" lIns="0" tIns="0" rIns="72000" bIns="0" rtlCol="0" anchor="ctr" anchorCtr="0">
            <a:spAutoFit/>
          </a:bodyPr>
          <a:lstStyle/>
          <a:p>
            <a:pPr rtl="0">
              <a:lnSpc>
                <a:spcPct val="100000"/>
              </a:lnSpc>
              <a:buSzPct val="100000"/>
            </a:pPr>
            <a:r>
              <a:rPr lang="en-gb" sz="1200" i="0">
                <a:effectLst/>
                <a:latin typeface="Arial" panose="020B0604020202020204" pitchFamily="34" charset="0"/>
                <a:hlinkClick r:id="rId4">
                  <a:extLst>
                    <a:ext uri="{A12FA001-AC4F-418D-AE19-62706E023703}">
                      <ahyp:hlinkClr xmlns:ahyp="http://schemas.microsoft.com/office/drawing/2018/hyperlinkcolor" val="tx"/>
                    </a:ext>
                  </a:extLst>
                </a:hlinkClick>
              </a:rPr>
              <a:t>On the National Civil Protection Plan</a:t>
            </a:r>
            <a:endParaRPr lang="lv-LV" sz="1200"/>
          </a:p>
        </p:txBody>
      </p:sp>
      <p:sp>
        <p:nvSpPr>
          <p:cNvPr id="51" name="Rectangle 50">
            <a:extLst>
              <a:ext uri="{FF2B5EF4-FFF2-40B4-BE49-F238E27FC236}">
                <a16:creationId xmlns:a16="http://schemas.microsoft.com/office/drawing/2014/main" id="{8DF7A3FD-96B0-C296-BC50-D924E4FDD575}"/>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E2FDC91A-D0EA-CE4B-D986-0A096C81FF2E}"/>
              </a:ext>
            </a:extLst>
          </p:cNvPr>
          <p:cNvGrpSpPr/>
          <p:nvPr/>
        </p:nvGrpSpPr>
        <p:grpSpPr>
          <a:xfrm>
            <a:off x="6167418" y="132067"/>
            <a:ext cx="5590962" cy="224022"/>
            <a:chOff x="5385234" y="125533"/>
            <a:chExt cx="5590962" cy="224022"/>
          </a:xfrm>
        </p:grpSpPr>
        <p:sp>
          <p:nvSpPr>
            <p:cNvPr id="3" name="Rectangle 2">
              <a:extLst>
                <a:ext uri="{FF2B5EF4-FFF2-40B4-BE49-F238E27FC236}">
                  <a16:creationId xmlns:a16="http://schemas.microsoft.com/office/drawing/2014/main" id="{45015D78-332E-27DA-4F6C-D984E3F27BD7}"/>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67FC939E-253A-29BF-7F0D-716B8C4ECFB6}"/>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6" name="Rectangle 5">
              <a:extLst>
                <a:ext uri="{FF2B5EF4-FFF2-40B4-BE49-F238E27FC236}">
                  <a16:creationId xmlns:a16="http://schemas.microsoft.com/office/drawing/2014/main" id="{B79645C8-1287-0DCA-5F4D-89650ACFFD4D}"/>
                </a:ext>
              </a:extLst>
            </p:cNvPr>
            <p:cNvSpPr/>
            <p:nvPr/>
          </p:nvSpPr>
          <p:spPr>
            <a:xfrm>
              <a:off x="5868888" y="132067"/>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18AEDA7A-C255-94D0-8468-ACC51EB2E545}"/>
                </a:ext>
              </a:extLst>
            </p:cNvPr>
            <p:cNvSpPr/>
            <p:nvPr/>
          </p:nvSpPr>
          <p:spPr>
            <a:xfrm>
              <a:off x="6352542" y="132067"/>
              <a:ext cx="414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600"/>
                </a:spcAft>
              </a:pPr>
              <a:r>
                <a:rPr lang="en-GB" sz="800" b="1" dirty="0">
                  <a:latin typeface="Arial"/>
                  <a:cs typeface="Arial"/>
                </a:rPr>
                <a:t>Civil Protection Measure Planning </a:t>
              </a:r>
            </a:p>
          </p:txBody>
        </p:sp>
        <p:sp>
          <p:nvSpPr>
            <p:cNvPr id="8" name="Rectangle 7">
              <a:extLst>
                <a:ext uri="{FF2B5EF4-FFF2-40B4-BE49-F238E27FC236}">
                  <a16:creationId xmlns:a16="http://schemas.microsoft.com/office/drawing/2014/main" id="{93BF3648-97DF-72B3-636B-C9485745E8D3}"/>
                </a:ext>
              </a:extLst>
            </p:cNvPr>
            <p:cNvSpPr/>
            <p:nvPr/>
          </p:nvSpPr>
          <p:spPr>
            <a:xfrm>
              <a:off x="6110715"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4</a:t>
              </a:r>
            </a:p>
          </p:txBody>
        </p:sp>
        <p:sp>
          <p:nvSpPr>
            <p:cNvPr id="9" name="Rectangle 8">
              <a:extLst>
                <a:ext uri="{FF2B5EF4-FFF2-40B4-BE49-F238E27FC236}">
                  <a16:creationId xmlns:a16="http://schemas.microsoft.com/office/drawing/2014/main" id="{87790F38-BBA0-EA70-DFA3-C9EEA7FFC814}"/>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0166C27-97B3-5C54-A436-09C7E63799D7}"/>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02537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965B053-827E-47AA-AA76-4F52A75CD6C7}"/>
              </a:ext>
            </a:extLst>
          </p:cNvPr>
          <p:cNvGraphicFramePr>
            <a:graphicFrameLocks noChangeAspect="1"/>
          </p:cNvGraphicFramePr>
          <p:nvPr>
            <p:custDataLst>
              <p:tags r:id="rId1"/>
            </p:custDataLst>
            <p:extLst>
              <p:ext uri="{D42A27DB-BD31-4B8C-83A1-F6EECF244321}">
                <p14:modId xmlns:p14="http://schemas.microsoft.com/office/powerpoint/2010/main" val="278341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1" name="think-cell data - do not delete" hidden="1">
                        <a:extLst>
                          <a:ext uri="{FF2B5EF4-FFF2-40B4-BE49-F238E27FC236}">
                            <a16:creationId xmlns:a16="http://schemas.microsoft.com/office/drawing/2014/main" id="{C965B053-827E-47AA-AA76-4F52A75CD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46673C4-B9B9-74BB-E212-CD6427C9067F}"/>
              </a:ext>
            </a:extLst>
          </p:cNvPr>
          <p:cNvSpPr/>
          <p:nvPr/>
        </p:nvSpPr>
        <p:spPr>
          <a:xfrm>
            <a:off x="442913" y="1304354"/>
            <a:ext cx="11306175" cy="48861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A25D6607-36FE-CCD1-92AE-34D0595FAF6F}"/>
              </a:ext>
            </a:extLst>
          </p:cNvPr>
          <p:cNvSpPr>
            <a:spLocks noGrp="1"/>
          </p:cNvSpPr>
          <p:nvPr>
            <p:ph type="title"/>
          </p:nvPr>
        </p:nvSpPr>
        <p:spPr>
          <a:xfrm>
            <a:off x="442913" y="432001"/>
            <a:ext cx="11306175" cy="1387274"/>
          </a:xfrm>
        </p:spPr>
        <p:txBody>
          <a:bodyPr vert="horz" rtlCol="0"/>
          <a:lstStyle/>
          <a:p>
            <a:pPr rtl="0"/>
            <a:r>
              <a:rPr lang="en-gb" dirty="0"/>
              <a:t>Process for </a:t>
            </a:r>
            <a:r>
              <a:rPr lang="lv-LV" dirty="0"/>
              <a:t>D</a:t>
            </a:r>
            <a:r>
              <a:rPr lang="en-gb" dirty="0" err="1"/>
              <a:t>eveloping</a:t>
            </a:r>
            <a:r>
              <a:rPr lang="en-gb" dirty="0"/>
              <a:t> </a:t>
            </a:r>
            <a:r>
              <a:rPr lang="lv-LV" dirty="0" err="1"/>
              <a:t>the</a:t>
            </a:r>
            <a:r>
              <a:rPr lang="en-gb" dirty="0"/>
              <a:t> </a:t>
            </a:r>
            <a:r>
              <a:rPr lang="en-GB" dirty="0"/>
              <a:t>State Civil Protection Plan</a:t>
            </a:r>
            <a:endParaRPr lang="en-gb" dirty="0"/>
          </a:p>
        </p:txBody>
      </p:sp>
      <p:sp>
        <p:nvSpPr>
          <p:cNvPr id="4" name="Slide Number Placeholder 3">
            <a:extLst>
              <a:ext uri="{FF2B5EF4-FFF2-40B4-BE49-F238E27FC236}">
                <a16:creationId xmlns:a16="http://schemas.microsoft.com/office/drawing/2014/main" id="{1CBBA691-149B-4E75-5E23-EF33D7F3479C}"/>
              </a:ext>
            </a:extLst>
          </p:cNvPr>
          <p:cNvSpPr>
            <a:spLocks noGrp="1"/>
          </p:cNvSpPr>
          <p:nvPr>
            <p:ph type="sldNum" sz="quarter" idx="11"/>
          </p:nvPr>
        </p:nvSpPr>
        <p:spPr>
          <a:xfrm>
            <a:off x="9984296" y="6501384"/>
            <a:ext cx="1764792" cy="137160"/>
          </a:xfrm>
        </p:spPr>
        <p:txBody>
          <a:bodyPr rtlCol="0"/>
          <a:lstStyle/>
          <a:p>
            <a:pPr lvl="0" rtl="0"/>
            <a:fld id="{7870704B-CE94-48CC-AF30-84932A1262A7}" type="slidenum">
              <a:rPr lang="en-GB" noProof="0" smtClean="0"/>
              <a:pPr lvl="0" rtl="0"/>
              <a:t>22</a:t>
            </a:fld>
            <a:endParaRPr lang="en-GB" noProof="0"/>
          </a:p>
        </p:txBody>
      </p:sp>
      <p:grpSp>
        <p:nvGrpSpPr>
          <p:cNvPr id="50" name="Group 49">
            <a:extLst>
              <a:ext uri="{FF2B5EF4-FFF2-40B4-BE49-F238E27FC236}">
                <a16:creationId xmlns:a16="http://schemas.microsoft.com/office/drawing/2014/main" id="{35EBB9EC-EE3B-02CA-F3CD-1BDA4B3D07E0}"/>
              </a:ext>
            </a:extLst>
          </p:cNvPr>
          <p:cNvGrpSpPr/>
          <p:nvPr/>
        </p:nvGrpSpPr>
        <p:grpSpPr>
          <a:xfrm flipH="1">
            <a:off x="480396" y="1488483"/>
            <a:ext cx="11277984" cy="4445300"/>
            <a:chOff x="390278" y="1989064"/>
            <a:chExt cx="10934695" cy="4483464"/>
          </a:xfrm>
        </p:grpSpPr>
        <p:sp>
          <p:nvSpPr>
            <p:cNvPr id="86" name="Freeform 6">
              <a:extLst>
                <a:ext uri="{FF2B5EF4-FFF2-40B4-BE49-F238E27FC236}">
                  <a16:creationId xmlns:a16="http://schemas.microsoft.com/office/drawing/2014/main" id="{648F3B61-9E01-3FED-9478-2DF9456AD92A}"/>
                </a:ext>
              </a:extLst>
            </p:cNvPr>
            <p:cNvSpPr>
              <a:spLocks/>
            </p:cNvSpPr>
            <p:nvPr/>
          </p:nvSpPr>
          <p:spPr bwMode="auto">
            <a:xfrm>
              <a:off x="447804" y="1989064"/>
              <a:ext cx="10725201" cy="4483464"/>
            </a:xfrm>
            <a:custGeom>
              <a:avLst/>
              <a:gdLst>
                <a:gd name="T0" fmla="*/ 1488 w 13838"/>
                <a:gd name="T1" fmla="*/ 2738 h 6349"/>
                <a:gd name="T2" fmla="*/ 1686 w 13838"/>
                <a:gd name="T3" fmla="*/ 2800 h 6349"/>
                <a:gd name="T4" fmla="*/ 1854 w 13838"/>
                <a:gd name="T5" fmla="*/ 2914 h 6349"/>
                <a:gd name="T6" fmla="*/ 1984 w 13838"/>
                <a:gd name="T7" fmla="*/ 3070 h 6349"/>
                <a:gd name="T8" fmla="*/ 2064 w 13838"/>
                <a:gd name="T9" fmla="*/ 3259 h 6349"/>
                <a:gd name="T10" fmla="*/ 2086 w 13838"/>
                <a:gd name="T11" fmla="*/ 5643 h 6349"/>
                <a:gd name="T12" fmla="*/ 2110 w 13838"/>
                <a:gd name="T13" fmla="*/ 5819 h 6349"/>
                <a:gd name="T14" fmla="*/ 2190 w 13838"/>
                <a:gd name="T15" fmla="*/ 6009 h 6349"/>
                <a:gd name="T16" fmla="*/ 2320 w 13838"/>
                <a:gd name="T17" fmla="*/ 6165 h 6349"/>
                <a:gd name="T18" fmla="*/ 2488 w 13838"/>
                <a:gd name="T19" fmla="*/ 6279 h 6349"/>
                <a:gd name="T20" fmla="*/ 2686 w 13838"/>
                <a:gd name="T21" fmla="*/ 6341 h 6349"/>
                <a:gd name="T22" fmla="*/ 3876 w 13838"/>
                <a:gd name="T23" fmla="*/ 6349 h 6349"/>
                <a:gd name="T24" fmla="*/ 4082 w 13838"/>
                <a:gd name="T25" fmla="*/ 6307 h 6349"/>
                <a:gd name="T26" fmla="*/ 4262 w 13838"/>
                <a:gd name="T27" fmla="*/ 6209 h 6349"/>
                <a:gd name="T28" fmla="*/ 4406 w 13838"/>
                <a:gd name="T29" fmla="*/ 6065 h 6349"/>
                <a:gd name="T30" fmla="*/ 4504 w 13838"/>
                <a:gd name="T31" fmla="*/ 5885 h 6349"/>
                <a:gd name="T32" fmla="*/ 4546 w 13838"/>
                <a:gd name="T33" fmla="*/ 5679 h 6349"/>
                <a:gd name="T34" fmla="*/ 4556 w 13838"/>
                <a:gd name="T35" fmla="*/ 1794 h 6349"/>
                <a:gd name="T36" fmla="*/ 4618 w 13838"/>
                <a:gd name="T37" fmla="*/ 1594 h 6349"/>
                <a:gd name="T38" fmla="*/ 4732 w 13838"/>
                <a:gd name="T39" fmla="*/ 1426 h 6349"/>
                <a:gd name="T40" fmla="*/ 4888 w 13838"/>
                <a:gd name="T41" fmla="*/ 1296 h 6349"/>
                <a:gd name="T42" fmla="*/ 5078 w 13838"/>
                <a:gd name="T43" fmla="*/ 1216 h 6349"/>
                <a:gd name="T44" fmla="*/ 6258 w 13838"/>
                <a:gd name="T45" fmla="*/ 1194 h 6349"/>
                <a:gd name="T46" fmla="*/ 6434 w 13838"/>
                <a:gd name="T47" fmla="*/ 1216 h 6349"/>
                <a:gd name="T48" fmla="*/ 6624 w 13838"/>
                <a:gd name="T49" fmla="*/ 1296 h 6349"/>
                <a:gd name="T50" fmla="*/ 6780 w 13838"/>
                <a:gd name="T51" fmla="*/ 1426 h 6349"/>
                <a:gd name="T52" fmla="*/ 6894 w 13838"/>
                <a:gd name="T53" fmla="*/ 1594 h 6349"/>
                <a:gd name="T54" fmla="*/ 6956 w 13838"/>
                <a:gd name="T55" fmla="*/ 1794 h 6349"/>
                <a:gd name="T56" fmla="*/ 6966 w 13838"/>
                <a:gd name="T57" fmla="*/ 4495 h 6349"/>
                <a:gd name="T58" fmla="*/ 7008 w 13838"/>
                <a:gd name="T59" fmla="*/ 4701 h 6349"/>
                <a:gd name="T60" fmla="*/ 7106 w 13838"/>
                <a:gd name="T61" fmla="*/ 4881 h 6349"/>
                <a:gd name="T62" fmla="*/ 7248 w 13838"/>
                <a:gd name="T63" fmla="*/ 5025 h 6349"/>
                <a:gd name="T64" fmla="*/ 7428 w 13838"/>
                <a:gd name="T65" fmla="*/ 5123 h 6349"/>
                <a:gd name="T66" fmla="*/ 7634 w 13838"/>
                <a:gd name="T67" fmla="*/ 5165 h 6349"/>
                <a:gd name="T68" fmla="*/ 8812 w 13838"/>
                <a:gd name="T69" fmla="*/ 5157 h 6349"/>
                <a:gd name="T70" fmla="*/ 9010 w 13838"/>
                <a:gd name="T71" fmla="*/ 5095 h 6349"/>
                <a:gd name="T72" fmla="*/ 9178 w 13838"/>
                <a:gd name="T73" fmla="*/ 4981 h 6349"/>
                <a:gd name="T74" fmla="*/ 9308 w 13838"/>
                <a:gd name="T75" fmla="*/ 4825 h 6349"/>
                <a:gd name="T76" fmla="*/ 9388 w 13838"/>
                <a:gd name="T77" fmla="*/ 4635 h 6349"/>
                <a:gd name="T78" fmla="*/ 9410 w 13838"/>
                <a:gd name="T79" fmla="*/ 706 h 6349"/>
                <a:gd name="T80" fmla="*/ 9434 w 13838"/>
                <a:gd name="T81" fmla="*/ 530 h 6349"/>
                <a:gd name="T82" fmla="*/ 9514 w 13838"/>
                <a:gd name="T83" fmla="*/ 340 h 6349"/>
                <a:gd name="T84" fmla="*/ 9644 w 13838"/>
                <a:gd name="T85" fmla="*/ 184 h 6349"/>
                <a:gd name="T86" fmla="*/ 9812 w 13838"/>
                <a:gd name="T87" fmla="*/ 68 h 6349"/>
                <a:gd name="T88" fmla="*/ 10010 w 13838"/>
                <a:gd name="T89" fmla="*/ 8 h 6349"/>
                <a:gd name="T90" fmla="*/ 11144 w 13838"/>
                <a:gd name="T91" fmla="*/ 0 h 6349"/>
                <a:gd name="T92" fmla="*/ 11350 w 13838"/>
                <a:gd name="T93" fmla="*/ 42 h 6349"/>
                <a:gd name="T94" fmla="*/ 11530 w 13838"/>
                <a:gd name="T95" fmla="*/ 140 h 6349"/>
                <a:gd name="T96" fmla="*/ 11674 w 13838"/>
                <a:gd name="T97" fmla="*/ 284 h 6349"/>
                <a:gd name="T98" fmla="*/ 11772 w 13838"/>
                <a:gd name="T99" fmla="*/ 464 h 6349"/>
                <a:gd name="T100" fmla="*/ 11814 w 13838"/>
                <a:gd name="T101" fmla="*/ 670 h 6349"/>
                <a:gd name="T102" fmla="*/ 11822 w 13838"/>
                <a:gd name="T103" fmla="*/ 2456 h 6349"/>
                <a:gd name="T104" fmla="*/ 11884 w 13838"/>
                <a:gd name="T105" fmla="*/ 2656 h 6349"/>
                <a:gd name="T106" fmla="*/ 11998 w 13838"/>
                <a:gd name="T107" fmla="*/ 2824 h 6349"/>
                <a:gd name="T108" fmla="*/ 12156 w 13838"/>
                <a:gd name="T109" fmla="*/ 2954 h 6349"/>
                <a:gd name="T110" fmla="*/ 12346 w 13838"/>
                <a:gd name="T111" fmla="*/ 3034 h 6349"/>
                <a:gd name="T112" fmla="*/ 13838 w 13838"/>
                <a:gd name="T113" fmla="*/ 3056 h 6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38" h="6349">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a:solidFill>
                <a:srgbClr val="525A7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8191" tIns="39096" rIns="78191" bIns="3909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lv-LV" sz="900"/>
            </a:p>
          </p:txBody>
        </p:sp>
        <p:sp>
          <p:nvSpPr>
            <p:cNvPr id="87" name="Oval 86">
              <a:extLst>
                <a:ext uri="{FF2B5EF4-FFF2-40B4-BE49-F238E27FC236}">
                  <a16:creationId xmlns:a16="http://schemas.microsoft.com/office/drawing/2014/main" id="{42505ED0-AC34-45B6-C247-BB91AC54A687}"/>
                </a:ext>
              </a:extLst>
            </p:cNvPr>
            <p:cNvSpPr/>
            <p:nvPr/>
          </p:nvSpPr>
          <p:spPr bwMode="ltGray">
            <a:xfrm>
              <a:off x="390278" y="3838973"/>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sp>
          <p:nvSpPr>
            <p:cNvPr id="88" name="Oval 87">
              <a:extLst>
                <a:ext uri="{FF2B5EF4-FFF2-40B4-BE49-F238E27FC236}">
                  <a16:creationId xmlns:a16="http://schemas.microsoft.com/office/drawing/2014/main" id="{B91EEFEC-A7F9-6A62-0B87-F926087694FF}"/>
                </a:ext>
              </a:extLst>
            </p:cNvPr>
            <p:cNvSpPr/>
            <p:nvPr/>
          </p:nvSpPr>
          <p:spPr bwMode="ltGray">
            <a:xfrm>
              <a:off x="11173005" y="4071208"/>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sp>
        <p:nvSpPr>
          <p:cNvPr id="51" name="Rectangle 50">
            <a:extLst>
              <a:ext uri="{FF2B5EF4-FFF2-40B4-BE49-F238E27FC236}">
                <a16:creationId xmlns:a16="http://schemas.microsoft.com/office/drawing/2014/main" id="{2F6DC4B8-9940-E974-DFE7-A68FEC09CF64}"/>
              </a:ext>
            </a:extLst>
          </p:cNvPr>
          <p:cNvSpPr>
            <a:spLocks noChangeArrowheads="1"/>
          </p:cNvSpPr>
          <p:nvPr/>
        </p:nvSpPr>
        <p:spPr bwMode="auto">
          <a:xfrm>
            <a:off x="8365017" y="2650352"/>
            <a:ext cx="1598293" cy="301621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rtl="0" eaLnBrk="0" hangingPunct="0">
              <a:defRPr/>
            </a:pPr>
            <a:r>
              <a:rPr lang="en-US" sz="1400" kern="0"/>
              <a:t>The Ministry of the Interior evaluate</a:t>
            </a:r>
            <a:r>
              <a:rPr lang="lv-LV" sz="1400" kern="0"/>
              <a:t>s</a:t>
            </a:r>
            <a:r>
              <a:rPr lang="en-US" sz="1400" kern="0"/>
              <a:t> the fulfilment of the State </a:t>
            </a:r>
            <a:r>
              <a:rPr lang="lv-LV" sz="1400" kern="0"/>
              <a:t>C</a:t>
            </a:r>
            <a:r>
              <a:rPr lang="en-US" sz="1400" kern="0" err="1"/>
              <a:t>ivil</a:t>
            </a:r>
            <a:r>
              <a:rPr lang="en-US" sz="1400" kern="0"/>
              <a:t> </a:t>
            </a:r>
            <a:r>
              <a:rPr lang="lv-LV" sz="1400" kern="0"/>
              <a:t>P</a:t>
            </a:r>
            <a:r>
              <a:rPr lang="en-US" sz="1400" kern="0" err="1"/>
              <a:t>rotection</a:t>
            </a:r>
            <a:r>
              <a:rPr lang="en-US" sz="1400" kern="0"/>
              <a:t> </a:t>
            </a:r>
            <a:r>
              <a:rPr lang="lv-LV" sz="1400" kern="0"/>
              <a:t>P</a:t>
            </a:r>
            <a:r>
              <a:rPr lang="en-US" sz="1400" kern="0" err="1"/>
              <a:t>lan</a:t>
            </a:r>
            <a:r>
              <a:rPr lang="en-US" sz="1400" kern="0"/>
              <a:t>, submit</a:t>
            </a:r>
            <a:r>
              <a:rPr lang="lv-LV" sz="1400" kern="0"/>
              <a:t>s</a:t>
            </a:r>
            <a:r>
              <a:rPr lang="en-US" sz="1400" kern="0"/>
              <a:t> the respective informative report to the Cabinet and, if necessary, draft amendments to the State </a:t>
            </a:r>
            <a:r>
              <a:rPr lang="lv-LV" sz="1400" kern="0"/>
              <a:t>C</a:t>
            </a:r>
            <a:r>
              <a:rPr lang="en-US" sz="1400" kern="0" err="1"/>
              <a:t>ivil</a:t>
            </a:r>
            <a:r>
              <a:rPr lang="en-US" sz="1400" kern="0"/>
              <a:t> </a:t>
            </a:r>
            <a:r>
              <a:rPr lang="lv-LV" sz="1400" kern="0"/>
              <a:t>P</a:t>
            </a:r>
            <a:r>
              <a:rPr lang="en-US" sz="1400" kern="0" err="1"/>
              <a:t>rotection</a:t>
            </a:r>
            <a:r>
              <a:rPr lang="en-US" sz="1400" kern="0"/>
              <a:t> </a:t>
            </a:r>
            <a:r>
              <a:rPr lang="lv-LV" sz="1400" kern="0"/>
              <a:t>P</a:t>
            </a:r>
            <a:r>
              <a:rPr lang="en-US" sz="1400" kern="0" err="1"/>
              <a:t>lan</a:t>
            </a:r>
            <a:r>
              <a:rPr lang="lv-LV" sz="1400" kern="0"/>
              <a:t> </a:t>
            </a:r>
            <a:r>
              <a:rPr lang="lv-LV" sz="1400" b="1" err="1">
                <a:solidFill>
                  <a:srgbClr val="A8192D"/>
                </a:solidFill>
              </a:rPr>
              <a:t>until</a:t>
            </a:r>
            <a:r>
              <a:rPr lang="lv-LV" sz="1400" b="1">
                <a:solidFill>
                  <a:srgbClr val="A8192D"/>
                </a:solidFill>
              </a:rPr>
              <a:t> </a:t>
            </a:r>
            <a:r>
              <a:rPr lang="en-gb" sz="1400" b="1" kern="0">
                <a:solidFill>
                  <a:srgbClr val="A8192D"/>
                </a:solidFill>
              </a:rPr>
              <a:t>1</a:t>
            </a:r>
            <a:r>
              <a:rPr lang="lv-LV" sz="1400" b="1" kern="0" err="1">
                <a:solidFill>
                  <a:srgbClr val="A8192D"/>
                </a:solidFill>
              </a:rPr>
              <a:t>st</a:t>
            </a:r>
            <a:r>
              <a:rPr lang="lv-LV" sz="1400" b="1" kern="0">
                <a:solidFill>
                  <a:srgbClr val="A8192D"/>
                </a:solidFill>
              </a:rPr>
              <a:t> </a:t>
            </a:r>
            <a:r>
              <a:rPr lang="en-gb" sz="1400" b="1">
                <a:solidFill>
                  <a:srgbClr val="A8192D"/>
                </a:solidFill>
              </a:rPr>
              <a:t>May</a:t>
            </a:r>
            <a:endParaRPr lang="lv-LV" sz="1400" b="1" kern="0">
              <a:solidFill>
                <a:srgbClr val="A8192D"/>
              </a:solidFill>
            </a:endParaRPr>
          </a:p>
        </p:txBody>
      </p:sp>
      <p:sp>
        <p:nvSpPr>
          <p:cNvPr id="52" name="Rectangle 51">
            <a:extLst>
              <a:ext uri="{FF2B5EF4-FFF2-40B4-BE49-F238E27FC236}">
                <a16:creationId xmlns:a16="http://schemas.microsoft.com/office/drawing/2014/main" id="{754EAF21-8364-40B5-103F-C971798338FA}"/>
              </a:ext>
            </a:extLst>
          </p:cNvPr>
          <p:cNvSpPr>
            <a:spLocks noChangeArrowheads="1"/>
          </p:cNvSpPr>
          <p:nvPr/>
        </p:nvSpPr>
        <p:spPr bwMode="auto">
          <a:xfrm>
            <a:off x="6360890" y="2995723"/>
            <a:ext cx="1673977" cy="1656515"/>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rtl="0" eaLnBrk="0" hangingPunct="0">
              <a:defRPr/>
            </a:pPr>
            <a:r>
              <a:rPr lang="en-gb" sz="1400" kern="0"/>
              <a:t>Disaster management </a:t>
            </a:r>
            <a:r>
              <a:rPr lang="lv-LV" sz="1400" kern="0" err="1"/>
              <a:t>subjects</a:t>
            </a:r>
            <a:r>
              <a:rPr lang="lv-LV" sz="1400" kern="0"/>
              <a:t> </a:t>
            </a:r>
            <a:r>
              <a:rPr lang="lv-LV" sz="1400" kern="0" err="1"/>
              <a:t>submit</a:t>
            </a:r>
            <a:r>
              <a:rPr lang="en-gb" sz="1400" kern="0"/>
              <a:t> </a:t>
            </a:r>
            <a:r>
              <a:rPr lang="en-US" sz="1400" kern="0"/>
              <a:t>proposals regarding the amendments necessary to the State </a:t>
            </a:r>
            <a:r>
              <a:rPr lang="lv-LV" sz="1400" kern="0"/>
              <a:t>C</a:t>
            </a:r>
            <a:r>
              <a:rPr lang="en-US" sz="1400" kern="0" err="1"/>
              <a:t>ivil</a:t>
            </a:r>
            <a:r>
              <a:rPr lang="en-US" sz="1400" kern="0"/>
              <a:t> </a:t>
            </a:r>
            <a:r>
              <a:rPr lang="lv-LV" sz="1400" kern="0"/>
              <a:t>P</a:t>
            </a:r>
            <a:r>
              <a:rPr lang="en-US" sz="1400" kern="0" err="1"/>
              <a:t>rotection</a:t>
            </a:r>
            <a:r>
              <a:rPr lang="en-US" sz="1400" kern="0"/>
              <a:t> </a:t>
            </a:r>
            <a:r>
              <a:rPr lang="lv-LV" sz="1400" kern="0"/>
              <a:t>P</a:t>
            </a:r>
            <a:r>
              <a:rPr lang="en-US" sz="1400" kern="0" err="1"/>
              <a:t>lan</a:t>
            </a:r>
            <a:r>
              <a:rPr lang="en-US" sz="1400" kern="0"/>
              <a:t> to the Ministry of the Interior</a:t>
            </a:r>
            <a:r>
              <a:rPr lang="lv-LV" sz="1400" kern="0"/>
              <a:t> </a:t>
            </a:r>
            <a:r>
              <a:rPr lang="en-gb" sz="1400" b="1" kern="0">
                <a:solidFill>
                  <a:srgbClr val="A8192D"/>
                </a:solidFill>
              </a:rPr>
              <a:t>until </a:t>
            </a:r>
            <a:r>
              <a:rPr lang="en-gb" sz="1400" b="1">
                <a:solidFill>
                  <a:srgbClr val="A8192D"/>
                </a:solidFill>
              </a:rPr>
              <a:t>20</a:t>
            </a:r>
            <a:r>
              <a:rPr lang="lv-LV" sz="1400" b="1" err="1">
                <a:solidFill>
                  <a:srgbClr val="A8192D"/>
                </a:solidFill>
              </a:rPr>
              <a:t>th</a:t>
            </a:r>
            <a:r>
              <a:rPr lang="en-gb" sz="1400" b="1">
                <a:solidFill>
                  <a:srgbClr val="A8192D"/>
                </a:solidFill>
              </a:rPr>
              <a:t> January</a:t>
            </a:r>
            <a:endParaRPr lang="lv-LV" sz="1400" b="1" kern="0">
              <a:solidFill>
                <a:srgbClr val="A8192D"/>
              </a:solidFill>
              <a:cs typeface="Arial" charset="0"/>
            </a:endParaRPr>
          </a:p>
        </p:txBody>
      </p:sp>
      <p:sp>
        <p:nvSpPr>
          <p:cNvPr id="53" name="Rectangle 52">
            <a:extLst>
              <a:ext uri="{FF2B5EF4-FFF2-40B4-BE49-F238E27FC236}">
                <a16:creationId xmlns:a16="http://schemas.microsoft.com/office/drawing/2014/main" id="{6E6AD103-92DC-77F5-2DD7-C9640CA704CA}"/>
              </a:ext>
            </a:extLst>
          </p:cNvPr>
          <p:cNvSpPr>
            <a:spLocks noChangeArrowheads="1"/>
          </p:cNvSpPr>
          <p:nvPr/>
        </p:nvSpPr>
        <p:spPr bwMode="auto">
          <a:xfrm>
            <a:off x="2457238" y="2560032"/>
            <a:ext cx="1510454" cy="86177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rtl="0" eaLnBrk="0" hangingPunct="0">
              <a:defRPr/>
            </a:pPr>
            <a:r>
              <a:rPr lang="en-GB" sz="1400" kern="0">
                <a:cs typeface="Arial" charset="0"/>
              </a:rPr>
              <a:t>State Civil Protection Plan</a:t>
            </a:r>
            <a:r>
              <a:rPr lang="lv-LV" sz="1400" kern="0">
                <a:cs typeface="Arial" charset="0"/>
              </a:rPr>
              <a:t> </a:t>
            </a:r>
            <a:r>
              <a:rPr lang="lv-LV" sz="1400" kern="0" err="1">
                <a:cs typeface="Arial" charset="0"/>
              </a:rPr>
              <a:t>is</a:t>
            </a:r>
            <a:r>
              <a:rPr lang="lv-LV" sz="1400" kern="0">
                <a:cs typeface="Arial" charset="0"/>
              </a:rPr>
              <a:t> </a:t>
            </a:r>
            <a:r>
              <a:rPr lang="en-gb" sz="1400" kern="0">
                <a:cs typeface="Arial" charset="0"/>
              </a:rPr>
              <a:t>approved by the Cabinet</a:t>
            </a:r>
          </a:p>
        </p:txBody>
      </p:sp>
      <p:sp>
        <p:nvSpPr>
          <p:cNvPr id="54" name="Rectangle 53">
            <a:extLst>
              <a:ext uri="{FF2B5EF4-FFF2-40B4-BE49-F238E27FC236}">
                <a16:creationId xmlns:a16="http://schemas.microsoft.com/office/drawing/2014/main" id="{4CD0B799-859D-8D06-4ACC-37DFFC5D70E2}"/>
              </a:ext>
            </a:extLst>
          </p:cNvPr>
          <p:cNvSpPr>
            <a:spLocks noChangeArrowheads="1"/>
          </p:cNvSpPr>
          <p:nvPr/>
        </p:nvSpPr>
        <p:spPr bwMode="auto">
          <a:xfrm>
            <a:off x="558765" y="1346367"/>
            <a:ext cx="1539495" cy="1471085"/>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rtl="0" eaLnBrk="0" hangingPunct="0">
              <a:defRPr/>
            </a:pPr>
            <a:r>
              <a:rPr lang="en-gb" sz="1400" kern="0">
                <a:solidFill>
                  <a:schemeClr val="tx1"/>
                </a:solidFill>
              </a:rPr>
              <a:t>Subordinate authority</a:t>
            </a:r>
          </a:p>
          <a:p>
            <a:pPr defTabSz="682749" rtl="0" eaLnBrk="0" hangingPunct="0">
              <a:defRPr/>
            </a:pPr>
            <a:r>
              <a:rPr lang="en-gb" sz="1400" kern="0">
                <a:solidFill>
                  <a:schemeClr val="tx1"/>
                </a:solidFill>
              </a:rPr>
              <a:t>of the Ministry of the Interior</a:t>
            </a:r>
            <a:r>
              <a:rPr lang="lv-LV" sz="1400" kern="0">
                <a:solidFill>
                  <a:schemeClr val="tx1"/>
                </a:solidFill>
              </a:rPr>
              <a:t> –</a:t>
            </a:r>
            <a:endParaRPr lang="en-gb" sz="1400" kern="0">
              <a:solidFill>
                <a:schemeClr val="tx1"/>
              </a:solidFill>
            </a:endParaRPr>
          </a:p>
          <a:p>
            <a:pPr defTabSz="682749" rtl="0" eaLnBrk="0" hangingPunct="0">
              <a:defRPr/>
            </a:pPr>
            <a:r>
              <a:rPr lang="en-gb" sz="1400" kern="0">
                <a:solidFill>
                  <a:schemeClr val="tx1"/>
                </a:solidFill>
              </a:rPr>
              <a:t>The SFRS</a:t>
            </a:r>
            <a:r>
              <a:rPr lang="lv-LV" sz="1400" kern="0">
                <a:solidFill>
                  <a:schemeClr val="tx1"/>
                </a:solidFill>
              </a:rPr>
              <a:t> –</a:t>
            </a:r>
            <a:r>
              <a:rPr lang="en-US" sz="1400" kern="0">
                <a:solidFill>
                  <a:schemeClr val="tx1"/>
                </a:solidFill>
              </a:rPr>
              <a:t>develop</a:t>
            </a:r>
            <a:r>
              <a:rPr lang="lv-LV" sz="1400" kern="0">
                <a:solidFill>
                  <a:schemeClr val="tx1"/>
                </a:solidFill>
              </a:rPr>
              <a:t>s</a:t>
            </a:r>
            <a:r>
              <a:rPr lang="en-US" sz="1400" kern="0">
                <a:solidFill>
                  <a:schemeClr val="tx1"/>
                </a:solidFill>
              </a:rPr>
              <a:t> the State </a:t>
            </a:r>
            <a:r>
              <a:rPr lang="lv-LV" sz="1400" kern="0">
                <a:solidFill>
                  <a:schemeClr val="tx1"/>
                </a:solidFill>
              </a:rPr>
              <a:t>C</a:t>
            </a:r>
            <a:r>
              <a:rPr lang="en-US" sz="1400" kern="0" err="1">
                <a:solidFill>
                  <a:schemeClr val="tx1"/>
                </a:solidFill>
              </a:rPr>
              <a:t>ivil</a:t>
            </a:r>
            <a:r>
              <a:rPr lang="en-US" sz="1400" kern="0">
                <a:solidFill>
                  <a:schemeClr val="tx1"/>
                </a:solidFill>
              </a:rPr>
              <a:t> </a:t>
            </a:r>
            <a:r>
              <a:rPr lang="lv-LV" sz="1400" kern="0">
                <a:solidFill>
                  <a:schemeClr val="tx1"/>
                </a:solidFill>
              </a:rPr>
              <a:t>P</a:t>
            </a:r>
            <a:r>
              <a:rPr lang="en-US" sz="1400" kern="0" err="1">
                <a:solidFill>
                  <a:schemeClr val="tx1"/>
                </a:solidFill>
              </a:rPr>
              <a:t>rotection</a:t>
            </a:r>
            <a:r>
              <a:rPr lang="en-US" sz="1400" kern="0">
                <a:solidFill>
                  <a:schemeClr val="tx1"/>
                </a:solidFill>
              </a:rPr>
              <a:t> </a:t>
            </a:r>
            <a:r>
              <a:rPr lang="lv-LV" sz="1400" kern="0">
                <a:solidFill>
                  <a:schemeClr val="tx1"/>
                </a:solidFill>
              </a:rPr>
              <a:t>P</a:t>
            </a:r>
            <a:r>
              <a:rPr lang="en-US" sz="1400" kern="0" err="1">
                <a:solidFill>
                  <a:schemeClr val="tx1"/>
                </a:solidFill>
              </a:rPr>
              <a:t>lan</a:t>
            </a:r>
            <a:r>
              <a:rPr lang="en-US" sz="1400" kern="0">
                <a:solidFill>
                  <a:schemeClr val="tx1"/>
                </a:solidFill>
              </a:rPr>
              <a:t> in co-operation with other authorities</a:t>
            </a:r>
            <a:endParaRPr lang="en-gb" sz="1400" kern="0">
              <a:solidFill>
                <a:schemeClr val="tx1"/>
              </a:solidFill>
            </a:endParaRPr>
          </a:p>
        </p:txBody>
      </p:sp>
      <p:grpSp>
        <p:nvGrpSpPr>
          <p:cNvPr id="55" name="Group 54">
            <a:extLst>
              <a:ext uri="{FF2B5EF4-FFF2-40B4-BE49-F238E27FC236}">
                <a16:creationId xmlns:a16="http://schemas.microsoft.com/office/drawing/2014/main" id="{5A08E9D9-732E-C3C0-E6FC-71325A279E1C}"/>
              </a:ext>
            </a:extLst>
          </p:cNvPr>
          <p:cNvGrpSpPr/>
          <p:nvPr/>
        </p:nvGrpSpPr>
        <p:grpSpPr>
          <a:xfrm rot="16200000" flipH="1">
            <a:off x="6150015" y="2963702"/>
            <a:ext cx="108000" cy="249855"/>
            <a:chOff x="1056677" y="3860957"/>
            <a:chExt cx="108000" cy="252000"/>
          </a:xfrm>
        </p:grpSpPr>
        <p:cxnSp>
          <p:nvCxnSpPr>
            <p:cNvPr id="84" name="Straight Connector 83">
              <a:extLst>
                <a:ext uri="{FF2B5EF4-FFF2-40B4-BE49-F238E27FC236}">
                  <a16:creationId xmlns:a16="http://schemas.microsoft.com/office/drawing/2014/main" id="{EAFBB775-E192-4493-6DD2-71A33AE19A62}"/>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C56A56B5-3B29-08D0-76E3-EAA99ED17DDB}"/>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grpSp>
        <p:nvGrpSpPr>
          <p:cNvPr id="56" name="Group 55">
            <a:extLst>
              <a:ext uri="{FF2B5EF4-FFF2-40B4-BE49-F238E27FC236}">
                <a16:creationId xmlns:a16="http://schemas.microsoft.com/office/drawing/2014/main" id="{AA7B7E6B-8319-0E2B-CC1C-1DB84B6C9107}"/>
              </a:ext>
            </a:extLst>
          </p:cNvPr>
          <p:cNvGrpSpPr/>
          <p:nvPr/>
        </p:nvGrpSpPr>
        <p:grpSpPr>
          <a:xfrm rot="5400000" flipH="1">
            <a:off x="2150820" y="1707754"/>
            <a:ext cx="108000" cy="249855"/>
            <a:chOff x="1056677" y="3860957"/>
            <a:chExt cx="108000" cy="252000"/>
          </a:xfrm>
        </p:grpSpPr>
        <p:cxnSp>
          <p:nvCxnSpPr>
            <p:cNvPr id="82" name="Straight Connector 81">
              <a:extLst>
                <a:ext uri="{FF2B5EF4-FFF2-40B4-BE49-F238E27FC236}">
                  <a16:creationId xmlns:a16="http://schemas.microsoft.com/office/drawing/2014/main" id="{6A8DF144-E4C6-4901-AF51-E70962D2E0EF}"/>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98B0DEF-9C4C-D9EB-9ABE-77BB1C18543C}"/>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grpSp>
        <p:nvGrpSpPr>
          <p:cNvPr id="57" name="Group 56">
            <a:extLst>
              <a:ext uri="{FF2B5EF4-FFF2-40B4-BE49-F238E27FC236}">
                <a16:creationId xmlns:a16="http://schemas.microsoft.com/office/drawing/2014/main" id="{BA1ACCB5-893B-3A37-D18B-1A8EB31DFE03}"/>
              </a:ext>
            </a:extLst>
          </p:cNvPr>
          <p:cNvGrpSpPr/>
          <p:nvPr/>
        </p:nvGrpSpPr>
        <p:grpSpPr>
          <a:xfrm rot="16200000" flipH="1">
            <a:off x="8130085" y="2570492"/>
            <a:ext cx="108000" cy="349686"/>
            <a:chOff x="1056677" y="3860957"/>
            <a:chExt cx="108000" cy="352688"/>
          </a:xfrm>
        </p:grpSpPr>
        <p:cxnSp>
          <p:nvCxnSpPr>
            <p:cNvPr id="80" name="Straight Connector 79">
              <a:extLst>
                <a:ext uri="{FF2B5EF4-FFF2-40B4-BE49-F238E27FC236}">
                  <a16:creationId xmlns:a16="http://schemas.microsoft.com/office/drawing/2014/main" id="{C6EB53F4-DA12-4D3A-CEB6-63A8A0497EF2}"/>
                </a:ext>
              </a:extLst>
            </p:cNvPr>
            <p:cNvCxnSpPr/>
            <p:nvPr/>
          </p:nvCxnSpPr>
          <p:spPr>
            <a:xfrm flipV="1">
              <a:off x="1110678" y="3968957"/>
              <a:ext cx="0" cy="244688"/>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9DDD3AB8-FD12-B219-052F-DDA5F0DD77D3}"/>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grpSp>
        <p:nvGrpSpPr>
          <p:cNvPr id="58" name="Group 57">
            <a:extLst>
              <a:ext uri="{FF2B5EF4-FFF2-40B4-BE49-F238E27FC236}">
                <a16:creationId xmlns:a16="http://schemas.microsoft.com/office/drawing/2014/main" id="{6EC27B63-BDDA-61E7-C413-9296D3BA9668}"/>
              </a:ext>
            </a:extLst>
          </p:cNvPr>
          <p:cNvGrpSpPr/>
          <p:nvPr/>
        </p:nvGrpSpPr>
        <p:grpSpPr>
          <a:xfrm rot="5400000" flipH="1">
            <a:off x="4053172" y="2636573"/>
            <a:ext cx="108000" cy="249855"/>
            <a:chOff x="1056677" y="3860957"/>
            <a:chExt cx="108000" cy="252000"/>
          </a:xfrm>
        </p:grpSpPr>
        <p:cxnSp>
          <p:nvCxnSpPr>
            <p:cNvPr id="78" name="Straight Connector 77">
              <a:extLst>
                <a:ext uri="{FF2B5EF4-FFF2-40B4-BE49-F238E27FC236}">
                  <a16:creationId xmlns:a16="http://schemas.microsoft.com/office/drawing/2014/main" id="{8C1E9DCB-DC1F-5B4F-C68B-DC05F7ACA2E9}"/>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937035FB-F9C7-E609-9E8C-BB770159949E}"/>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sp>
        <p:nvSpPr>
          <p:cNvPr id="59" name="Google Shape;1117;p86">
            <a:extLst>
              <a:ext uri="{FF2B5EF4-FFF2-40B4-BE49-F238E27FC236}">
                <a16:creationId xmlns:a16="http://schemas.microsoft.com/office/drawing/2014/main" id="{CE37DEFD-F7E1-1D17-896D-4B833690D0B7}"/>
              </a:ext>
            </a:extLst>
          </p:cNvPr>
          <p:cNvSpPr/>
          <p:nvPr/>
        </p:nvSpPr>
        <p:spPr>
          <a:xfrm>
            <a:off x="2942464" y="1748797"/>
            <a:ext cx="540000" cy="540000"/>
          </a:xfrm>
          <a:custGeom>
            <a:avLst/>
            <a:gdLst/>
            <a:ahLst/>
            <a:cxnLst/>
            <a:rect l="l" t="t" r="r" b="b"/>
            <a:pathLst>
              <a:path w="456085" h="455929" extrusionOk="0">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A8192D"/>
          </a:solidFill>
          <a:ln>
            <a:noFill/>
          </a:ln>
        </p:spPr>
        <p:txBody>
          <a:bodyPr spcFirstLastPara="1" wrap="square" lIns="91425" tIns="45700" rIns="91425" bIns="457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60" name="Google Shape;1243;p88">
            <a:extLst>
              <a:ext uri="{FF2B5EF4-FFF2-40B4-BE49-F238E27FC236}">
                <a16:creationId xmlns:a16="http://schemas.microsoft.com/office/drawing/2014/main" id="{F3A9469B-C6D4-CEE4-8E04-A57D05ED614E}"/>
              </a:ext>
            </a:extLst>
          </p:cNvPr>
          <p:cNvSpPr/>
          <p:nvPr/>
        </p:nvSpPr>
        <p:spPr>
          <a:xfrm>
            <a:off x="4976910" y="5369517"/>
            <a:ext cx="540000" cy="540000"/>
          </a:xfrm>
          <a:custGeom>
            <a:avLst/>
            <a:gdLst/>
            <a:ahLst/>
            <a:cxnLst/>
            <a:rect l="l" t="t" r="r" b="b"/>
            <a:pathLst>
              <a:path w="704" h="706" extrusionOk="0">
                <a:moveTo>
                  <a:pt x="0" y="0"/>
                </a:moveTo>
                <a:lnTo>
                  <a:pt x="0" y="706"/>
                </a:lnTo>
                <a:lnTo>
                  <a:pt x="704" y="706"/>
                </a:lnTo>
                <a:lnTo>
                  <a:pt x="704" y="0"/>
                </a:lnTo>
                <a:lnTo>
                  <a:pt x="0" y="0"/>
                </a:lnTo>
                <a:close/>
                <a:moveTo>
                  <a:pt x="673" y="675"/>
                </a:moveTo>
                <a:lnTo>
                  <a:pt x="31" y="675"/>
                </a:lnTo>
                <a:lnTo>
                  <a:pt x="31" y="31"/>
                </a:lnTo>
                <a:lnTo>
                  <a:pt x="673" y="31"/>
                </a:lnTo>
                <a:lnTo>
                  <a:pt x="673" y="675"/>
                </a:lnTo>
                <a:close/>
                <a:moveTo>
                  <a:pt x="617" y="93"/>
                </a:moveTo>
                <a:lnTo>
                  <a:pt x="87" y="93"/>
                </a:lnTo>
                <a:lnTo>
                  <a:pt x="87" y="309"/>
                </a:lnTo>
                <a:lnTo>
                  <a:pt x="617" y="309"/>
                </a:lnTo>
                <a:lnTo>
                  <a:pt x="617" y="93"/>
                </a:lnTo>
                <a:close/>
                <a:moveTo>
                  <a:pt x="587" y="278"/>
                </a:moveTo>
                <a:lnTo>
                  <a:pt x="117" y="278"/>
                </a:lnTo>
                <a:lnTo>
                  <a:pt x="117" y="124"/>
                </a:lnTo>
                <a:lnTo>
                  <a:pt x="587" y="124"/>
                </a:lnTo>
                <a:lnTo>
                  <a:pt x="587" y="278"/>
                </a:lnTo>
                <a:close/>
                <a:moveTo>
                  <a:pt x="191" y="357"/>
                </a:moveTo>
                <a:lnTo>
                  <a:pt x="87" y="357"/>
                </a:lnTo>
                <a:lnTo>
                  <a:pt x="87" y="461"/>
                </a:lnTo>
                <a:lnTo>
                  <a:pt x="191" y="461"/>
                </a:lnTo>
                <a:lnTo>
                  <a:pt x="191" y="357"/>
                </a:lnTo>
                <a:close/>
                <a:moveTo>
                  <a:pt x="160" y="430"/>
                </a:moveTo>
                <a:lnTo>
                  <a:pt x="117" y="430"/>
                </a:lnTo>
                <a:lnTo>
                  <a:pt x="117" y="387"/>
                </a:lnTo>
                <a:lnTo>
                  <a:pt x="160" y="387"/>
                </a:lnTo>
                <a:lnTo>
                  <a:pt x="160" y="430"/>
                </a:lnTo>
                <a:close/>
                <a:moveTo>
                  <a:pt x="230" y="461"/>
                </a:moveTo>
                <a:lnTo>
                  <a:pt x="332" y="461"/>
                </a:lnTo>
                <a:lnTo>
                  <a:pt x="332" y="357"/>
                </a:lnTo>
                <a:lnTo>
                  <a:pt x="230" y="357"/>
                </a:lnTo>
                <a:lnTo>
                  <a:pt x="230" y="461"/>
                </a:lnTo>
                <a:close/>
                <a:moveTo>
                  <a:pt x="259" y="387"/>
                </a:moveTo>
                <a:lnTo>
                  <a:pt x="302" y="387"/>
                </a:lnTo>
                <a:lnTo>
                  <a:pt x="302" y="430"/>
                </a:lnTo>
                <a:lnTo>
                  <a:pt x="259" y="430"/>
                </a:lnTo>
                <a:lnTo>
                  <a:pt x="259" y="387"/>
                </a:lnTo>
                <a:close/>
                <a:moveTo>
                  <a:pt x="372" y="461"/>
                </a:moveTo>
                <a:lnTo>
                  <a:pt x="474" y="461"/>
                </a:lnTo>
                <a:lnTo>
                  <a:pt x="474" y="357"/>
                </a:lnTo>
                <a:lnTo>
                  <a:pt x="372" y="357"/>
                </a:lnTo>
                <a:lnTo>
                  <a:pt x="372" y="461"/>
                </a:lnTo>
                <a:close/>
                <a:moveTo>
                  <a:pt x="402" y="387"/>
                </a:moveTo>
                <a:lnTo>
                  <a:pt x="445" y="387"/>
                </a:lnTo>
                <a:lnTo>
                  <a:pt x="445" y="430"/>
                </a:lnTo>
                <a:lnTo>
                  <a:pt x="402" y="430"/>
                </a:lnTo>
                <a:lnTo>
                  <a:pt x="402" y="387"/>
                </a:lnTo>
                <a:close/>
                <a:moveTo>
                  <a:pt x="513" y="461"/>
                </a:moveTo>
                <a:lnTo>
                  <a:pt x="617" y="461"/>
                </a:lnTo>
                <a:lnTo>
                  <a:pt x="617" y="357"/>
                </a:lnTo>
                <a:lnTo>
                  <a:pt x="513" y="357"/>
                </a:lnTo>
                <a:lnTo>
                  <a:pt x="513" y="461"/>
                </a:lnTo>
                <a:close/>
                <a:moveTo>
                  <a:pt x="544" y="387"/>
                </a:moveTo>
                <a:lnTo>
                  <a:pt x="587" y="387"/>
                </a:lnTo>
                <a:lnTo>
                  <a:pt x="587" y="430"/>
                </a:lnTo>
                <a:lnTo>
                  <a:pt x="544" y="430"/>
                </a:lnTo>
                <a:lnTo>
                  <a:pt x="544" y="387"/>
                </a:lnTo>
                <a:close/>
                <a:moveTo>
                  <a:pt x="191" y="509"/>
                </a:moveTo>
                <a:lnTo>
                  <a:pt x="87" y="509"/>
                </a:lnTo>
                <a:lnTo>
                  <a:pt x="87" y="613"/>
                </a:lnTo>
                <a:lnTo>
                  <a:pt x="191" y="613"/>
                </a:lnTo>
                <a:lnTo>
                  <a:pt x="191" y="509"/>
                </a:lnTo>
                <a:close/>
                <a:moveTo>
                  <a:pt x="160" y="582"/>
                </a:moveTo>
                <a:lnTo>
                  <a:pt x="117" y="582"/>
                </a:lnTo>
                <a:lnTo>
                  <a:pt x="117" y="539"/>
                </a:lnTo>
                <a:lnTo>
                  <a:pt x="160" y="539"/>
                </a:lnTo>
                <a:lnTo>
                  <a:pt x="160" y="582"/>
                </a:lnTo>
                <a:close/>
                <a:moveTo>
                  <a:pt x="230" y="613"/>
                </a:moveTo>
                <a:lnTo>
                  <a:pt x="332" y="613"/>
                </a:lnTo>
                <a:lnTo>
                  <a:pt x="332" y="509"/>
                </a:lnTo>
                <a:lnTo>
                  <a:pt x="230" y="509"/>
                </a:lnTo>
                <a:lnTo>
                  <a:pt x="230" y="613"/>
                </a:lnTo>
                <a:close/>
                <a:moveTo>
                  <a:pt x="259" y="539"/>
                </a:moveTo>
                <a:lnTo>
                  <a:pt x="302" y="539"/>
                </a:lnTo>
                <a:lnTo>
                  <a:pt x="302" y="582"/>
                </a:lnTo>
                <a:lnTo>
                  <a:pt x="259" y="582"/>
                </a:lnTo>
                <a:lnTo>
                  <a:pt x="259" y="539"/>
                </a:lnTo>
                <a:close/>
                <a:moveTo>
                  <a:pt x="372" y="613"/>
                </a:moveTo>
                <a:lnTo>
                  <a:pt x="474" y="613"/>
                </a:lnTo>
                <a:lnTo>
                  <a:pt x="474" y="509"/>
                </a:lnTo>
                <a:lnTo>
                  <a:pt x="372" y="509"/>
                </a:lnTo>
                <a:lnTo>
                  <a:pt x="372" y="613"/>
                </a:lnTo>
                <a:close/>
                <a:moveTo>
                  <a:pt x="402" y="539"/>
                </a:moveTo>
                <a:lnTo>
                  <a:pt x="445" y="539"/>
                </a:lnTo>
                <a:lnTo>
                  <a:pt x="445" y="582"/>
                </a:lnTo>
                <a:lnTo>
                  <a:pt x="402" y="582"/>
                </a:lnTo>
                <a:lnTo>
                  <a:pt x="402" y="539"/>
                </a:lnTo>
                <a:close/>
                <a:moveTo>
                  <a:pt x="513" y="613"/>
                </a:moveTo>
                <a:lnTo>
                  <a:pt x="617" y="613"/>
                </a:lnTo>
                <a:lnTo>
                  <a:pt x="617" y="509"/>
                </a:lnTo>
                <a:lnTo>
                  <a:pt x="513" y="509"/>
                </a:lnTo>
                <a:lnTo>
                  <a:pt x="513" y="613"/>
                </a:lnTo>
                <a:close/>
                <a:moveTo>
                  <a:pt x="544" y="539"/>
                </a:moveTo>
                <a:lnTo>
                  <a:pt x="587" y="539"/>
                </a:lnTo>
                <a:lnTo>
                  <a:pt x="587" y="582"/>
                </a:lnTo>
                <a:lnTo>
                  <a:pt x="544" y="582"/>
                </a:lnTo>
                <a:lnTo>
                  <a:pt x="544" y="539"/>
                </a:lnTo>
                <a:close/>
              </a:path>
            </a:pathLst>
          </a:custGeom>
          <a:solidFill>
            <a:srgbClr val="A8192D"/>
          </a:solidFill>
          <a:ln>
            <a:noFill/>
          </a:ln>
        </p:spPr>
        <p:txBody>
          <a:bodyPr spcFirstLastPara="1" wrap="square" lIns="91425" tIns="45700" rIns="91425" bIns="457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61" name="Google Shape;1922;p95">
            <a:extLst>
              <a:ext uri="{FF2B5EF4-FFF2-40B4-BE49-F238E27FC236}">
                <a16:creationId xmlns:a16="http://schemas.microsoft.com/office/drawing/2014/main" id="{9BADE996-6B0E-D4E1-5041-CC505899D892}"/>
              </a:ext>
            </a:extLst>
          </p:cNvPr>
          <p:cNvSpPr/>
          <p:nvPr/>
        </p:nvSpPr>
        <p:spPr>
          <a:xfrm>
            <a:off x="1059325" y="3895616"/>
            <a:ext cx="540000" cy="540000"/>
          </a:xfrm>
          <a:custGeom>
            <a:avLst/>
            <a:gdLst/>
            <a:ahLst/>
            <a:cxnLst/>
            <a:rect l="l" t="t" r="r" b="b"/>
            <a:pathLst>
              <a:path w="576" h="576" extrusionOk="0">
                <a:moveTo>
                  <a:pt x="127" y="486"/>
                </a:moveTo>
                <a:cubicBezTo>
                  <a:pt x="145" y="486"/>
                  <a:pt x="159" y="501"/>
                  <a:pt x="159" y="519"/>
                </a:cubicBezTo>
                <a:cubicBezTo>
                  <a:pt x="159" y="537"/>
                  <a:pt x="145" y="552"/>
                  <a:pt x="127" y="552"/>
                </a:cubicBezTo>
                <a:cubicBezTo>
                  <a:pt x="108" y="552"/>
                  <a:pt x="94" y="537"/>
                  <a:pt x="94" y="519"/>
                </a:cubicBezTo>
                <a:cubicBezTo>
                  <a:pt x="94" y="501"/>
                  <a:pt x="108" y="486"/>
                  <a:pt x="127" y="486"/>
                </a:cubicBezTo>
                <a:moveTo>
                  <a:pt x="127" y="461"/>
                </a:moveTo>
                <a:cubicBezTo>
                  <a:pt x="95" y="461"/>
                  <a:pt x="69" y="487"/>
                  <a:pt x="69" y="519"/>
                </a:cubicBezTo>
                <a:cubicBezTo>
                  <a:pt x="69" y="551"/>
                  <a:pt x="95" y="576"/>
                  <a:pt x="127" y="576"/>
                </a:cubicBezTo>
                <a:cubicBezTo>
                  <a:pt x="158" y="576"/>
                  <a:pt x="184" y="551"/>
                  <a:pt x="184" y="519"/>
                </a:cubicBezTo>
                <a:cubicBezTo>
                  <a:pt x="184" y="487"/>
                  <a:pt x="158" y="461"/>
                  <a:pt x="127" y="461"/>
                </a:cubicBezTo>
                <a:close/>
                <a:moveTo>
                  <a:pt x="441" y="486"/>
                </a:moveTo>
                <a:cubicBezTo>
                  <a:pt x="459" y="486"/>
                  <a:pt x="474" y="501"/>
                  <a:pt x="474" y="519"/>
                </a:cubicBezTo>
                <a:cubicBezTo>
                  <a:pt x="474" y="537"/>
                  <a:pt x="459" y="552"/>
                  <a:pt x="441" y="552"/>
                </a:cubicBezTo>
                <a:cubicBezTo>
                  <a:pt x="423" y="552"/>
                  <a:pt x="408" y="537"/>
                  <a:pt x="408" y="519"/>
                </a:cubicBezTo>
                <a:cubicBezTo>
                  <a:pt x="408" y="501"/>
                  <a:pt x="423" y="486"/>
                  <a:pt x="441" y="486"/>
                </a:cubicBezTo>
                <a:moveTo>
                  <a:pt x="441" y="461"/>
                </a:moveTo>
                <a:cubicBezTo>
                  <a:pt x="409" y="461"/>
                  <a:pt x="384" y="487"/>
                  <a:pt x="384" y="519"/>
                </a:cubicBezTo>
                <a:cubicBezTo>
                  <a:pt x="384" y="551"/>
                  <a:pt x="409" y="576"/>
                  <a:pt x="441" y="576"/>
                </a:cubicBezTo>
                <a:cubicBezTo>
                  <a:pt x="473" y="576"/>
                  <a:pt x="499" y="551"/>
                  <a:pt x="499" y="519"/>
                </a:cubicBezTo>
                <a:cubicBezTo>
                  <a:pt x="499" y="487"/>
                  <a:pt x="473" y="461"/>
                  <a:pt x="441" y="461"/>
                </a:cubicBezTo>
                <a:close/>
                <a:moveTo>
                  <a:pt x="576" y="421"/>
                </a:moveTo>
                <a:cubicBezTo>
                  <a:pt x="25" y="421"/>
                  <a:pt x="25" y="421"/>
                  <a:pt x="25" y="421"/>
                </a:cubicBezTo>
                <a:cubicBezTo>
                  <a:pt x="25" y="0"/>
                  <a:pt x="25" y="0"/>
                  <a:pt x="25" y="0"/>
                </a:cubicBezTo>
                <a:cubicBezTo>
                  <a:pt x="0" y="0"/>
                  <a:pt x="0" y="0"/>
                  <a:pt x="0" y="0"/>
                </a:cubicBezTo>
                <a:cubicBezTo>
                  <a:pt x="0" y="446"/>
                  <a:pt x="0" y="446"/>
                  <a:pt x="0" y="446"/>
                </a:cubicBezTo>
                <a:cubicBezTo>
                  <a:pt x="576" y="446"/>
                  <a:pt x="576" y="446"/>
                  <a:pt x="576" y="446"/>
                </a:cubicBezTo>
                <a:lnTo>
                  <a:pt x="576" y="421"/>
                </a:lnTo>
                <a:close/>
                <a:moveTo>
                  <a:pt x="404" y="25"/>
                </a:moveTo>
                <a:cubicBezTo>
                  <a:pt x="404" y="164"/>
                  <a:pt x="404" y="164"/>
                  <a:pt x="404" y="164"/>
                </a:cubicBezTo>
                <a:cubicBezTo>
                  <a:pt x="72" y="164"/>
                  <a:pt x="72" y="164"/>
                  <a:pt x="72" y="164"/>
                </a:cubicBezTo>
                <a:cubicBezTo>
                  <a:pt x="72" y="25"/>
                  <a:pt x="72" y="25"/>
                  <a:pt x="72" y="25"/>
                </a:cubicBezTo>
                <a:cubicBezTo>
                  <a:pt x="404" y="25"/>
                  <a:pt x="404" y="25"/>
                  <a:pt x="404" y="25"/>
                </a:cubicBezTo>
                <a:moveTo>
                  <a:pt x="429" y="0"/>
                </a:moveTo>
                <a:cubicBezTo>
                  <a:pt x="48" y="0"/>
                  <a:pt x="48" y="0"/>
                  <a:pt x="48" y="0"/>
                </a:cubicBezTo>
                <a:cubicBezTo>
                  <a:pt x="48" y="188"/>
                  <a:pt x="48" y="188"/>
                  <a:pt x="48" y="188"/>
                </a:cubicBezTo>
                <a:cubicBezTo>
                  <a:pt x="429" y="188"/>
                  <a:pt x="429" y="188"/>
                  <a:pt x="429" y="188"/>
                </a:cubicBezTo>
                <a:cubicBezTo>
                  <a:pt x="429" y="0"/>
                  <a:pt x="429" y="0"/>
                  <a:pt x="429" y="0"/>
                </a:cubicBezTo>
                <a:close/>
                <a:moveTo>
                  <a:pt x="494" y="236"/>
                </a:moveTo>
                <a:cubicBezTo>
                  <a:pt x="494" y="375"/>
                  <a:pt x="494" y="375"/>
                  <a:pt x="494" y="375"/>
                </a:cubicBezTo>
                <a:cubicBezTo>
                  <a:pt x="72" y="375"/>
                  <a:pt x="72" y="375"/>
                  <a:pt x="72" y="375"/>
                </a:cubicBezTo>
                <a:cubicBezTo>
                  <a:pt x="72" y="236"/>
                  <a:pt x="72" y="236"/>
                  <a:pt x="72" y="236"/>
                </a:cubicBezTo>
                <a:cubicBezTo>
                  <a:pt x="494" y="236"/>
                  <a:pt x="494" y="236"/>
                  <a:pt x="494" y="236"/>
                </a:cubicBezTo>
                <a:moveTo>
                  <a:pt x="519" y="211"/>
                </a:moveTo>
                <a:cubicBezTo>
                  <a:pt x="48" y="211"/>
                  <a:pt x="48" y="211"/>
                  <a:pt x="48" y="211"/>
                </a:cubicBezTo>
                <a:cubicBezTo>
                  <a:pt x="48" y="399"/>
                  <a:pt x="48" y="399"/>
                  <a:pt x="48" y="399"/>
                </a:cubicBezTo>
                <a:cubicBezTo>
                  <a:pt x="519" y="399"/>
                  <a:pt x="519" y="399"/>
                  <a:pt x="519" y="399"/>
                </a:cubicBezTo>
                <a:cubicBezTo>
                  <a:pt x="519" y="211"/>
                  <a:pt x="519" y="211"/>
                  <a:pt x="519" y="211"/>
                </a:cubicBezTo>
                <a:close/>
                <a:moveTo>
                  <a:pt x="145" y="119"/>
                </a:moveTo>
                <a:cubicBezTo>
                  <a:pt x="98" y="119"/>
                  <a:pt x="98" y="119"/>
                  <a:pt x="98" y="119"/>
                </a:cubicBezTo>
                <a:cubicBezTo>
                  <a:pt x="98" y="144"/>
                  <a:pt x="98" y="144"/>
                  <a:pt x="98" y="144"/>
                </a:cubicBezTo>
                <a:cubicBezTo>
                  <a:pt x="145" y="144"/>
                  <a:pt x="145" y="144"/>
                  <a:pt x="145" y="144"/>
                </a:cubicBezTo>
                <a:lnTo>
                  <a:pt x="145" y="119"/>
                </a:lnTo>
                <a:close/>
                <a:moveTo>
                  <a:pt x="145" y="330"/>
                </a:moveTo>
                <a:cubicBezTo>
                  <a:pt x="98" y="330"/>
                  <a:pt x="98" y="330"/>
                  <a:pt x="98" y="330"/>
                </a:cubicBezTo>
                <a:cubicBezTo>
                  <a:pt x="98" y="355"/>
                  <a:pt x="98" y="355"/>
                  <a:pt x="98" y="355"/>
                </a:cubicBezTo>
                <a:cubicBezTo>
                  <a:pt x="145" y="355"/>
                  <a:pt x="145" y="355"/>
                  <a:pt x="145" y="355"/>
                </a:cubicBezTo>
                <a:lnTo>
                  <a:pt x="145" y="330"/>
                </a:lnTo>
                <a:close/>
              </a:path>
            </a:pathLst>
          </a:custGeom>
          <a:solidFill>
            <a:srgbClr val="A8192D"/>
          </a:solidFill>
          <a:ln>
            <a:noFill/>
          </a:ln>
        </p:spPr>
        <p:txBody>
          <a:bodyPr spcFirstLastPara="1" wrap="square" lIns="91425" tIns="45700" rIns="91425" bIns="457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5FAADB15-4E21-3C09-8DC6-C494DF454908}"/>
              </a:ext>
            </a:extLst>
          </p:cNvPr>
          <p:cNvSpPr>
            <a:spLocks noChangeArrowheads="1"/>
          </p:cNvSpPr>
          <p:nvPr/>
        </p:nvSpPr>
        <p:spPr bwMode="auto">
          <a:xfrm>
            <a:off x="4393045" y="3561305"/>
            <a:ext cx="1598294" cy="129266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rtl="0" eaLnBrk="0" hangingPunct="0">
              <a:defRPr/>
            </a:pPr>
            <a:r>
              <a:rPr lang="en-gb" sz="1400" kern="0" dirty="0">
                <a:cs typeface="Arial" charset="0"/>
              </a:rPr>
              <a:t>Disaster</a:t>
            </a:r>
          </a:p>
          <a:p>
            <a:pPr defTabSz="682749" rtl="0" eaLnBrk="0" hangingPunct="0">
              <a:defRPr/>
            </a:pPr>
            <a:r>
              <a:rPr lang="lv-LV" sz="1400" kern="0" dirty="0" err="1">
                <a:cs typeface="Arial" charset="0"/>
              </a:rPr>
              <a:t>management</a:t>
            </a:r>
            <a:r>
              <a:rPr lang="en-gb" sz="1400" kern="0" dirty="0">
                <a:cs typeface="Arial" charset="0"/>
              </a:rPr>
              <a:t> </a:t>
            </a:r>
            <a:r>
              <a:rPr lang="lv-LV" sz="1400" kern="0" dirty="0" err="1"/>
              <a:t>subjects</a:t>
            </a:r>
            <a:r>
              <a:rPr lang="en-gb" sz="1400" kern="0" dirty="0"/>
              <a:t> </a:t>
            </a:r>
            <a:r>
              <a:rPr lang="en-US" sz="1400" kern="0" dirty="0"/>
              <a:t>evaluate the fulfilment of the State </a:t>
            </a:r>
            <a:r>
              <a:rPr lang="lv-LV" sz="1400" kern="0" dirty="0"/>
              <a:t>C</a:t>
            </a:r>
            <a:r>
              <a:rPr lang="en-US" sz="1400" kern="0" dirty="0" err="1"/>
              <a:t>ivil</a:t>
            </a:r>
            <a:r>
              <a:rPr lang="en-US" sz="1400" kern="0" dirty="0"/>
              <a:t> </a:t>
            </a:r>
            <a:r>
              <a:rPr lang="lv-LV" sz="1400" kern="0" dirty="0"/>
              <a:t>P</a:t>
            </a:r>
            <a:r>
              <a:rPr lang="en-US" sz="1400" kern="0" dirty="0" err="1"/>
              <a:t>rotection</a:t>
            </a:r>
            <a:r>
              <a:rPr lang="en-US" sz="1400" kern="0" dirty="0"/>
              <a:t> </a:t>
            </a:r>
            <a:r>
              <a:rPr lang="lv-LV" sz="1400" kern="0" dirty="0"/>
              <a:t>P</a:t>
            </a:r>
            <a:r>
              <a:rPr lang="en-US" sz="1400" kern="0" dirty="0" err="1"/>
              <a:t>lan</a:t>
            </a:r>
            <a:endParaRPr lang="en-gb" sz="1400" dirty="0"/>
          </a:p>
        </p:txBody>
      </p:sp>
      <p:grpSp>
        <p:nvGrpSpPr>
          <p:cNvPr id="63" name="Group 62">
            <a:extLst>
              <a:ext uri="{FF2B5EF4-FFF2-40B4-BE49-F238E27FC236}">
                <a16:creationId xmlns:a16="http://schemas.microsoft.com/office/drawing/2014/main" id="{1B8D2600-D139-04F3-5D68-144782AFE9F1}"/>
              </a:ext>
            </a:extLst>
          </p:cNvPr>
          <p:cNvGrpSpPr/>
          <p:nvPr/>
        </p:nvGrpSpPr>
        <p:grpSpPr>
          <a:xfrm rot="16200000" flipH="1">
            <a:off x="4199060" y="3521084"/>
            <a:ext cx="108000" cy="249855"/>
            <a:chOff x="1056677" y="3860957"/>
            <a:chExt cx="108000" cy="252000"/>
          </a:xfrm>
        </p:grpSpPr>
        <p:cxnSp>
          <p:nvCxnSpPr>
            <p:cNvPr id="76" name="Straight Connector 75">
              <a:extLst>
                <a:ext uri="{FF2B5EF4-FFF2-40B4-BE49-F238E27FC236}">
                  <a16:creationId xmlns:a16="http://schemas.microsoft.com/office/drawing/2014/main" id="{0F56C191-0EF8-22B4-FD0F-0002FE86B29A}"/>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4C7DD389-13B5-118B-D106-622F87A38A04}"/>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lv-LV" sz="900">
                <a:solidFill>
                  <a:schemeClr val="bg1"/>
                </a:solidFill>
              </a:endParaRPr>
            </a:p>
          </p:txBody>
        </p:sp>
      </p:grpSp>
      <p:grpSp>
        <p:nvGrpSpPr>
          <p:cNvPr id="64" name="Google Shape;1359;p89">
            <a:extLst>
              <a:ext uri="{FF2B5EF4-FFF2-40B4-BE49-F238E27FC236}">
                <a16:creationId xmlns:a16="http://schemas.microsoft.com/office/drawing/2014/main" id="{61A85F62-FF91-BD23-93B9-59A5FDE686AE}"/>
              </a:ext>
            </a:extLst>
          </p:cNvPr>
          <p:cNvGrpSpPr/>
          <p:nvPr/>
        </p:nvGrpSpPr>
        <p:grpSpPr>
          <a:xfrm>
            <a:off x="6838899" y="1518453"/>
            <a:ext cx="540000" cy="540000"/>
            <a:chOff x="3530517" y="5322517"/>
            <a:chExt cx="457200" cy="457200"/>
          </a:xfrm>
          <a:solidFill>
            <a:srgbClr val="A8192D"/>
          </a:solidFill>
        </p:grpSpPr>
        <p:sp>
          <p:nvSpPr>
            <p:cNvPr id="72" name="Google Shape;1360;p89">
              <a:extLst>
                <a:ext uri="{FF2B5EF4-FFF2-40B4-BE49-F238E27FC236}">
                  <a16:creationId xmlns:a16="http://schemas.microsoft.com/office/drawing/2014/main" id="{450C77C8-E24B-6C4B-992F-DDBCD1674E1B}"/>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3" name="Google Shape;1361;p89">
              <a:extLst>
                <a:ext uri="{FF2B5EF4-FFF2-40B4-BE49-F238E27FC236}">
                  <a16:creationId xmlns:a16="http://schemas.microsoft.com/office/drawing/2014/main" id="{E5E98DE4-279E-5BBE-74E5-9729F7F2F2FB}"/>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4" name="Google Shape;1362;p89">
              <a:extLst>
                <a:ext uri="{FF2B5EF4-FFF2-40B4-BE49-F238E27FC236}">
                  <a16:creationId xmlns:a16="http://schemas.microsoft.com/office/drawing/2014/main" id="{33DA4FEA-714D-2631-251A-8C9959A255E3}"/>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5" name="Google Shape;1363;p89">
              <a:extLst>
                <a:ext uri="{FF2B5EF4-FFF2-40B4-BE49-F238E27FC236}">
                  <a16:creationId xmlns:a16="http://schemas.microsoft.com/office/drawing/2014/main" id="{8603E3C6-B991-762E-013E-4BF29BBDC9C8}"/>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70" name="Google Shape;663;p78">
            <a:extLst>
              <a:ext uri="{FF2B5EF4-FFF2-40B4-BE49-F238E27FC236}">
                <a16:creationId xmlns:a16="http://schemas.microsoft.com/office/drawing/2014/main" id="{3F316D1B-3703-9EE0-5513-9FC627F0D3C4}"/>
              </a:ext>
            </a:extLst>
          </p:cNvPr>
          <p:cNvSpPr/>
          <p:nvPr/>
        </p:nvSpPr>
        <p:spPr>
          <a:xfrm>
            <a:off x="10760553" y="3667636"/>
            <a:ext cx="540000" cy="540000"/>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31"/>
                </a:lnTo>
                <a:lnTo>
                  <a:pt x="673" y="31"/>
                </a:lnTo>
                <a:lnTo>
                  <a:pt x="673" y="674"/>
                </a:lnTo>
                <a:close/>
                <a:moveTo>
                  <a:pt x="192" y="376"/>
                </a:moveTo>
                <a:lnTo>
                  <a:pt x="65" y="376"/>
                </a:lnTo>
                <a:lnTo>
                  <a:pt x="65" y="625"/>
                </a:lnTo>
                <a:lnTo>
                  <a:pt x="192" y="625"/>
                </a:lnTo>
                <a:lnTo>
                  <a:pt x="192" y="376"/>
                </a:lnTo>
                <a:close/>
                <a:moveTo>
                  <a:pt x="163" y="596"/>
                </a:moveTo>
                <a:lnTo>
                  <a:pt x="94" y="596"/>
                </a:lnTo>
                <a:lnTo>
                  <a:pt x="94" y="406"/>
                </a:lnTo>
                <a:lnTo>
                  <a:pt x="163" y="406"/>
                </a:lnTo>
                <a:lnTo>
                  <a:pt x="163" y="596"/>
                </a:lnTo>
                <a:close/>
                <a:moveTo>
                  <a:pt x="341" y="290"/>
                </a:moveTo>
                <a:lnTo>
                  <a:pt x="214" y="290"/>
                </a:lnTo>
                <a:lnTo>
                  <a:pt x="214" y="625"/>
                </a:lnTo>
                <a:lnTo>
                  <a:pt x="341" y="625"/>
                </a:lnTo>
                <a:lnTo>
                  <a:pt x="341" y="290"/>
                </a:lnTo>
                <a:close/>
                <a:moveTo>
                  <a:pt x="312" y="596"/>
                </a:moveTo>
                <a:lnTo>
                  <a:pt x="243" y="596"/>
                </a:lnTo>
                <a:lnTo>
                  <a:pt x="243" y="319"/>
                </a:lnTo>
                <a:lnTo>
                  <a:pt x="312" y="319"/>
                </a:lnTo>
                <a:lnTo>
                  <a:pt x="312" y="596"/>
                </a:lnTo>
                <a:close/>
                <a:moveTo>
                  <a:pt x="490" y="328"/>
                </a:moveTo>
                <a:lnTo>
                  <a:pt x="363" y="328"/>
                </a:lnTo>
                <a:lnTo>
                  <a:pt x="363" y="625"/>
                </a:lnTo>
                <a:lnTo>
                  <a:pt x="490" y="625"/>
                </a:lnTo>
                <a:lnTo>
                  <a:pt x="490" y="328"/>
                </a:lnTo>
                <a:close/>
                <a:moveTo>
                  <a:pt x="461" y="596"/>
                </a:moveTo>
                <a:lnTo>
                  <a:pt x="392" y="596"/>
                </a:lnTo>
                <a:lnTo>
                  <a:pt x="392" y="357"/>
                </a:lnTo>
                <a:lnTo>
                  <a:pt x="461" y="357"/>
                </a:lnTo>
                <a:lnTo>
                  <a:pt x="461" y="596"/>
                </a:lnTo>
                <a:close/>
                <a:moveTo>
                  <a:pt x="639" y="193"/>
                </a:moveTo>
                <a:lnTo>
                  <a:pt x="512" y="193"/>
                </a:lnTo>
                <a:lnTo>
                  <a:pt x="512" y="625"/>
                </a:lnTo>
                <a:lnTo>
                  <a:pt x="639" y="625"/>
                </a:lnTo>
                <a:lnTo>
                  <a:pt x="639" y="193"/>
                </a:lnTo>
                <a:close/>
                <a:moveTo>
                  <a:pt x="610" y="596"/>
                </a:moveTo>
                <a:lnTo>
                  <a:pt x="541" y="596"/>
                </a:lnTo>
                <a:lnTo>
                  <a:pt x="541" y="224"/>
                </a:lnTo>
                <a:lnTo>
                  <a:pt x="610" y="224"/>
                </a:lnTo>
                <a:lnTo>
                  <a:pt x="610" y="596"/>
                </a:lnTo>
                <a:close/>
              </a:path>
            </a:pathLst>
          </a:custGeom>
          <a:solidFill>
            <a:srgbClr val="A8192D"/>
          </a:solidFill>
          <a:ln>
            <a:noFill/>
          </a:ln>
        </p:spPr>
        <p:txBody>
          <a:bodyPr spcFirstLastPara="1" wrap="square" lIns="91425" tIns="45700" rIns="91425" bIns="457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CB1D406E-674B-8D3A-DAA0-4B5BCC9F2219}"/>
              </a:ext>
            </a:extLst>
          </p:cNvPr>
          <p:cNvSpPr/>
          <p:nvPr/>
        </p:nvSpPr>
        <p:spPr>
          <a:xfrm>
            <a:off x="442913" y="1250066"/>
            <a:ext cx="11306174"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1" name="Rectangle 30">
            <a:extLst>
              <a:ext uri="{FF2B5EF4-FFF2-40B4-BE49-F238E27FC236}">
                <a16:creationId xmlns:a16="http://schemas.microsoft.com/office/drawing/2014/main" id="{0E4DFE13-93BE-93CF-367C-4436121D4879}"/>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3" name="Group 2">
            <a:extLst>
              <a:ext uri="{FF2B5EF4-FFF2-40B4-BE49-F238E27FC236}">
                <a16:creationId xmlns:a16="http://schemas.microsoft.com/office/drawing/2014/main" id="{2DA3229C-2B2E-95D4-1296-79EE5E63558D}"/>
              </a:ext>
            </a:extLst>
          </p:cNvPr>
          <p:cNvGrpSpPr/>
          <p:nvPr/>
        </p:nvGrpSpPr>
        <p:grpSpPr>
          <a:xfrm>
            <a:off x="6167418" y="132067"/>
            <a:ext cx="5590962" cy="224022"/>
            <a:chOff x="5385234" y="125533"/>
            <a:chExt cx="5590962" cy="224022"/>
          </a:xfrm>
        </p:grpSpPr>
        <p:sp>
          <p:nvSpPr>
            <p:cNvPr id="5" name="Rectangle 4">
              <a:extLst>
                <a:ext uri="{FF2B5EF4-FFF2-40B4-BE49-F238E27FC236}">
                  <a16:creationId xmlns:a16="http://schemas.microsoft.com/office/drawing/2014/main" id="{3CBB85AE-0C46-805C-F547-31D810C2F98A}"/>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6560D5BF-B031-285A-B253-4C6BC56DBCB5}"/>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3" name="Rectangle 12">
              <a:extLst>
                <a:ext uri="{FF2B5EF4-FFF2-40B4-BE49-F238E27FC236}">
                  <a16:creationId xmlns:a16="http://schemas.microsoft.com/office/drawing/2014/main" id="{84EC30D3-23C1-E8FF-1FE0-5F1CF9303B6E}"/>
                </a:ext>
              </a:extLst>
            </p:cNvPr>
            <p:cNvSpPr/>
            <p:nvPr/>
          </p:nvSpPr>
          <p:spPr>
            <a:xfrm>
              <a:off x="5868888" y="132067"/>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690710C4-A1FC-4E17-8EB6-C8118DA432F0}"/>
                </a:ext>
              </a:extLst>
            </p:cNvPr>
            <p:cNvSpPr/>
            <p:nvPr/>
          </p:nvSpPr>
          <p:spPr>
            <a:xfrm>
              <a:off x="6352542" y="132067"/>
              <a:ext cx="414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600"/>
                </a:spcAft>
              </a:pPr>
              <a:r>
                <a:rPr lang="en-GB" sz="800" b="1" dirty="0">
                  <a:latin typeface="Arial"/>
                  <a:cs typeface="Arial"/>
                </a:rPr>
                <a:t>Civil Protection Measure Planning </a:t>
              </a:r>
            </a:p>
          </p:txBody>
        </p:sp>
        <p:sp>
          <p:nvSpPr>
            <p:cNvPr id="17" name="Rectangle 16">
              <a:extLst>
                <a:ext uri="{FF2B5EF4-FFF2-40B4-BE49-F238E27FC236}">
                  <a16:creationId xmlns:a16="http://schemas.microsoft.com/office/drawing/2014/main" id="{296412A4-3163-103C-2B1B-A31E825301F5}"/>
                </a:ext>
              </a:extLst>
            </p:cNvPr>
            <p:cNvSpPr/>
            <p:nvPr/>
          </p:nvSpPr>
          <p:spPr>
            <a:xfrm>
              <a:off x="6110715"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4</a:t>
              </a:r>
            </a:p>
          </p:txBody>
        </p:sp>
        <p:sp>
          <p:nvSpPr>
            <p:cNvPr id="18" name="Rectangle 17">
              <a:extLst>
                <a:ext uri="{FF2B5EF4-FFF2-40B4-BE49-F238E27FC236}">
                  <a16:creationId xmlns:a16="http://schemas.microsoft.com/office/drawing/2014/main" id="{6C20DB05-8F81-0F5C-B9C8-5300E03DAB0D}"/>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0385D35B-314C-25F4-89D8-96CAA87CCEA5}"/>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061079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7D7669-20A3-7481-8F23-CD69449C9745}"/>
              </a:ext>
            </a:extLst>
          </p:cNvPr>
          <p:cNvGraphicFramePr>
            <a:graphicFrameLocks noChangeAspect="1"/>
          </p:cNvGraphicFramePr>
          <p:nvPr>
            <p:custDataLst>
              <p:tags r:id="rId1"/>
            </p:custDataLst>
            <p:extLst>
              <p:ext uri="{D42A27DB-BD31-4B8C-83A1-F6EECF244321}">
                <p14:modId xmlns:p14="http://schemas.microsoft.com/office/powerpoint/2010/main" val="132342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B17D7669-20A3-7481-8F23-CD69449C97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F80B32A-55E9-507D-78BC-6113B4CE3EB1}"/>
              </a:ext>
            </a:extLst>
          </p:cNvPr>
          <p:cNvSpPr>
            <a:spLocks noGrp="1"/>
          </p:cNvSpPr>
          <p:nvPr>
            <p:ph type="sldNum" sz="quarter" idx="11"/>
          </p:nvPr>
        </p:nvSpPr>
        <p:spPr/>
        <p:txBody>
          <a:bodyPr rtlCol="0"/>
          <a:lstStyle/>
          <a:p>
            <a:pPr rtl="0"/>
            <a:fld id="{7870704B-CE94-48CC-AF30-84932A1262A7}" type="slidenum">
              <a:rPr lang="en-GB" smtClean="0"/>
              <a:pPr rtl="0"/>
              <a:t>23</a:t>
            </a:fld>
            <a:endParaRPr lang="en-GB"/>
          </a:p>
        </p:txBody>
      </p:sp>
      <p:sp>
        <p:nvSpPr>
          <p:cNvPr id="2" name="Title 9">
            <a:extLst>
              <a:ext uri="{FF2B5EF4-FFF2-40B4-BE49-F238E27FC236}">
                <a16:creationId xmlns:a16="http://schemas.microsoft.com/office/drawing/2014/main" id="{1299C1A8-38BE-9556-5CBE-67D0E693F9D9}"/>
              </a:ext>
            </a:extLst>
          </p:cNvPr>
          <p:cNvSpPr>
            <a:spLocks noGrp="1"/>
          </p:cNvSpPr>
          <p:nvPr>
            <p:ph type="title"/>
          </p:nvPr>
        </p:nvSpPr>
        <p:spPr>
          <a:xfrm>
            <a:off x="442913" y="432001"/>
            <a:ext cx="11306175" cy="1387274"/>
          </a:xfrm>
        </p:spPr>
        <p:txBody>
          <a:bodyPr vert="horz" rtlCol="0"/>
          <a:lstStyle/>
          <a:p>
            <a:pPr rtl="0"/>
            <a:r>
              <a:rPr lang="en-gb" dirty="0"/>
              <a:t>Information to be </a:t>
            </a:r>
            <a:r>
              <a:rPr lang="lv-LV" dirty="0"/>
              <a:t>I</a:t>
            </a:r>
            <a:r>
              <a:rPr lang="en-gb" dirty="0" err="1"/>
              <a:t>ncluded</a:t>
            </a:r>
            <a:r>
              <a:rPr lang="en-gb" dirty="0"/>
              <a:t> in the Civil Protection Plan</a:t>
            </a:r>
            <a:endParaRPr lang="cs-CZ" dirty="0"/>
          </a:p>
        </p:txBody>
      </p:sp>
      <p:grpSp>
        <p:nvGrpSpPr>
          <p:cNvPr id="85" name="Group 84">
            <a:extLst>
              <a:ext uri="{FF2B5EF4-FFF2-40B4-BE49-F238E27FC236}">
                <a16:creationId xmlns:a16="http://schemas.microsoft.com/office/drawing/2014/main" id="{8942B4A7-B037-D953-3055-4B1C05D34065}"/>
              </a:ext>
            </a:extLst>
          </p:cNvPr>
          <p:cNvGrpSpPr/>
          <p:nvPr/>
        </p:nvGrpSpPr>
        <p:grpSpPr>
          <a:xfrm>
            <a:off x="442913" y="5595238"/>
            <a:ext cx="576000" cy="576263"/>
            <a:chOff x="442913" y="5595238"/>
            <a:chExt cx="576000" cy="576263"/>
          </a:xfrm>
        </p:grpSpPr>
        <p:sp>
          <p:nvSpPr>
            <p:cNvPr id="31" name="Rectangle 30">
              <a:extLst>
                <a:ext uri="{FF2B5EF4-FFF2-40B4-BE49-F238E27FC236}">
                  <a16:creationId xmlns:a16="http://schemas.microsoft.com/office/drawing/2014/main" id="{0F8AF3D8-4A36-5BAD-7018-36E6F6AC90A9}"/>
                </a:ext>
              </a:extLst>
            </p:cNvPr>
            <p:cNvSpPr/>
            <p:nvPr/>
          </p:nvSpPr>
          <p:spPr>
            <a:xfrm>
              <a:off x="442913" y="5595238"/>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1D81532B-2339-E2C1-F336-A5A69EE823D2}"/>
                </a:ext>
              </a:extLst>
            </p:cNvPr>
            <p:cNvSpPr/>
            <p:nvPr/>
          </p:nvSpPr>
          <p:spPr>
            <a:xfrm rot="13500000">
              <a:off x="575948" y="577130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6" name="Group 85">
            <a:extLst>
              <a:ext uri="{FF2B5EF4-FFF2-40B4-BE49-F238E27FC236}">
                <a16:creationId xmlns:a16="http://schemas.microsoft.com/office/drawing/2014/main" id="{A1ED5FC0-03AB-4FD5-B5A4-311BF7E24FA5}"/>
              </a:ext>
            </a:extLst>
          </p:cNvPr>
          <p:cNvGrpSpPr/>
          <p:nvPr/>
        </p:nvGrpSpPr>
        <p:grpSpPr>
          <a:xfrm>
            <a:off x="442913" y="4949177"/>
            <a:ext cx="576000" cy="576263"/>
            <a:chOff x="442913" y="4949177"/>
            <a:chExt cx="576000" cy="576263"/>
          </a:xfrm>
        </p:grpSpPr>
        <p:sp>
          <p:nvSpPr>
            <p:cNvPr id="47" name="Rectangle 46">
              <a:extLst>
                <a:ext uri="{FF2B5EF4-FFF2-40B4-BE49-F238E27FC236}">
                  <a16:creationId xmlns:a16="http://schemas.microsoft.com/office/drawing/2014/main" id="{656AB3C2-026C-E715-D925-A13B751C8473}"/>
                </a:ext>
              </a:extLst>
            </p:cNvPr>
            <p:cNvSpPr/>
            <p:nvPr/>
          </p:nvSpPr>
          <p:spPr>
            <a:xfrm>
              <a:off x="442913" y="4949177"/>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8" name="L-Shape 47">
              <a:extLst>
                <a:ext uri="{FF2B5EF4-FFF2-40B4-BE49-F238E27FC236}">
                  <a16:creationId xmlns:a16="http://schemas.microsoft.com/office/drawing/2014/main" id="{3112A528-1987-48A6-C4E9-818FC36C4A12}"/>
                </a:ext>
              </a:extLst>
            </p:cNvPr>
            <p:cNvSpPr/>
            <p:nvPr/>
          </p:nvSpPr>
          <p:spPr>
            <a:xfrm rot="13500000">
              <a:off x="575948" y="512553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8" name="Group 87">
            <a:extLst>
              <a:ext uri="{FF2B5EF4-FFF2-40B4-BE49-F238E27FC236}">
                <a16:creationId xmlns:a16="http://schemas.microsoft.com/office/drawing/2014/main" id="{252DCC70-2CD2-A590-0C8D-95B507F7ABCE}"/>
              </a:ext>
            </a:extLst>
          </p:cNvPr>
          <p:cNvGrpSpPr/>
          <p:nvPr/>
        </p:nvGrpSpPr>
        <p:grpSpPr>
          <a:xfrm>
            <a:off x="442913" y="4303116"/>
            <a:ext cx="576000" cy="576263"/>
            <a:chOff x="442913" y="4303116"/>
            <a:chExt cx="576000" cy="576263"/>
          </a:xfrm>
        </p:grpSpPr>
        <p:sp>
          <p:nvSpPr>
            <p:cNvPr id="50" name="Rectangle 49">
              <a:extLst>
                <a:ext uri="{FF2B5EF4-FFF2-40B4-BE49-F238E27FC236}">
                  <a16:creationId xmlns:a16="http://schemas.microsoft.com/office/drawing/2014/main" id="{FCFE4574-F139-F2EC-40BE-DBEDA717016C}"/>
                </a:ext>
              </a:extLst>
            </p:cNvPr>
            <p:cNvSpPr/>
            <p:nvPr/>
          </p:nvSpPr>
          <p:spPr>
            <a:xfrm>
              <a:off x="442913" y="4303116"/>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1" name="L-Shape 50">
              <a:extLst>
                <a:ext uri="{FF2B5EF4-FFF2-40B4-BE49-F238E27FC236}">
                  <a16:creationId xmlns:a16="http://schemas.microsoft.com/office/drawing/2014/main" id="{02A2C5A2-8161-6D93-7619-EC9A5EB42936}"/>
                </a:ext>
              </a:extLst>
            </p:cNvPr>
            <p:cNvSpPr/>
            <p:nvPr/>
          </p:nvSpPr>
          <p:spPr>
            <a:xfrm rot="13500000">
              <a:off x="575948" y="447976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33" name="Group 132">
            <a:extLst>
              <a:ext uri="{FF2B5EF4-FFF2-40B4-BE49-F238E27FC236}">
                <a16:creationId xmlns:a16="http://schemas.microsoft.com/office/drawing/2014/main" id="{4C2AFF10-FE6F-4ADE-CB07-1E4A03BD9D16}"/>
              </a:ext>
            </a:extLst>
          </p:cNvPr>
          <p:cNvGrpSpPr/>
          <p:nvPr/>
        </p:nvGrpSpPr>
        <p:grpSpPr>
          <a:xfrm>
            <a:off x="6857396" y="3660603"/>
            <a:ext cx="576000" cy="446088"/>
            <a:chOff x="11039753" y="3676650"/>
            <a:chExt cx="576000" cy="446088"/>
          </a:xfrm>
        </p:grpSpPr>
        <p:sp>
          <p:nvSpPr>
            <p:cNvPr id="65" name="Rectangle 64">
              <a:extLst>
                <a:ext uri="{FF2B5EF4-FFF2-40B4-BE49-F238E27FC236}">
                  <a16:creationId xmlns:a16="http://schemas.microsoft.com/office/drawing/2014/main" id="{B3400AB7-3203-205A-AB82-E6EAECD6E433}"/>
                </a:ext>
              </a:extLst>
            </p:cNvPr>
            <p:cNvSpPr/>
            <p:nvPr/>
          </p:nvSpPr>
          <p:spPr>
            <a:xfrm>
              <a:off x="11039753" y="3676650"/>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6" name="L-Shape 65">
              <a:extLst>
                <a:ext uri="{FF2B5EF4-FFF2-40B4-BE49-F238E27FC236}">
                  <a16:creationId xmlns:a16="http://schemas.microsoft.com/office/drawing/2014/main" id="{867B4285-8A1E-1221-902B-200EA0DA3A62}"/>
                </a:ext>
              </a:extLst>
            </p:cNvPr>
            <p:cNvSpPr/>
            <p:nvPr/>
          </p:nvSpPr>
          <p:spPr>
            <a:xfrm rot="13500000">
              <a:off x="11172788" y="377914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6" name="TextBox 25">
            <a:extLst>
              <a:ext uri="{FF2B5EF4-FFF2-40B4-BE49-F238E27FC236}">
                <a16:creationId xmlns:a16="http://schemas.microsoft.com/office/drawing/2014/main" id="{471F14E2-4096-90B5-C1ED-2A3C36F0DB47}"/>
              </a:ext>
            </a:extLst>
          </p:cNvPr>
          <p:cNvSpPr txBox="1"/>
          <p:nvPr/>
        </p:nvSpPr>
        <p:spPr>
          <a:xfrm>
            <a:off x="6857396" y="1829370"/>
            <a:ext cx="4891694" cy="360000"/>
          </a:xfrm>
          <a:prstGeom prst="rect">
            <a:avLst/>
          </a:prstGeom>
          <a:solidFill>
            <a:srgbClr val="CFD6E8"/>
          </a:solidFill>
        </p:spPr>
        <p:txBody>
          <a:bodyPr wrap="square" lIns="144000" tIns="36000" rIns="72000" bIns="36000" rtlCol="0" anchor="ctr" anchorCtr="0">
            <a:noAutofit/>
          </a:bodyPr>
          <a:lstStyle/>
          <a:p>
            <a:pPr defTabSz="822960" rtl="0">
              <a:defRPr/>
            </a:pPr>
            <a:r>
              <a:rPr lang="en-US" sz="1400" b="1" kern="100" spc="-10" dirty="0">
                <a:ea typeface="Times New Roman" panose="02020603050405020304" pitchFamily="18" charset="0"/>
                <a:cs typeface="Times New Roman" panose="02020603050405020304" pitchFamily="18" charset="0"/>
              </a:rPr>
              <a:t>Civil Protection Plan of the Local Government Cooperation Territory</a:t>
            </a:r>
          </a:p>
        </p:txBody>
      </p:sp>
      <p:sp>
        <p:nvSpPr>
          <p:cNvPr id="27" name="TextBox 26">
            <a:extLst>
              <a:ext uri="{FF2B5EF4-FFF2-40B4-BE49-F238E27FC236}">
                <a16:creationId xmlns:a16="http://schemas.microsoft.com/office/drawing/2014/main" id="{4A84FC65-DA2C-6590-D2DB-1E7E4EA7E99F}"/>
              </a:ext>
            </a:extLst>
          </p:cNvPr>
          <p:cNvSpPr txBox="1"/>
          <p:nvPr/>
        </p:nvSpPr>
        <p:spPr>
          <a:xfrm>
            <a:off x="442912" y="1829370"/>
            <a:ext cx="6347355" cy="360000"/>
          </a:xfrm>
          <a:prstGeom prst="rect">
            <a:avLst/>
          </a:prstGeom>
          <a:solidFill>
            <a:srgbClr val="A8192D"/>
          </a:solidFill>
        </p:spPr>
        <p:txBody>
          <a:bodyPr wrap="square" lIns="144000" tIns="36000" rIns="72000" bIns="36000" rtlCol="0" anchor="ctr" anchorCtr="0">
            <a:noAutofit/>
          </a:bodyPr>
          <a:lstStyle/>
          <a:p>
            <a:pPr defTabSz="822960" rtl="0">
              <a:defRPr/>
            </a:pPr>
            <a:r>
              <a:rPr lang="en-GB" sz="1400" b="1">
                <a:solidFill>
                  <a:schemeClr val="bg1"/>
                </a:solidFill>
                <a:ea typeface="Times New Roman" panose="02020603050405020304" pitchFamily="18" charset="0"/>
                <a:cs typeface="Times New Roman" panose="02020603050405020304" pitchFamily="18" charset="0"/>
              </a:rPr>
              <a:t>State Civil Protection Plan</a:t>
            </a:r>
            <a:endParaRPr lang="en-gb" sz="1400" b="1">
              <a:solidFill>
                <a:schemeClr val="bg1"/>
              </a:solidFill>
              <a:ea typeface="Times New Roman" panose="02020603050405020304" pitchFamily="18" charset="0"/>
              <a:cs typeface="Times New Roman" panose="02020603050405020304" pitchFamily="18" charset="0"/>
            </a:endParaRPr>
          </a:p>
        </p:txBody>
      </p:sp>
      <p:sp>
        <p:nvSpPr>
          <p:cNvPr id="28" name="Rectangle 27">
            <a:extLst>
              <a:ext uri="{FF2B5EF4-FFF2-40B4-BE49-F238E27FC236}">
                <a16:creationId xmlns:a16="http://schemas.microsoft.com/office/drawing/2014/main" id="{44A18395-B644-1BDE-1D08-F115F090DB14}"/>
              </a:ext>
            </a:extLst>
          </p:cNvPr>
          <p:cNvSpPr/>
          <p:nvPr/>
        </p:nvSpPr>
        <p:spPr>
          <a:xfrm>
            <a:off x="442913" y="2251563"/>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r>
              <a:rPr lang="en-gb" sz="1400"/>
              <a:t>Potential risks</a:t>
            </a:r>
          </a:p>
        </p:txBody>
      </p:sp>
      <p:sp>
        <p:nvSpPr>
          <p:cNvPr id="29" name="Rectangle 28">
            <a:extLst>
              <a:ext uri="{FF2B5EF4-FFF2-40B4-BE49-F238E27FC236}">
                <a16:creationId xmlns:a16="http://schemas.microsoft.com/office/drawing/2014/main" id="{9694AFC2-83A7-1622-FF0D-CAA608337B5E}"/>
              </a:ext>
            </a:extLst>
          </p:cNvPr>
          <p:cNvSpPr/>
          <p:nvPr/>
        </p:nvSpPr>
        <p:spPr>
          <a:xfrm>
            <a:off x="442913" y="2601756"/>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gb" sz="1400"/>
              <a:t>Risk assessment</a:t>
            </a:r>
          </a:p>
        </p:txBody>
      </p:sp>
      <p:sp>
        <p:nvSpPr>
          <p:cNvPr id="33" name="Rectangle 32">
            <a:extLst>
              <a:ext uri="{FF2B5EF4-FFF2-40B4-BE49-F238E27FC236}">
                <a16:creationId xmlns:a16="http://schemas.microsoft.com/office/drawing/2014/main" id="{2E6F1176-869E-B642-37E9-B0306CA30288}"/>
              </a:ext>
            </a:extLst>
          </p:cNvPr>
          <p:cNvSpPr/>
          <p:nvPr/>
        </p:nvSpPr>
        <p:spPr>
          <a:xfrm>
            <a:off x="442913" y="2951949"/>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lv-LV" sz="1400"/>
              <a:t>P</a:t>
            </a:r>
            <a:r>
              <a:rPr lang="en-GB" sz="1400" err="1"/>
              <a:t>reventive</a:t>
            </a:r>
            <a:r>
              <a:rPr lang="en-gb" sz="1400"/>
              <a:t>, preparedness, response and </a:t>
            </a:r>
            <a:r>
              <a:rPr lang="en-GB" sz="1400"/>
              <a:t>elimination of consequences</a:t>
            </a:r>
            <a:r>
              <a:rPr lang="en-gb" sz="1400"/>
              <a:t> measures</a:t>
            </a:r>
          </a:p>
        </p:txBody>
      </p:sp>
      <p:sp>
        <p:nvSpPr>
          <p:cNvPr id="34" name="Rectangle 33">
            <a:extLst>
              <a:ext uri="{FF2B5EF4-FFF2-40B4-BE49-F238E27FC236}">
                <a16:creationId xmlns:a16="http://schemas.microsoft.com/office/drawing/2014/main" id="{A8D0F764-24AA-5BAB-8270-91CEC7751B79}"/>
              </a:ext>
            </a:extLst>
          </p:cNvPr>
          <p:cNvSpPr/>
          <p:nvPr/>
        </p:nvSpPr>
        <p:spPr>
          <a:xfrm>
            <a:off x="442913" y="3302141"/>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lv-LV" sz="1400"/>
              <a:t>I</a:t>
            </a:r>
            <a:r>
              <a:rPr lang="en-US" sz="1400" err="1"/>
              <a:t>ncident</a:t>
            </a:r>
            <a:r>
              <a:rPr lang="en-US" sz="1400"/>
              <a:t> commander</a:t>
            </a:r>
            <a:r>
              <a:rPr lang="lv-LV" sz="1400"/>
              <a:t>s</a:t>
            </a:r>
            <a:r>
              <a:rPr lang="en-US" sz="1400"/>
              <a:t> of response and elimination of consequences operations</a:t>
            </a:r>
            <a:endParaRPr lang="en-gb" sz="1400"/>
          </a:p>
        </p:txBody>
      </p:sp>
      <p:sp>
        <p:nvSpPr>
          <p:cNvPr id="35" name="Rectangle 34">
            <a:extLst>
              <a:ext uri="{FF2B5EF4-FFF2-40B4-BE49-F238E27FC236}">
                <a16:creationId xmlns:a16="http://schemas.microsoft.com/office/drawing/2014/main" id="{F081AD02-90FD-3FC1-F610-A41FCC2FB950}"/>
              </a:ext>
            </a:extLst>
          </p:cNvPr>
          <p:cNvSpPr/>
          <p:nvPr/>
        </p:nvSpPr>
        <p:spPr>
          <a:xfrm rot="5400000">
            <a:off x="298913"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36" name="Rectangle 35">
            <a:extLst>
              <a:ext uri="{FF2B5EF4-FFF2-40B4-BE49-F238E27FC236}">
                <a16:creationId xmlns:a16="http://schemas.microsoft.com/office/drawing/2014/main" id="{87942B9C-99D6-B14A-EB93-DE67A387C608}"/>
              </a:ext>
            </a:extLst>
          </p:cNvPr>
          <p:cNvSpPr/>
          <p:nvPr/>
        </p:nvSpPr>
        <p:spPr>
          <a:xfrm rot="5400000">
            <a:off x="6713396" y="1973370"/>
            <a:ext cx="360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grpSp>
        <p:nvGrpSpPr>
          <p:cNvPr id="87" name="Group 86">
            <a:extLst>
              <a:ext uri="{FF2B5EF4-FFF2-40B4-BE49-F238E27FC236}">
                <a16:creationId xmlns:a16="http://schemas.microsoft.com/office/drawing/2014/main" id="{3E9CEFB6-7063-23FE-C68F-CE74EA719DEC}"/>
              </a:ext>
            </a:extLst>
          </p:cNvPr>
          <p:cNvGrpSpPr/>
          <p:nvPr/>
        </p:nvGrpSpPr>
        <p:grpSpPr>
          <a:xfrm>
            <a:off x="440462" y="3658221"/>
            <a:ext cx="576000" cy="575097"/>
            <a:chOff x="440462" y="3658221"/>
            <a:chExt cx="576000" cy="575097"/>
          </a:xfrm>
        </p:grpSpPr>
        <p:sp>
          <p:nvSpPr>
            <p:cNvPr id="53" name="Rectangle 52">
              <a:extLst>
                <a:ext uri="{FF2B5EF4-FFF2-40B4-BE49-F238E27FC236}">
                  <a16:creationId xmlns:a16="http://schemas.microsoft.com/office/drawing/2014/main" id="{5EF12559-BE2E-576B-038D-E2C7A1B20582}"/>
                </a:ext>
              </a:extLst>
            </p:cNvPr>
            <p:cNvSpPr/>
            <p:nvPr/>
          </p:nvSpPr>
          <p:spPr>
            <a:xfrm>
              <a:off x="440462" y="3658221"/>
              <a:ext cx="576000" cy="57509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4" name="L-Shape 53">
              <a:extLst>
                <a:ext uri="{FF2B5EF4-FFF2-40B4-BE49-F238E27FC236}">
                  <a16:creationId xmlns:a16="http://schemas.microsoft.com/office/drawing/2014/main" id="{39685821-24D3-DF28-56AC-8B1021756E17}"/>
                </a:ext>
              </a:extLst>
            </p:cNvPr>
            <p:cNvSpPr/>
            <p:nvPr/>
          </p:nvSpPr>
          <p:spPr>
            <a:xfrm rot="13500000">
              <a:off x="573497" y="383399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4" name="Rectangle 73">
            <a:extLst>
              <a:ext uri="{FF2B5EF4-FFF2-40B4-BE49-F238E27FC236}">
                <a16:creationId xmlns:a16="http://schemas.microsoft.com/office/drawing/2014/main" id="{1170A1F8-6836-7EF0-4E6F-697FD346D741}"/>
              </a:ext>
            </a:extLst>
          </p:cNvPr>
          <p:cNvSpPr/>
          <p:nvPr/>
        </p:nvSpPr>
        <p:spPr>
          <a:xfrm>
            <a:off x="1016462" y="3657055"/>
            <a:ext cx="2536351"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National early </a:t>
            </a:r>
            <a:br>
              <a:rPr lang="en-US" sz="1200" kern="100" spc="10">
                <a:solidFill>
                  <a:schemeClr val="tx1"/>
                </a:solidFill>
                <a:cs typeface="Times New Roman"/>
              </a:rPr>
            </a:br>
            <a:r>
              <a:rPr lang="en-gb" sz="1200" kern="100" spc="10">
                <a:solidFill>
                  <a:schemeClr val="tx1"/>
                </a:solidFill>
                <a:cs typeface="Times New Roman"/>
              </a:rPr>
              <a:t>warning system</a:t>
            </a:r>
          </a:p>
        </p:txBody>
      </p:sp>
      <p:sp>
        <p:nvSpPr>
          <p:cNvPr id="75" name="Rectangle 74">
            <a:extLst>
              <a:ext uri="{FF2B5EF4-FFF2-40B4-BE49-F238E27FC236}">
                <a16:creationId xmlns:a16="http://schemas.microsoft.com/office/drawing/2014/main" id="{C67A177E-02E9-E513-71FE-F516254B5B21}"/>
              </a:ext>
            </a:extLst>
          </p:cNvPr>
          <p:cNvSpPr/>
          <p:nvPr/>
        </p:nvSpPr>
        <p:spPr>
          <a:xfrm>
            <a:off x="1016462" y="4303116"/>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lv-LV" sz="1200" kern="100" spc="10">
                <a:solidFill>
                  <a:schemeClr val="tx1"/>
                </a:solidFill>
                <a:cs typeface="Times New Roman"/>
              </a:rPr>
              <a:t>I</a:t>
            </a:r>
            <a:r>
              <a:rPr lang="en-gb" sz="1200" kern="100" spc="10" err="1">
                <a:solidFill>
                  <a:schemeClr val="tx1"/>
                </a:solidFill>
                <a:cs typeface="Times New Roman"/>
              </a:rPr>
              <a:t>nvolved</a:t>
            </a:r>
            <a:r>
              <a:rPr lang="en-gb" sz="1200" kern="100" spc="10">
                <a:solidFill>
                  <a:schemeClr val="tx1"/>
                </a:solidFill>
                <a:cs typeface="Times New Roman"/>
              </a:rPr>
              <a:t> </a:t>
            </a:r>
            <a:r>
              <a:rPr lang="lv-LV" sz="1200" kern="100" spc="10">
                <a:solidFill>
                  <a:schemeClr val="tx1"/>
                </a:solidFill>
                <a:cs typeface="Times New Roman"/>
              </a:rPr>
              <a:t>i</a:t>
            </a:r>
            <a:r>
              <a:rPr lang="en-gb" sz="1200" kern="100" spc="10" err="1">
                <a:solidFill>
                  <a:schemeClr val="tx1"/>
                </a:solidFill>
                <a:cs typeface="Times New Roman"/>
              </a:rPr>
              <a:t>nstitution</a:t>
            </a:r>
            <a:br>
              <a:rPr lang="en-US" sz="1200" kern="100" spc="10">
                <a:solidFill>
                  <a:schemeClr val="tx1"/>
                </a:solidFill>
                <a:cs typeface="Times New Roman"/>
              </a:rPr>
            </a:br>
            <a:r>
              <a:rPr lang="en-gb" sz="1200" kern="100" spc="10">
                <a:solidFill>
                  <a:schemeClr val="tx1"/>
                </a:solidFill>
                <a:cs typeface="Times New Roman"/>
              </a:rPr>
              <a:t>notification procedures</a:t>
            </a:r>
          </a:p>
        </p:txBody>
      </p:sp>
      <p:sp>
        <p:nvSpPr>
          <p:cNvPr id="77" name="Rectangle 76">
            <a:extLst>
              <a:ext uri="{FF2B5EF4-FFF2-40B4-BE49-F238E27FC236}">
                <a16:creationId xmlns:a16="http://schemas.microsoft.com/office/drawing/2014/main" id="{314D8D8F-B7D4-EAAE-D30E-252B00FF4285}"/>
              </a:ext>
            </a:extLst>
          </p:cNvPr>
          <p:cNvSpPr/>
          <p:nvPr/>
        </p:nvSpPr>
        <p:spPr>
          <a:xfrm>
            <a:off x="1016462" y="5595238"/>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Crisis communication </a:t>
            </a:r>
            <a:r>
              <a:rPr lang="lv-LV" sz="1200" kern="100" spc="10">
                <a:solidFill>
                  <a:schemeClr val="tx1"/>
                </a:solidFill>
                <a:cs typeface="Times New Roman"/>
              </a:rPr>
              <a:t>p</a:t>
            </a:r>
            <a:r>
              <a:rPr lang="en-GB" sz="1200" kern="100" spc="10" err="1">
                <a:solidFill>
                  <a:schemeClr val="tx1"/>
                </a:solidFill>
                <a:cs typeface="Times New Roman"/>
              </a:rPr>
              <a:t>rocedure</a:t>
            </a:r>
            <a:r>
              <a:rPr lang="lv-LV" sz="1200" kern="100" spc="10">
                <a:solidFill>
                  <a:schemeClr val="tx1"/>
                </a:solidFill>
                <a:cs typeface="Times New Roman"/>
              </a:rPr>
              <a:t>s</a:t>
            </a:r>
            <a:endParaRPr lang="en-gb" sz="1200" kern="100" spc="10">
              <a:solidFill>
                <a:schemeClr val="tx1"/>
              </a:solidFill>
              <a:cs typeface="Times New Roman"/>
            </a:endParaRPr>
          </a:p>
        </p:txBody>
      </p:sp>
      <p:sp>
        <p:nvSpPr>
          <p:cNvPr id="78" name="Rectangle 77">
            <a:extLst>
              <a:ext uri="{FF2B5EF4-FFF2-40B4-BE49-F238E27FC236}">
                <a16:creationId xmlns:a16="http://schemas.microsoft.com/office/drawing/2014/main" id="{6551150D-9873-82B0-44E8-5190D9C2D304}"/>
              </a:ext>
            </a:extLst>
          </p:cNvPr>
          <p:cNvSpPr/>
          <p:nvPr/>
        </p:nvSpPr>
        <p:spPr>
          <a:xfrm>
            <a:off x="1016462" y="4949177"/>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Information exchange platform</a:t>
            </a:r>
            <a:br>
              <a:rPr lang="en-US" sz="1200" kern="100" spc="10">
                <a:solidFill>
                  <a:schemeClr val="tx1"/>
                </a:solidFill>
                <a:cs typeface="Times New Roman"/>
              </a:rPr>
            </a:br>
            <a:r>
              <a:rPr lang="en-gb" sz="1200" kern="100" spc="10">
                <a:solidFill>
                  <a:schemeClr val="tx1"/>
                </a:solidFill>
                <a:cs typeface="Times New Roman"/>
              </a:rPr>
              <a:t>in the event of a disaster or threat thereof</a:t>
            </a:r>
          </a:p>
        </p:txBody>
      </p:sp>
      <p:sp>
        <p:nvSpPr>
          <p:cNvPr id="79" name="Rectangle 78">
            <a:extLst>
              <a:ext uri="{FF2B5EF4-FFF2-40B4-BE49-F238E27FC236}">
                <a16:creationId xmlns:a16="http://schemas.microsoft.com/office/drawing/2014/main" id="{F894A031-0F31-B105-0AAA-4CF219846086}"/>
              </a:ext>
            </a:extLst>
          </p:cNvPr>
          <p:cNvSpPr/>
          <p:nvPr/>
        </p:nvSpPr>
        <p:spPr>
          <a:xfrm>
            <a:off x="4205172" y="4303246"/>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Resources for</a:t>
            </a:r>
            <a:r>
              <a:rPr lang="lv-LV" sz="1200" kern="100" spc="10">
                <a:solidFill>
                  <a:schemeClr val="tx1"/>
                </a:solidFill>
                <a:cs typeface="Times New Roman"/>
              </a:rPr>
              <a:t> </a:t>
            </a:r>
            <a:r>
              <a:rPr lang="lv-LV" sz="1200" kern="100" spc="10" err="1">
                <a:solidFill>
                  <a:schemeClr val="tx1"/>
                </a:solidFill>
                <a:cs typeface="Times New Roman"/>
              </a:rPr>
              <a:t>provision</a:t>
            </a:r>
            <a:r>
              <a:rPr lang="lv-LV" sz="1200" kern="100" spc="10">
                <a:solidFill>
                  <a:schemeClr val="tx1"/>
                </a:solidFill>
                <a:cs typeface="Times New Roman"/>
              </a:rPr>
              <a:t> </a:t>
            </a:r>
            <a:r>
              <a:rPr lang="lv-LV" sz="1200" kern="100" spc="10" err="1">
                <a:solidFill>
                  <a:schemeClr val="tx1"/>
                </a:solidFill>
                <a:cs typeface="Times New Roman"/>
              </a:rPr>
              <a:t>of</a:t>
            </a:r>
            <a:r>
              <a:rPr lang="lv-LV" sz="1200" kern="100" spc="10">
                <a:solidFill>
                  <a:schemeClr val="tx1"/>
                </a:solidFill>
                <a:cs typeface="Times New Roman"/>
              </a:rPr>
              <a:t> </a:t>
            </a:r>
            <a:r>
              <a:rPr lang="en-gb" sz="1200" kern="100" spc="10">
                <a:solidFill>
                  <a:schemeClr val="tx1"/>
                </a:solidFill>
                <a:cs typeface="Times New Roman"/>
              </a:rPr>
              <a:t>international assistance</a:t>
            </a:r>
          </a:p>
        </p:txBody>
      </p:sp>
      <p:sp>
        <p:nvSpPr>
          <p:cNvPr id="80" name="Rectangle 79">
            <a:extLst>
              <a:ext uri="{FF2B5EF4-FFF2-40B4-BE49-F238E27FC236}">
                <a16:creationId xmlns:a16="http://schemas.microsoft.com/office/drawing/2014/main" id="{570B6498-E0FA-658E-4D49-FD9D29C589E3}"/>
              </a:ext>
            </a:extLst>
          </p:cNvPr>
          <p:cNvSpPr/>
          <p:nvPr/>
        </p:nvSpPr>
        <p:spPr>
          <a:xfrm>
            <a:off x="4205172" y="4948892"/>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lv-LV" sz="1200" kern="100" spc="10">
                <a:solidFill>
                  <a:schemeClr val="tx1"/>
                </a:solidFill>
                <a:cs typeface="Times New Roman"/>
              </a:rPr>
              <a:t>O</a:t>
            </a:r>
            <a:r>
              <a:rPr lang="en-US" sz="1200" kern="100" spc="10" err="1">
                <a:solidFill>
                  <a:schemeClr val="tx1"/>
                </a:solidFill>
                <a:cs typeface="Times New Roman"/>
              </a:rPr>
              <a:t>peration</a:t>
            </a:r>
            <a:r>
              <a:rPr lang="en-US" sz="1200" kern="100" spc="10">
                <a:solidFill>
                  <a:schemeClr val="tx1"/>
                </a:solidFill>
                <a:cs typeface="Times New Roman"/>
              </a:rPr>
              <a:t> of the system of civil protection in the event of a military invasion or war</a:t>
            </a:r>
            <a:endParaRPr lang="en-gb" sz="1200" kern="100" spc="10">
              <a:solidFill>
                <a:schemeClr val="tx1"/>
              </a:solidFill>
              <a:cs typeface="Times New Roman"/>
            </a:endParaRPr>
          </a:p>
        </p:txBody>
      </p:sp>
      <p:sp>
        <p:nvSpPr>
          <p:cNvPr id="81" name="Rectangle 80">
            <a:extLst>
              <a:ext uri="{FF2B5EF4-FFF2-40B4-BE49-F238E27FC236}">
                <a16:creationId xmlns:a16="http://schemas.microsoft.com/office/drawing/2014/main" id="{94091B5D-4334-BE94-3E85-4663D5928A77}"/>
              </a:ext>
            </a:extLst>
          </p:cNvPr>
          <p:cNvSpPr/>
          <p:nvPr/>
        </p:nvSpPr>
        <p:spPr>
          <a:xfrm>
            <a:off x="4205172" y="5594539"/>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Description</a:t>
            </a:r>
            <a:r>
              <a:rPr lang="lv-LV" sz="1200" kern="100" spc="10">
                <a:solidFill>
                  <a:schemeClr val="tx1"/>
                </a:solidFill>
                <a:cs typeface="Times New Roman"/>
              </a:rPr>
              <a:t> </a:t>
            </a:r>
            <a:r>
              <a:rPr lang="en-gb" sz="1200" kern="100" spc="10">
                <a:solidFill>
                  <a:schemeClr val="tx1"/>
                </a:solidFill>
                <a:cs typeface="Times New Roman"/>
              </a:rPr>
              <a:t>and timetable of the planned </a:t>
            </a:r>
            <a:r>
              <a:rPr lang="lv-LV" sz="1200" kern="100" spc="10" err="1">
                <a:solidFill>
                  <a:schemeClr val="tx1"/>
                </a:solidFill>
                <a:cs typeface="Times New Roman"/>
              </a:rPr>
              <a:t>civil</a:t>
            </a:r>
            <a:r>
              <a:rPr lang="lv-LV" sz="1200" kern="100" spc="10">
                <a:solidFill>
                  <a:schemeClr val="tx1"/>
                </a:solidFill>
                <a:cs typeface="Times New Roman"/>
              </a:rPr>
              <a:t> </a:t>
            </a:r>
            <a:r>
              <a:rPr lang="lv-LV" sz="1200" kern="100" spc="10" err="1">
                <a:solidFill>
                  <a:schemeClr val="tx1"/>
                </a:solidFill>
                <a:cs typeface="Times New Roman"/>
              </a:rPr>
              <a:t>protection</a:t>
            </a:r>
            <a:r>
              <a:rPr lang="en-gb" sz="1200" kern="100" spc="10">
                <a:solidFill>
                  <a:schemeClr val="tx1"/>
                </a:solidFill>
                <a:cs typeface="Times New Roman"/>
              </a:rPr>
              <a:t> training </a:t>
            </a:r>
          </a:p>
        </p:txBody>
      </p:sp>
      <p:grpSp>
        <p:nvGrpSpPr>
          <p:cNvPr id="89" name="Group 88">
            <a:extLst>
              <a:ext uri="{FF2B5EF4-FFF2-40B4-BE49-F238E27FC236}">
                <a16:creationId xmlns:a16="http://schemas.microsoft.com/office/drawing/2014/main" id="{488753B2-E69D-A02A-D079-8A62C0B593B5}"/>
              </a:ext>
            </a:extLst>
          </p:cNvPr>
          <p:cNvGrpSpPr/>
          <p:nvPr/>
        </p:nvGrpSpPr>
        <p:grpSpPr>
          <a:xfrm>
            <a:off x="3630560" y="5594539"/>
            <a:ext cx="576000" cy="576263"/>
            <a:chOff x="442913" y="5595238"/>
            <a:chExt cx="576000" cy="576263"/>
          </a:xfrm>
        </p:grpSpPr>
        <p:sp>
          <p:nvSpPr>
            <p:cNvPr id="90" name="Rectangle 89">
              <a:extLst>
                <a:ext uri="{FF2B5EF4-FFF2-40B4-BE49-F238E27FC236}">
                  <a16:creationId xmlns:a16="http://schemas.microsoft.com/office/drawing/2014/main" id="{28CBF070-F51F-59A4-842A-CFF85EF436A3}"/>
                </a:ext>
              </a:extLst>
            </p:cNvPr>
            <p:cNvSpPr/>
            <p:nvPr/>
          </p:nvSpPr>
          <p:spPr>
            <a:xfrm>
              <a:off x="442913" y="5595238"/>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1" name="L-Shape 90">
              <a:extLst>
                <a:ext uri="{FF2B5EF4-FFF2-40B4-BE49-F238E27FC236}">
                  <a16:creationId xmlns:a16="http://schemas.microsoft.com/office/drawing/2014/main" id="{C346F0D0-FBBD-3268-EBE7-18F41C2D4CE9}"/>
                </a:ext>
              </a:extLst>
            </p:cNvPr>
            <p:cNvSpPr/>
            <p:nvPr/>
          </p:nvSpPr>
          <p:spPr>
            <a:xfrm rot="13500000">
              <a:off x="575948" y="577130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2" name="Group 91">
            <a:extLst>
              <a:ext uri="{FF2B5EF4-FFF2-40B4-BE49-F238E27FC236}">
                <a16:creationId xmlns:a16="http://schemas.microsoft.com/office/drawing/2014/main" id="{A8F7375C-32A3-BB97-3BA1-E98792ECC3E4}"/>
              </a:ext>
            </a:extLst>
          </p:cNvPr>
          <p:cNvGrpSpPr/>
          <p:nvPr/>
        </p:nvGrpSpPr>
        <p:grpSpPr>
          <a:xfrm>
            <a:off x="3630560" y="4948478"/>
            <a:ext cx="576000" cy="576263"/>
            <a:chOff x="442913" y="4949177"/>
            <a:chExt cx="576000" cy="576263"/>
          </a:xfrm>
        </p:grpSpPr>
        <p:sp>
          <p:nvSpPr>
            <p:cNvPr id="93" name="Rectangle 92">
              <a:extLst>
                <a:ext uri="{FF2B5EF4-FFF2-40B4-BE49-F238E27FC236}">
                  <a16:creationId xmlns:a16="http://schemas.microsoft.com/office/drawing/2014/main" id="{4194B9E0-F78D-0496-CC5C-972805E70A2A}"/>
                </a:ext>
              </a:extLst>
            </p:cNvPr>
            <p:cNvSpPr/>
            <p:nvPr/>
          </p:nvSpPr>
          <p:spPr>
            <a:xfrm>
              <a:off x="442913" y="4949177"/>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4" name="L-Shape 93">
              <a:extLst>
                <a:ext uri="{FF2B5EF4-FFF2-40B4-BE49-F238E27FC236}">
                  <a16:creationId xmlns:a16="http://schemas.microsoft.com/office/drawing/2014/main" id="{19C83FB6-E24E-28C8-9350-BB2EA80F157D}"/>
                </a:ext>
              </a:extLst>
            </p:cNvPr>
            <p:cNvSpPr/>
            <p:nvPr/>
          </p:nvSpPr>
          <p:spPr>
            <a:xfrm rot="13500000">
              <a:off x="575948" y="512553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5" name="Group 94">
            <a:extLst>
              <a:ext uri="{FF2B5EF4-FFF2-40B4-BE49-F238E27FC236}">
                <a16:creationId xmlns:a16="http://schemas.microsoft.com/office/drawing/2014/main" id="{4EEFDCDC-EBE9-5665-2952-5B1BD1A32D5D}"/>
              </a:ext>
            </a:extLst>
          </p:cNvPr>
          <p:cNvGrpSpPr/>
          <p:nvPr/>
        </p:nvGrpSpPr>
        <p:grpSpPr>
          <a:xfrm>
            <a:off x="3630560" y="4302417"/>
            <a:ext cx="576000" cy="576263"/>
            <a:chOff x="442913" y="4303116"/>
            <a:chExt cx="576000" cy="576263"/>
          </a:xfrm>
        </p:grpSpPr>
        <p:sp>
          <p:nvSpPr>
            <p:cNvPr id="96" name="Rectangle 95">
              <a:extLst>
                <a:ext uri="{FF2B5EF4-FFF2-40B4-BE49-F238E27FC236}">
                  <a16:creationId xmlns:a16="http://schemas.microsoft.com/office/drawing/2014/main" id="{3FC28010-F5D6-A6C7-E6B2-C6D2C9FECBDD}"/>
                </a:ext>
              </a:extLst>
            </p:cNvPr>
            <p:cNvSpPr/>
            <p:nvPr/>
          </p:nvSpPr>
          <p:spPr>
            <a:xfrm>
              <a:off x="442913" y="4303116"/>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7" name="L-Shape 96">
              <a:extLst>
                <a:ext uri="{FF2B5EF4-FFF2-40B4-BE49-F238E27FC236}">
                  <a16:creationId xmlns:a16="http://schemas.microsoft.com/office/drawing/2014/main" id="{067E863F-B189-B824-7A1E-FEB2D8E7E166}"/>
                </a:ext>
              </a:extLst>
            </p:cNvPr>
            <p:cNvSpPr/>
            <p:nvPr/>
          </p:nvSpPr>
          <p:spPr>
            <a:xfrm rot="13500000">
              <a:off x="575948" y="447976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6" name="Rectangle 75">
            <a:extLst>
              <a:ext uri="{FF2B5EF4-FFF2-40B4-BE49-F238E27FC236}">
                <a16:creationId xmlns:a16="http://schemas.microsoft.com/office/drawing/2014/main" id="{7BBC6110-BA80-66C9-711A-C3D76CC8605F}"/>
              </a:ext>
            </a:extLst>
          </p:cNvPr>
          <p:cNvSpPr/>
          <p:nvPr/>
        </p:nvSpPr>
        <p:spPr>
          <a:xfrm>
            <a:off x="4205264" y="3657600"/>
            <a:ext cx="2585003"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Evacuation of Latvian nationals </a:t>
            </a:r>
            <a:r>
              <a:rPr lang="en-US" sz="1200" kern="100" spc="10">
                <a:solidFill>
                  <a:schemeClr val="tx1"/>
                </a:solidFill>
                <a:cs typeface="Times New Roman"/>
              </a:rPr>
              <a:t>from a foreign country affected by </a:t>
            </a:r>
            <a:r>
              <a:rPr lang="lv-LV" sz="1200" kern="100" spc="10">
                <a:solidFill>
                  <a:schemeClr val="tx1"/>
                </a:solidFill>
                <a:cs typeface="Times New Roman"/>
              </a:rPr>
              <a:t>a</a:t>
            </a:r>
            <a:r>
              <a:rPr lang="en-US" sz="1200" kern="100" spc="10">
                <a:solidFill>
                  <a:schemeClr val="tx1"/>
                </a:solidFill>
                <a:cs typeface="Times New Roman"/>
              </a:rPr>
              <a:t> disaster</a:t>
            </a:r>
            <a:endParaRPr lang="en-gb" sz="1200" kern="100" spc="10">
              <a:solidFill>
                <a:schemeClr val="tx1"/>
              </a:solidFill>
              <a:cs typeface="Times New Roman"/>
            </a:endParaRPr>
          </a:p>
        </p:txBody>
      </p:sp>
      <p:grpSp>
        <p:nvGrpSpPr>
          <p:cNvPr id="98" name="Group 97">
            <a:extLst>
              <a:ext uri="{FF2B5EF4-FFF2-40B4-BE49-F238E27FC236}">
                <a16:creationId xmlns:a16="http://schemas.microsoft.com/office/drawing/2014/main" id="{88BE07E1-AD47-FE58-C6C5-7DA7BED804DC}"/>
              </a:ext>
            </a:extLst>
          </p:cNvPr>
          <p:cNvGrpSpPr/>
          <p:nvPr/>
        </p:nvGrpSpPr>
        <p:grpSpPr>
          <a:xfrm>
            <a:off x="3630560" y="3657522"/>
            <a:ext cx="576000" cy="575097"/>
            <a:chOff x="440462" y="3658221"/>
            <a:chExt cx="576000" cy="575097"/>
          </a:xfrm>
        </p:grpSpPr>
        <p:sp>
          <p:nvSpPr>
            <p:cNvPr id="99" name="Rectangle 98">
              <a:extLst>
                <a:ext uri="{FF2B5EF4-FFF2-40B4-BE49-F238E27FC236}">
                  <a16:creationId xmlns:a16="http://schemas.microsoft.com/office/drawing/2014/main" id="{0679964F-B757-0126-DEEE-256C8182594E}"/>
                </a:ext>
              </a:extLst>
            </p:cNvPr>
            <p:cNvSpPr/>
            <p:nvPr/>
          </p:nvSpPr>
          <p:spPr>
            <a:xfrm>
              <a:off x="440462" y="3658221"/>
              <a:ext cx="576000" cy="57509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0" name="L-Shape 99">
              <a:extLst>
                <a:ext uri="{FF2B5EF4-FFF2-40B4-BE49-F238E27FC236}">
                  <a16:creationId xmlns:a16="http://schemas.microsoft.com/office/drawing/2014/main" id="{F48E5BE5-E9A7-C0AF-13BE-F7E8DFA47B4F}"/>
                </a:ext>
              </a:extLst>
            </p:cNvPr>
            <p:cNvSpPr/>
            <p:nvPr/>
          </p:nvSpPr>
          <p:spPr>
            <a:xfrm rot="13500000">
              <a:off x="573497" y="383399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32" name="Group 131">
            <a:extLst>
              <a:ext uri="{FF2B5EF4-FFF2-40B4-BE49-F238E27FC236}">
                <a16:creationId xmlns:a16="http://schemas.microsoft.com/office/drawing/2014/main" id="{916DCBBB-40AC-CB72-D782-374D03857D2F}"/>
              </a:ext>
            </a:extLst>
          </p:cNvPr>
          <p:cNvGrpSpPr/>
          <p:nvPr/>
        </p:nvGrpSpPr>
        <p:grpSpPr>
          <a:xfrm>
            <a:off x="6857396" y="4177153"/>
            <a:ext cx="576000" cy="446088"/>
            <a:chOff x="10961902" y="4194175"/>
            <a:chExt cx="576000" cy="446088"/>
          </a:xfrm>
        </p:grpSpPr>
        <p:sp>
          <p:nvSpPr>
            <p:cNvPr id="113" name="Rectangle 112">
              <a:extLst>
                <a:ext uri="{FF2B5EF4-FFF2-40B4-BE49-F238E27FC236}">
                  <a16:creationId xmlns:a16="http://schemas.microsoft.com/office/drawing/2014/main" id="{684C31D5-82AC-987C-A550-E7D8E25A5E6D}"/>
                </a:ext>
              </a:extLst>
            </p:cNvPr>
            <p:cNvSpPr/>
            <p:nvPr/>
          </p:nvSpPr>
          <p:spPr>
            <a:xfrm>
              <a:off x="10961902" y="4194175"/>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4" name="L-Shape 113">
              <a:extLst>
                <a:ext uri="{FF2B5EF4-FFF2-40B4-BE49-F238E27FC236}">
                  <a16:creationId xmlns:a16="http://schemas.microsoft.com/office/drawing/2014/main" id="{5C1A735E-712C-C68B-BB32-3687589A4063}"/>
                </a:ext>
              </a:extLst>
            </p:cNvPr>
            <p:cNvSpPr/>
            <p:nvPr/>
          </p:nvSpPr>
          <p:spPr>
            <a:xfrm rot="13500000">
              <a:off x="11094937" y="4296674"/>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30" name="Group 129">
            <a:extLst>
              <a:ext uri="{FF2B5EF4-FFF2-40B4-BE49-F238E27FC236}">
                <a16:creationId xmlns:a16="http://schemas.microsoft.com/office/drawing/2014/main" id="{FAD7FD5B-8D9F-0AF3-470D-AAC77EE25811}"/>
              </a:ext>
            </a:extLst>
          </p:cNvPr>
          <p:cNvGrpSpPr/>
          <p:nvPr/>
        </p:nvGrpSpPr>
        <p:grpSpPr>
          <a:xfrm>
            <a:off x="6857396" y="4693703"/>
            <a:ext cx="576000" cy="446088"/>
            <a:chOff x="11050512" y="4710113"/>
            <a:chExt cx="576000" cy="446088"/>
          </a:xfrm>
        </p:grpSpPr>
        <p:sp>
          <p:nvSpPr>
            <p:cNvPr id="117" name="Rectangle 116">
              <a:extLst>
                <a:ext uri="{FF2B5EF4-FFF2-40B4-BE49-F238E27FC236}">
                  <a16:creationId xmlns:a16="http://schemas.microsoft.com/office/drawing/2014/main" id="{500B6201-F997-E2F2-B8E6-E1EFF3246B14}"/>
                </a:ext>
              </a:extLst>
            </p:cNvPr>
            <p:cNvSpPr/>
            <p:nvPr/>
          </p:nvSpPr>
          <p:spPr>
            <a:xfrm>
              <a:off x="11050512" y="4710113"/>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8" name="L-Shape 117">
              <a:extLst>
                <a:ext uri="{FF2B5EF4-FFF2-40B4-BE49-F238E27FC236}">
                  <a16:creationId xmlns:a16="http://schemas.microsoft.com/office/drawing/2014/main" id="{CB3A4046-F77C-FE09-6961-EBF93E16E703}"/>
                </a:ext>
              </a:extLst>
            </p:cNvPr>
            <p:cNvSpPr/>
            <p:nvPr/>
          </p:nvSpPr>
          <p:spPr>
            <a:xfrm rot="13500000">
              <a:off x="11183547" y="4812612"/>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29" name="Group 128">
            <a:extLst>
              <a:ext uri="{FF2B5EF4-FFF2-40B4-BE49-F238E27FC236}">
                <a16:creationId xmlns:a16="http://schemas.microsoft.com/office/drawing/2014/main" id="{E19A6BF1-A235-FF4C-2DB0-D32164F9C357}"/>
              </a:ext>
            </a:extLst>
          </p:cNvPr>
          <p:cNvGrpSpPr/>
          <p:nvPr/>
        </p:nvGrpSpPr>
        <p:grpSpPr>
          <a:xfrm>
            <a:off x="6857396" y="5210253"/>
            <a:ext cx="576000" cy="446088"/>
            <a:chOff x="11040706" y="5227638"/>
            <a:chExt cx="576000" cy="446088"/>
          </a:xfrm>
          <a:solidFill>
            <a:srgbClr val="CFD6E8"/>
          </a:solidFill>
        </p:grpSpPr>
        <p:sp>
          <p:nvSpPr>
            <p:cNvPr id="121" name="Rectangle 120">
              <a:extLst>
                <a:ext uri="{FF2B5EF4-FFF2-40B4-BE49-F238E27FC236}">
                  <a16:creationId xmlns:a16="http://schemas.microsoft.com/office/drawing/2014/main" id="{0C6D96B8-45C9-E7AF-CE7A-7926B50479BC}"/>
                </a:ext>
              </a:extLst>
            </p:cNvPr>
            <p:cNvSpPr/>
            <p:nvPr/>
          </p:nvSpPr>
          <p:spPr>
            <a:xfrm>
              <a:off x="11040706" y="5227638"/>
              <a:ext cx="576000" cy="446088"/>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22" name="L-Shape 121">
              <a:extLst>
                <a:ext uri="{FF2B5EF4-FFF2-40B4-BE49-F238E27FC236}">
                  <a16:creationId xmlns:a16="http://schemas.microsoft.com/office/drawing/2014/main" id="{75C53CB9-4BFE-45CF-5D20-6B20E2B83892}"/>
                </a:ext>
              </a:extLst>
            </p:cNvPr>
            <p:cNvSpPr/>
            <p:nvPr/>
          </p:nvSpPr>
          <p:spPr>
            <a:xfrm rot="13500000">
              <a:off x="11173741" y="5330137"/>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28" name="Group 127">
            <a:extLst>
              <a:ext uri="{FF2B5EF4-FFF2-40B4-BE49-F238E27FC236}">
                <a16:creationId xmlns:a16="http://schemas.microsoft.com/office/drawing/2014/main" id="{1BBF61EB-54A3-8665-D91C-30DDDF4098C8}"/>
              </a:ext>
            </a:extLst>
          </p:cNvPr>
          <p:cNvGrpSpPr/>
          <p:nvPr/>
        </p:nvGrpSpPr>
        <p:grpSpPr>
          <a:xfrm>
            <a:off x="6857396" y="5726803"/>
            <a:ext cx="576000" cy="446851"/>
            <a:chOff x="11088149" y="5725349"/>
            <a:chExt cx="576000" cy="446851"/>
          </a:xfrm>
        </p:grpSpPr>
        <p:sp>
          <p:nvSpPr>
            <p:cNvPr id="125" name="Rectangle 124">
              <a:extLst>
                <a:ext uri="{FF2B5EF4-FFF2-40B4-BE49-F238E27FC236}">
                  <a16:creationId xmlns:a16="http://schemas.microsoft.com/office/drawing/2014/main" id="{84B92153-AB66-C681-88B5-B7EB190E8C25}"/>
                </a:ext>
              </a:extLst>
            </p:cNvPr>
            <p:cNvSpPr/>
            <p:nvPr/>
          </p:nvSpPr>
          <p:spPr>
            <a:xfrm>
              <a:off x="11088149" y="5725349"/>
              <a:ext cx="576000" cy="4468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26" name="L-Shape 125">
              <a:extLst>
                <a:ext uri="{FF2B5EF4-FFF2-40B4-BE49-F238E27FC236}">
                  <a16:creationId xmlns:a16="http://schemas.microsoft.com/office/drawing/2014/main" id="{47E228DA-B553-5493-665C-44D1692A9D12}"/>
                </a:ext>
              </a:extLst>
            </p:cNvPr>
            <p:cNvSpPr/>
            <p:nvPr/>
          </p:nvSpPr>
          <p:spPr>
            <a:xfrm rot="13500000">
              <a:off x="11221184" y="582822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134" name="Rectangle 133">
            <a:extLst>
              <a:ext uri="{FF2B5EF4-FFF2-40B4-BE49-F238E27FC236}">
                <a16:creationId xmlns:a16="http://schemas.microsoft.com/office/drawing/2014/main" id="{CFDEC673-F15A-A608-8775-B4A0A0928B31}"/>
              </a:ext>
            </a:extLst>
          </p:cNvPr>
          <p:cNvSpPr/>
          <p:nvPr/>
        </p:nvSpPr>
        <p:spPr>
          <a:xfrm>
            <a:off x="7433375" y="417715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Evacuation of the</a:t>
            </a:r>
            <a:r>
              <a:rPr lang="en-GB" sz="1200" kern="100" spc="10">
                <a:solidFill>
                  <a:schemeClr val="tx1"/>
                </a:solidFill>
                <a:cs typeface="Times New Roman"/>
              </a:rPr>
              <a:t> inhabitants</a:t>
            </a:r>
            <a:r>
              <a:rPr lang="en-gb" sz="1200" kern="100" spc="10">
                <a:solidFill>
                  <a:schemeClr val="tx1"/>
                </a:solidFill>
                <a:cs typeface="Times New Roman"/>
              </a:rPr>
              <a:t> from disaster-prone or affected areas</a:t>
            </a:r>
          </a:p>
        </p:txBody>
      </p:sp>
      <p:sp>
        <p:nvSpPr>
          <p:cNvPr id="136" name="Rectangle 135">
            <a:extLst>
              <a:ext uri="{FF2B5EF4-FFF2-40B4-BE49-F238E27FC236}">
                <a16:creationId xmlns:a16="http://schemas.microsoft.com/office/drawing/2014/main" id="{2828282F-656A-0349-78B5-C46022B059AE}"/>
              </a:ext>
            </a:extLst>
          </p:cNvPr>
          <p:cNvSpPr/>
          <p:nvPr/>
        </p:nvSpPr>
        <p:spPr>
          <a:xfrm>
            <a:off x="7433375" y="469370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Resources to be</a:t>
            </a:r>
            <a:r>
              <a:rPr lang="lv-LV" sz="1200" kern="100" spc="10">
                <a:solidFill>
                  <a:schemeClr val="tx1"/>
                </a:solidFill>
                <a:cs typeface="Times New Roman"/>
              </a:rPr>
              <a:t> </a:t>
            </a:r>
            <a:r>
              <a:rPr lang="en-GB" sz="1200" kern="100" spc="10">
                <a:solidFill>
                  <a:schemeClr val="tx1"/>
                </a:solidFill>
                <a:cs typeface="Times New Roman"/>
              </a:rPr>
              <a:t>used </a:t>
            </a:r>
            <a:endParaRPr lang="en-gb" sz="1200" kern="100" spc="10">
              <a:solidFill>
                <a:schemeClr val="tx1"/>
              </a:solidFill>
              <a:cs typeface="Times New Roman"/>
            </a:endParaRPr>
          </a:p>
        </p:txBody>
      </p:sp>
      <p:sp>
        <p:nvSpPr>
          <p:cNvPr id="137" name="Rectangle 136">
            <a:extLst>
              <a:ext uri="{FF2B5EF4-FFF2-40B4-BE49-F238E27FC236}">
                <a16:creationId xmlns:a16="http://schemas.microsoft.com/office/drawing/2014/main" id="{B47CA079-37BF-9902-F192-1A93144D5175}"/>
              </a:ext>
            </a:extLst>
          </p:cNvPr>
          <p:cNvSpPr/>
          <p:nvPr/>
        </p:nvSpPr>
        <p:spPr>
          <a:xfrm>
            <a:off x="7433375" y="521025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Cooperation with other institutions and services</a:t>
            </a:r>
          </a:p>
        </p:txBody>
      </p:sp>
      <p:sp>
        <p:nvSpPr>
          <p:cNvPr id="138" name="Rectangle 137">
            <a:extLst>
              <a:ext uri="{FF2B5EF4-FFF2-40B4-BE49-F238E27FC236}">
                <a16:creationId xmlns:a16="http://schemas.microsoft.com/office/drawing/2014/main" id="{B972725F-F05A-9AF8-A780-28AAAD7FFF00}"/>
              </a:ext>
            </a:extLst>
          </p:cNvPr>
          <p:cNvSpPr/>
          <p:nvPr/>
        </p:nvSpPr>
        <p:spPr>
          <a:xfrm>
            <a:off x="7433396" y="3660603"/>
            <a:ext cx="4315692"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Administrative-territorial characteristics of the territory</a:t>
            </a:r>
          </a:p>
        </p:txBody>
      </p:sp>
      <p:sp>
        <p:nvSpPr>
          <p:cNvPr id="141" name="Rectangle 140">
            <a:extLst>
              <a:ext uri="{FF2B5EF4-FFF2-40B4-BE49-F238E27FC236}">
                <a16:creationId xmlns:a16="http://schemas.microsoft.com/office/drawing/2014/main" id="{6E1D3BB9-1788-2704-DC25-F283CE60D0B3}"/>
              </a:ext>
            </a:extLst>
          </p:cNvPr>
          <p:cNvSpPr/>
          <p:nvPr/>
        </p:nvSpPr>
        <p:spPr>
          <a:xfrm>
            <a:off x="7433375" y="5727566"/>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Measures in case of military invasion or war</a:t>
            </a:r>
          </a:p>
        </p:txBody>
      </p:sp>
      <p:sp>
        <p:nvSpPr>
          <p:cNvPr id="12" name="Rectangle 11">
            <a:extLst>
              <a:ext uri="{FF2B5EF4-FFF2-40B4-BE49-F238E27FC236}">
                <a16:creationId xmlns:a16="http://schemas.microsoft.com/office/drawing/2014/main" id="{A1BAE779-3E02-D3D6-904F-D3B552E76142}"/>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13" name="Group 12">
            <a:extLst>
              <a:ext uri="{FF2B5EF4-FFF2-40B4-BE49-F238E27FC236}">
                <a16:creationId xmlns:a16="http://schemas.microsoft.com/office/drawing/2014/main" id="{9F306498-CD2F-DF18-9BCA-0A2CE1407E07}"/>
              </a:ext>
            </a:extLst>
          </p:cNvPr>
          <p:cNvGrpSpPr/>
          <p:nvPr/>
        </p:nvGrpSpPr>
        <p:grpSpPr>
          <a:xfrm>
            <a:off x="6167418" y="132067"/>
            <a:ext cx="5590962" cy="224022"/>
            <a:chOff x="5385234" y="125533"/>
            <a:chExt cx="5590962" cy="224022"/>
          </a:xfrm>
        </p:grpSpPr>
        <p:sp>
          <p:nvSpPr>
            <p:cNvPr id="14" name="Rectangle 13">
              <a:extLst>
                <a:ext uri="{FF2B5EF4-FFF2-40B4-BE49-F238E27FC236}">
                  <a16:creationId xmlns:a16="http://schemas.microsoft.com/office/drawing/2014/main" id="{3536A5A9-E48E-104A-9D96-7614283E1015}"/>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A09A1E68-0DDB-A1CF-42A1-FBABE1E386CB}"/>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6" name="Rectangle 15">
              <a:extLst>
                <a:ext uri="{FF2B5EF4-FFF2-40B4-BE49-F238E27FC236}">
                  <a16:creationId xmlns:a16="http://schemas.microsoft.com/office/drawing/2014/main" id="{AAF53E27-2E50-57D9-0E2F-64EAC65C16C0}"/>
                </a:ext>
              </a:extLst>
            </p:cNvPr>
            <p:cNvSpPr/>
            <p:nvPr/>
          </p:nvSpPr>
          <p:spPr>
            <a:xfrm>
              <a:off x="5868888" y="132067"/>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3565A86-5A2E-BD91-34AC-9A52EF7B2C68}"/>
                </a:ext>
              </a:extLst>
            </p:cNvPr>
            <p:cNvSpPr/>
            <p:nvPr/>
          </p:nvSpPr>
          <p:spPr>
            <a:xfrm>
              <a:off x="6352542" y="132067"/>
              <a:ext cx="414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600"/>
                </a:spcAft>
              </a:pPr>
              <a:r>
                <a:rPr lang="en-GB" sz="800" b="1" dirty="0">
                  <a:latin typeface="Arial"/>
                  <a:cs typeface="Arial"/>
                </a:rPr>
                <a:t>Civil Protection Measure Planning </a:t>
              </a:r>
            </a:p>
          </p:txBody>
        </p:sp>
        <p:sp>
          <p:nvSpPr>
            <p:cNvPr id="19" name="Rectangle 18">
              <a:extLst>
                <a:ext uri="{FF2B5EF4-FFF2-40B4-BE49-F238E27FC236}">
                  <a16:creationId xmlns:a16="http://schemas.microsoft.com/office/drawing/2014/main" id="{566184EA-3A88-6EAA-022D-9E93546E26D4}"/>
                </a:ext>
              </a:extLst>
            </p:cNvPr>
            <p:cNvSpPr/>
            <p:nvPr/>
          </p:nvSpPr>
          <p:spPr>
            <a:xfrm>
              <a:off x="6110715"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4</a:t>
              </a:r>
            </a:p>
          </p:txBody>
        </p:sp>
        <p:sp>
          <p:nvSpPr>
            <p:cNvPr id="20" name="Rectangle 19">
              <a:extLst>
                <a:ext uri="{FF2B5EF4-FFF2-40B4-BE49-F238E27FC236}">
                  <a16:creationId xmlns:a16="http://schemas.microsoft.com/office/drawing/2014/main" id="{4CF43400-66A0-3EFC-2542-9D24AAD9AEC4}"/>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A9DB3A0-AF23-F231-4DA5-BD243EE932C1}"/>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998587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7D7669-20A3-7481-8F23-CD69449C9745}"/>
              </a:ext>
            </a:extLst>
          </p:cNvPr>
          <p:cNvGraphicFramePr>
            <a:graphicFrameLocks noChangeAspect="1"/>
          </p:cNvGraphicFramePr>
          <p:nvPr>
            <p:custDataLst>
              <p:tags r:id="rId1"/>
            </p:custDataLst>
            <p:extLst>
              <p:ext uri="{D42A27DB-BD31-4B8C-83A1-F6EECF244321}">
                <p14:modId xmlns:p14="http://schemas.microsoft.com/office/powerpoint/2010/main" val="181812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8" name="think-cell data - do not delete" hidden="1">
                        <a:extLst>
                          <a:ext uri="{FF2B5EF4-FFF2-40B4-BE49-F238E27FC236}">
                            <a16:creationId xmlns:a16="http://schemas.microsoft.com/office/drawing/2014/main" id="{B17D7669-20A3-7481-8F23-CD69449C9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B70CDAA-B400-12D0-4931-7878309E90AD}"/>
              </a:ext>
            </a:extLst>
          </p:cNvPr>
          <p:cNvSpPr/>
          <p:nvPr/>
        </p:nvSpPr>
        <p:spPr>
          <a:xfrm>
            <a:off x="442913" y="2251563"/>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r>
              <a:rPr lang="en-gb" sz="1400"/>
              <a:t>Background information</a:t>
            </a:r>
          </a:p>
        </p:txBody>
      </p:sp>
      <p:sp>
        <p:nvSpPr>
          <p:cNvPr id="9" name="TextBox 8">
            <a:extLst>
              <a:ext uri="{FF2B5EF4-FFF2-40B4-BE49-F238E27FC236}">
                <a16:creationId xmlns:a16="http://schemas.microsoft.com/office/drawing/2014/main" id="{E60771D5-36B1-5846-E0FD-EE10BA67E143}"/>
              </a:ext>
            </a:extLst>
          </p:cNvPr>
          <p:cNvSpPr txBox="1"/>
          <p:nvPr/>
        </p:nvSpPr>
        <p:spPr>
          <a:xfrm>
            <a:off x="8021954" y="1817929"/>
            <a:ext cx="3727134" cy="360000"/>
          </a:xfrm>
          <a:prstGeom prst="rect">
            <a:avLst/>
          </a:prstGeom>
          <a:solidFill>
            <a:srgbClr val="CFD6E8"/>
          </a:solidFill>
        </p:spPr>
        <p:txBody>
          <a:bodyPr wrap="square" lIns="144000" tIns="36000" rIns="72000" bIns="36000" rtlCol="0" anchor="ctr" anchorCtr="0">
            <a:noAutofit/>
          </a:bodyPr>
          <a:lstStyle/>
          <a:p>
            <a:pPr defTabSz="822960" rtl="0">
              <a:spcAft>
                <a:spcPts val="270"/>
              </a:spcAft>
              <a:defRPr/>
            </a:pPr>
            <a:r>
              <a:rPr lang="en-US" sz="1400" b="1">
                <a:ea typeface="Times New Roman" panose="02020603050405020304" pitchFamily="18" charset="0"/>
                <a:cs typeface="Times New Roman" panose="02020603050405020304" pitchFamily="18" charset="0"/>
              </a:rPr>
              <a:t>Civil Protection Plan for the Object</a:t>
            </a:r>
          </a:p>
        </p:txBody>
      </p:sp>
      <p:sp>
        <p:nvSpPr>
          <p:cNvPr id="10" name="TextBox 9">
            <a:extLst>
              <a:ext uri="{FF2B5EF4-FFF2-40B4-BE49-F238E27FC236}">
                <a16:creationId xmlns:a16="http://schemas.microsoft.com/office/drawing/2014/main" id="{0E3AF958-70C4-357F-D986-53A75E5CF63B}"/>
              </a:ext>
            </a:extLst>
          </p:cNvPr>
          <p:cNvSpPr txBox="1"/>
          <p:nvPr/>
        </p:nvSpPr>
        <p:spPr>
          <a:xfrm>
            <a:off x="441490" y="1817640"/>
            <a:ext cx="7512064" cy="371730"/>
          </a:xfrm>
          <a:prstGeom prst="rect">
            <a:avLst/>
          </a:prstGeom>
          <a:solidFill>
            <a:srgbClr val="A8192D"/>
          </a:solidFill>
        </p:spPr>
        <p:txBody>
          <a:bodyPr wrap="square" lIns="144000" tIns="36000" rIns="72000" bIns="36000" rtlCol="0" anchor="ctr" anchorCtr="0">
            <a:noAutofit/>
          </a:bodyPr>
          <a:lstStyle/>
          <a:p>
            <a:pPr defTabSz="822960" rtl="0">
              <a:defRPr/>
            </a:pPr>
            <a:r>
              <a:rPr lang="en-US" sz="1400" b="1">
                <a:solidFill>
                  <a:schemeClr val="bg1"/>
                </a:solidFill>
                <a:ea typeface="Times New Roman" panose="02020603050405020304" pitchFamily="18" charset="0"/>
                <a:cs typeface="Times New Roman" panose="02020603050405020304" pitchFamily="18" charset="0"/>
              </a:rPr>
              <a:t>Civil Protection Plan for the Object of Increased Danger</a:t>
            </a:r>
          </a:p>
        </p:txBody>
      </p:sp>
      <p:sp>
        <p:nvSpPr>
          <p:cNvPr id="3" name="Slide Number Placeholder 2">
            <a:extLst>
              <a:ext uri="{FF2B5EF4-FFF2-40B4-BE49-F238E27FC236}">
                <a16:creationId xmlns:a16="http://schemas.microsoft.com/office/drawing/2014/main" id="{8F80B32A-55E9-507D-78BC-6113B4CE3EB1}"/>
              </a:ext>
            </a:extLst>
          </p:cNvPr>
          <p:cNvSpPr>
            <a:spLocks noGrp="1"/>
          </p:cNvSpPr>
          <p:nvPr>
            <p:ph type="sldNum" sz="quarter" idx="11"/>
          </p:nvPr>
        </p:nvSpPr>
        <p:spPr/>
        <p:txBody>
          <a:bodyPr rtlCol="0"/>
          <a:lstStyle/>
          <a:p>
            <a:pPr rtl="0"/>
            <a:fld id="{7870704B-CE94-48CC-AF30-84932A1262A7}" type="slidenum">
              <a:rPr lang="en-GB" smtClean="0"/>
              <a:pPr rtl="0"/>
              <a:t>24</a:t>
            </a:fld>
            <a:endParaRPr lang="en-GB"/>
          </a:p>
        </p:txBody>
      </p:sp>
      <p:sp>
        <p:nvSpPr>
          <p:cNvPr id="2" name="Title 9">
            <a:extLst>
              <a:ext uri="{FF2B5EF4-FFF2-40B4-BE49-F238E27FC236}">
                <a16:creationId xmlns:a16="http://schemas.microsoft.com/office/drawing/2014/main" id="{1299C1A8-38BE-9556-5CBE-67D0E693F9D9}"/>
              </a:ext>
            </a:extLst>
          </p:cNvPr>
          <p:cNvSpPr>
            <a:spLocks noGrp="1"/>
          </p:cNvSpPr>
          <p:nvPr>
            <p:ph type="title"/>
          </p:nvPr>
        </p:nvSpPr>
        <p:spPr>
          <a:xfrm>
            <a:off x="442913" y="432001"/>
            <a:ext cx="11306175" cy="1387274"/>
          </a:xfrm>
        </p:spPr>
        <p:txBody>
          <a:bodyPr vert="horz" rtlCol="0"/>
          <a:lstStyle/>
          <a:p>
            <a:pPr rtl="0"/>
            <a:r>
              <a:rPr lang="en-gb" dirty="0"/>
              <a:t>Information to be </a:t>
            </a:r>
            <a:r>
              <a:rPr lang="lv-LV" dirty="0"/>
              <a:t>I</a:t>
            </a:r>
            <a:r>
              <a:rPr lang="en-gb" dirty="0" err="1"/>
              <a:t>ncluded</a:t>
            </a:r>
            <a:r>
              <a:rPr lang="en-gb" dirty="0"/>
              <a:t> in the Civil Protection Plan</a:t>
            </a:r>
            <a:endParaRPr lang="cs-CZ" dirty="0"/>
          </a:p>
        </p:txBody>
      </p:sp>
      <p:sp>
        <p:nvSpPr>
          <p:cNvPr id="11" name="Rectangle 10">
            <a:extLst>
              <a:ext uri="{FF2B5EF4-FFF2-40B4-BE49-F238E27FC236}">
                <a16:creationId xmlns:a16="http://schemas.microsoft.com/office/drawing/2014/main" id="{70513DFC-D897-87EB-EF6A-D4829E31C2D1}"/>
              </a:ext>
            </a:extLst>
          </p:cNvPr>
          <p:cNvSpPr/>
          <p:nvPr/>
        </p:nvSpPr>
        <p:spPr>
          <a:xfrm rot="5400000">
            <a:off x="298913"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9FE544F4-5FE9-EB4A-60A5-5DB0C11FA6FA}"/>
              </a:ext>
            </a:extLst>
          </p:cNvPr>
          <p:cNvSpPr/>
          <p:nvPr/>
        </p:nvSpPr>
        <p:spPr>
          <a:xfrm rot="5400000">
            <a:off x="7877954" y="1961929"/>
            <a:ext cx="360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6" name="Rectangle 5">
            <a:extLst>
              <a:ext uri="{FF2B5EF4-FFF2-40B4-BE49-F238E27FC236}">
                <a16:creationId xmlns:a16="http://schemas.microsoft.com/office/drawing/2014/main" id="{976F9164-18B5-7B30-6C9E-4C5AC2AFB251}"/>
              </a:ext>
            </a:extLst>
          </p:cNvPr>
          <p:cNvSpPr/>
          <p:nvPr/>
        </p:nvSpPr>
        <p:spPr>
          <a:xfrm>
            <a:off x="442913" y="2608594"/>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gb" sz="1400"/>
              <a:t>Description of the </a:t>
            </a:r>
            <a:r>
              <a:rPr lang="lv-LV" sz="1400" err="1"/>
              <a:t>object</a:t>
            </a:r>
            <a:r>
              <a:rPr lang="lv-LV" sz="1400"/>
              <a:t> </a:t>
            </a:r>
            <a:r>
              <a:rPr lang="en-gb" sz="1400"/>
              <a:t>and its operation</a:t>
            </a:r>
          </a:p>
        </p:txBody>
      </p:sp>
      <p:sp>
        <p:nvSpPr>
          <p:cNvPr id="7" name="Rectangle 6">
            <a:extLst>
              <a:ext uri="{FF2B5EF4-FFF2-40B4-BE49-F238E27FC236}">
                <a16:creationId xmlns:a16="http://schemas.microsoft.com/office/drawing/2014/main" id="{95F2504B-3C54-3ABF-D5FC-BF2DA17554A4}"/>
              </a:ext>
            </a:extLst>
          </p:cNvPr>
          <p:cNvSpPr/>
          <p:nvPr/>
        </p:nvSpPr>
        <p:spPr>
          <a:xfrm>
            <a:off x="442913" y="2965625"/>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gb" sz="1400"/>
              <a:t>Risk assessment</a:t>
            </a:r>
          </a:p>
        </p:txBody>
      </p:sp>
      <p:sp>
        <p:nvSpPr>
          <p:cNvPr id="8" name="Rectangle 7">
            <a:extLst>
              <a:ext uri="{FF2B5EF4-FFF2-40B4-BE49-F238E27FC236}">
                <a16:creationId xmlns:a16="http://schemas.microsoft.com/office/drawing/2014/main" id="{7783C402-0517-A40D-5AD3-C7B8CD89F746}"/>
              </a:ext>
            </a:extLst>
          </p:cNvPr>
          <p:cNvSpPr/>
          <p:nvPr/>
        </p:nvSpPr>
        <p:spPr>
          <a:xfrm>
            <a:off x="442913" y="3322656"/>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US" sz="1400"/>
              <a:t>Preventive, preparedness, response and elimination of consequences measures</a:t>
            </a:r>
          </a:p>
        </p:txBody>
      </p:sp>
      <p:sp>
        <p:nvSpPr>
          <p:cNvPr id="13" name="Rectangle 12">
            <a:extLst>
              <a:ext uri="{FF2B5EF4-FFF2-40B4-BE49-F238E27FC236}">
                <a16:creationId xmlns:a16="http://schemas.microsoft.com/office/drawing/2014/main" id="{A6BE1D1D-3F01-1DF1-B44F-6D56DDF9CE64}"/>
              </a:ext>
            </a:extLst>
          </p:cNvPr>
          <p:cNvSpPr/>
          <p:nvPr/>
        </p:nvSpPr>
        <p:spPr>
          <a:xfrm>
            <a:off x="442913" y="3679687"/>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gb" sz="1400"/>
              <a:t>Evacuation measures</a:t>
            </a:r>
          </a:p>
        </p:txBody>
      </p:sp>
      <p:sp>
        <p:nvSpPr>
          <p:cNvPr id="21" name="Rectangle 20">
            <a:extLst>
              <a:ext uri="{FF2B5EF4-FFF2-40B4-BE49-F238E27FC236}">
                <a16:creationId xmlns:a16="http://schemas.microsoft.com/office/drawing/2014/main" id="{1118417F-5F3E-C322-3338-E4C7A4CDB1CE}"/>
              </a:ext>
            </a:extLst>
          </p:cNvPr>
          <p:cNvSpPr/>
          <p:nvPr/>
        </p:nvSpPr>
        <p:spPr>
          <a:xfrm>
            <a:off x="442913" y="4036718"/>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spcAft>
                <a:spcPts val="600"/>
              </a:spcAft>
              <a:buSzPct val="100000"/>
            </a:pPr>
            <a:r>
              <a:rPr lang="en-gb" sz="1400"/>
              <a:t>Measures to </a:t>
            </a:r>
            <a:r>
              <a:rPr lang="lv-LV" sz="1400" err="1"/>
              <a:t>ensure</a:t>
            </a:r>
            <a:r>
              <a:rPr lang="lv-LV" sz="1400"/>
              <a:t> </a:t>
            </a:r>
            <a:r>
              <a:rPr lang="en-gb" sz="1400"/>
              <a:t>or stop operations in the event of a </a:t>
            </a:r>
            <a:r>
              <a:rPr lang="lv-LV" sz="1400" err="1"/>
              <a:t>threat</a:t>
            </a:r>
            <a:endParaRPr lang="en-gb" sz="1400"/>
          </a:p>
        </p:txBody>
      </p:sp>
      <p:sp>
        <p:nvSpPr>
          <p:cNvPr id="103" name="Rectangle 102">
            <a:extLst>
              <a:ext uri="{FF2B5EF4-FFF2-40B4-BE49-F238E27FC236}">
                <a16:creationId xmlns:a16="http://schemas.microsoft.com/office/drawing/2014/main" id="{B8A2F7DC-E116-1BBE-5A6B-64C7E680F1BD}"/>
              </a:ext>
            </a:extLst>
          </p:cNvPr>
          <p:cNvSpPr/>
          <p:nvPr/>
        </p:nvSpPr>
        <p:spPr>
          <a:xfrm>
            <a:off x="1018710" y="4854733"/>
            <a:ext cx="36242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Civil protection organisation and </a:t>
            </a:r>
            <a:br>
              <a:rPr lang="lv-LV" sz="1200" kern="100" spc="10">
                <a:solidFill>
                  <a:schemeClr val="tx1"/>
                </a:solidFill>
                <a:cs typeface="Times New Roman"/>
              </a:rPr>
            </a:br>
            <a:r>
              <a:rPr lang="en-gb" sz="1200" kern="100" spc="10">
                <a:solidFill>
                  <a:schemeClr val="tx1"/>
                </a:solidFill>
                <a:cs typeface="Times New Roman"/>
              </a:rPr>
              <a:t>responsible staff</a:t>
            </a:r>
          </a:p>
        </p:txBody>
      </p:sp>
      <p:sp>
        <p:nvSpPr>
          <p:cNvPr id="107" name="Rectangle 106">
            <a:extLst>
              <a:ext uri="{FF2B5EF4-FFF2-40B4-BE49-F238E27FC236}">
                <a16:creationId xmlns:a16="http://schemas.microsoft.com/office/drawing/2014/main" id="{EEF73D00-2BC0-1F09-AB22-997BF5B5AEDC}"/>
              </a:ext>
            </a:extLst>
          </p:cNvPr>
          <p:cNvSpPr/>
          <p:nvPr/>
        </p:nvSpPr>
        <p:spPr>
          <a:xfrm>
            <a:off x="5281791" y="4392613"/>
            <a:ext cx="267211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Staff training</a:t>
            </a:r>
          </a:p>
        </p:txBody>
      </p:sp>
      <p:sp>
        <p:nvSpPr>
          <p:cNvPr id="111" name="Rectangle 110">
            <a:extLst>
              <a:ext uri="{FF2B5EF4-FFF2-40B4-BE49-F238E27FC236}">
                <a16:creationId xmlns:a16="http://schemas.microsoft.com/office/drawing/2014/main" id="{2BE907A4-1571-B9F0-D513-57AB05B745BE}"/>
              </a:ext>
            </a:extLst>
          </p:cNvPr>
          <p:cNvSpPr/>
          <p:nvPr/>
        </p:nvSpPr>
        <p:spPr>
          <a:xfrm>
            <a:off x="1018710" y="5775798"/>
            <a:ext cx="693519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US" sz="1200" kern="100" spc="10">
                <a:solidFill>
                  <a:schemeClr val="tx1"/>
                </a:solidFill>
                <a:cs typeface="Times New Roman"/>
              </a:rPr>
              <a:t>Measures for </a:t>
            </a:r>
            <a:r>
              <a:rPr lang="lv-LV" sz="1200" kern="100" spc="10">
                <a:solidFill>
                  <a:schemeClr val="tx1"/>
                </a:solidFill>
                <a:cs typeface="Times New Roman"/>
              </a:rPr>
              <a:t>r</a:t>
            </a:r>
            <a:r>
              <a:rPr lang="en-US" sz="1200" kern="100" spc="10" err="1">
                <a:solidFill>
                  <a:schemeClr val="tx1"/>
                </a:solidFill>
                <a:cs typeface="Times New Roman"/>
              </a:rPr>
              <a:t>eduction</a:t>
            </a:r>
            <a:r>
              <a:rPr lang="en-US" sz="1200" kern="100" spc="10">
                <a:solidFill>
                  <a:schemeClr val="tx1"/>
                </a:solidFill>
                <a:cs typeface="Times New Roman"/>
              </a:rPr>
              <a:t> of </a:t>
            </a:r>
            <a:r>
              <a:rPr lang="lv-LV" sz="1200" kern="100" spc="10">
                <a:solidFill>
                  <a:schemeClr val="tx1"/>
                </a:solidFill>
                <a:cs typeface="Times New Roman"/>
              </a:rPr>
              <a:t>r</a:t>
            </a:r>
            <a:r>
              <a:rPr lang="en-US" sz="1200" kern="100" spc="10" err="1">
                <a:solidFill>
                  <a:schemeClr val="tx1"/>
                </a:solidFill>
                <a:cs typeface="Times New Roman"/>
              </a:rPr>
              <a:t>isk</a:t>
            </a:r>
            <a:r>
              <a:rPr lang="lv-LV" sz="1200" kern="100" spc="10">
                <a:solidFill>
                  <a:schemeClr val="tx1"/>
                </a:solidFill>
                <a:cs typeface="Times New Roman"/>
              </a:rPr>
              <a:t> </a:t>
            </a:r>
            <a:r>
              <a:rPr lang="en-gb" sz="1200" kern="100" spc="10">
                <a:solidFill>
                  <a:schemeClr val="tx1"/>
                </a:solidFill>
                <a:cs typeface="Times New Roman"/>
              </a:rPr>
              <a:t>for individuals</a:t>
            </a:r>
          </a:p>
        </p:txBody>
      </p:sp>
      <p:sp>
        <p:nvSpPr>
          <p:cNvPr id="115" name="Rectangle 114">
            <a:extLst>
              <a:ext uri="{FF2B5EF4-FFF2-40B4-BE49-F238E27FC236}">
                <a16:creationId xmlns:a16="http://schemas.microsoft.com/office/drawing/2014/main" id="{54FE79A9-8473-DE77-44E6-2C986EF74B03}"/>
              </a:ext>
            </a:extLst>
          </p:cNvPr>
          <p:cNvSpPr/>
          <p:nvPr/>
        </p:nvSpPr>
        <p:spPr>
          <a:xfrm>
            <a:off x="1018710" y="5315266"/>
            <a:ext cx="36242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Emergency detection and warning system</a:t>
            </a:r>
          </a:p>
        </p:txBody>
      </p:sp>
      <p:sp>
        <p:nvSpPr>
          <p:cNvPr id="119" name="Rectangle 118">
            <a:extLst>
              <a:ext uri="{FF2B5EF4-FFF2-40B4-BE49-F238E27FC236}">
                <a16:creationId xmlns:a16="http://schemas.microsoft.com/office/drawing/2014/main" id="{25857B8E-3D4F-1175-6C7E-C82281D0DFB2}"/>
              </a:ext>
            </a:extLst>
          </p:cNvPr>
          <p:cNvSpPr/>
          <p:nvPr/>
        </p:nvSpPr>
        <p:spPr>
          <a:xfrm>
            <a:off x="5281791" y="4852871"/>
            <a:ext cx="26717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Description of resources</a:t>
            </a:r>
          </a:p>
        </p:txBody>
      </p:sp>
      <p:sp>
        <p:nvSpPr>
          <p:cNvPr id="123" name="Rectangle 122">
            <a:extLst>
              <a:ext uri="{FF2B5EF4-FFF2-40B4-BE49-F238E27FC236}">
                <a16:creationId xmlns:a16="http://schemas.microsoft.com/office/drawing/2014/main" id="{E540FF3B-2049-3D2C-DC6C-0CAFC95DAB95}"/>
              </a:ext>
            </a:extLst>
          </p:cNvPr>
          <p:cNvSpPr/>
          <p:nvPr/>
        </p:nvSpPr>
        <p:spPr>
          <a:xfrm>
            <a:off x="5281791" y="5313129"/>
            <a:ext cx="26717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200" kern="100" spc="10">
                <a:solidFill>
                  <a:schemeClr val="tx1"/>
                </a:solidFill>
                <a:cs typeface="Times New Roman"/>
              </a:rPr>
              <a:t>Arrival of emergency services </a:t>
            </a:r>
            <a:br>
              <a:rPr lang="en-US" sz="1200" kern="100" spc="10">
                <a:solidFill>
                  <a:schemeClr val="tx1"/>
                </a:solidFill>
                <a:cs typeface="Times New Roman"/>
              </a:rPr>
            </a:br>
            <a:r>
              <a:rPr lang="en-gb" sz="1200" kern="100" spc="10">
                <a:solidFill>
                  <a:schemeClr val="tx1"/>
                </a:solidFill>
                <a:cs typeface="Times New Roman"/>
              </a:rPr>
              <a:t>at the scene of an accident</a:t>
            </a:r>
          </a:p>
        </p:txBody>
      </p:sp>
      <p:sp>
        <p:nvSpPr>
          <p:cNvPr id="127" name="Rectangle 126">
            <a:extLst>
              <a:ext uri="{FF2B5EF4-FFF2-40B4-BE49-F238E27FC236}">
                <a16:creationId xmlns:a16="http://schemas.microsoft.com/office/drawing/2014/main" id="{FFE4CFE7-10FB-E0F9-AE54-A456443B207D}"/>
              </a:ext>
            </a:extLst>
          </p:cNvPr>
          <p:cNvSpPr/>
          <p:nvPr/>
        </p:nvSpPr>
        <p:spPr>
          <a:xfrm>
            <a:off x="8590493" y="4396557"/>
            <a:ext cx="3158212" cy="85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Bef>
                <a:spcPts val="300"/>
              </a:spcBef>
              <a:spcAft>
                <a:spcPts val="300"/>
              </a:spcAft>
              <a:buSzPct val="100000"/>
            </a:pPr>
            <a:r>
              <a:rPr lang="en-gb" sz="1200" kern="100" spc="10">
                <a:solidFill>
                  <a:schemeClr val="tx1"/>
                </a:solidFill>
                <a:cs typeface="Times New Roman"/>
              </a:rPr>
              <a:t>On-site notification</a:t>
            </a:r>
          </a:p>
        </p:txBody>
      </p:sp>
      <p:sp>
        <p:nvSpPr>
          <p:cNvPr id="131" name="Rectangle 130">
            <a:extLst>
              <a:ext uri="{FF2B5EF4-FFF2-40B4-BE49-F238E27FC236}">
                <a16:creationId xmlns:a16="http://schemas.microsoft.com/office/drawing/2014/main" id="{6764AC4B-FEF3-2CCD-15D3-7FDF812B793E}"/>
              </a:ext>
            </a:extLst>
          </p:cNvPr>
          <p:cNvSpPr/>
          <p:nvPr/>
        </p:nvSpPr>
        <p:spPr>
          <a:xfrm>
            <a:off x="8605381" y="5313836"/>
            <a:ext cx="3143323" cy="85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Bef>
                <a:spcPts val="300"/>
              </a:spcBef>
              <a:spcAft>
                <a:spcPts val="300"/>
              </a:spcAft>
              <a:buSzPct val="100000"/>
            </a:pPr>
            <a:r>
              <a:rPr lang="en-gb" sz="1200" kern="100" spc="10">
                <a:solidFill>
                  <a:schemeClr val="tx1"/>
                </a:solidFill>
                <a:cs typeface="Times New Roman"/>
              </a:rPr>
              <a:t>Co</a:t>
            </a:r>
            <a:r>
              <a:rPr lang="lv-LV" sz="1200" kern="100" spc="10">
                <a:solidFill>
                  <a:schemeClr val="tx1"/>
                </a:solidFill>
                <a:cs typeface="Times New Roman"/>
              </a:rPr>
              <a:t>-</a:t>
            </a:r>
            <a:r>
              <a:rPr lang="en-gb" sz="1200" kern="100" spc="10">
                <a:solidFill>
                  <a:schemeClr val="tx1"/>
                </a:solidFill>
                <a:cs typeface="Times New Roman"/>
              </a:rPr>
              <a:t>operation with other institutions</a:t>
            </a:r>
          </a:p>
        </p:txBody>
      </p:sp>
      <p:sp>
        <p:nvSpPr>
          <p:cNvPr id="149" name="Rectangle 148">
            <a:extLst>
              <a:ext uri="{FF2B5EF4-FFF2-40B4-BE49-F238E27FC236}">
                <a16:creationId xmlns:a16="http://schemas.microsoft.com/office/drawing/2014/main" id="{4F8D49D5-4873-CB69-4B18-8429A53BCC9A}"/>
              </a:ext>
            </a:extLst>
          </p:cNvPr>
          <p:cNvSpPr/>
          <p:nvPr/>
        </p:nvSpPr>
        <p:spPr>
          <a:xfrm>
            <a:off x="1018913" y="4394200"/>
            <a:ext cx="362406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spcAft>
                <a:spcPts val="300"/>
              </a:spcAft>
              <a:buSzPct val="100000"/>
            </a:pPr>
            <a:r>
              <a:rPr lang="en-gb" sz="1050" kern="100" spc="10">
                <a:solidFill>
                  <a:schemeClr val="tx1"/>
                </a:solidFill>
                <a:cs typeface="Times New Roman"/>
              </a:rPr>
              <a:t>Information on the geographical location, characteristics of the surroundings, the area of impact of the accident</a:t>
            </a:r>
          </a:p>
        </p:txBody>
      </p:sp>
      <p:grpSp>
        <p:nvGrpSpPr>
          <p:cNvPr id="30" name="Group 29">
            <a:extLst>
              <a:ext uri="{FF2B5EF4-FFF2-40B4-BE49-F238E27FC236}">
                <a16:creationId xmlns:a16="http://schemas.microsoft.com/office/drawing/2014/main" id="{C5C4599D-50B9-1AA7-BE9F-BC3736FC71F2}"/>
              </a:ext>
            </a:extLst>
          </p:cNvPr>
          <p:cNvGrpSpPr/>
          <p:nvPr/>
        </p:nvGrpSpPr>
        <p:grpSpPr>
          <a:xfrm>
            <a:off x="442913" y="5775798"/>
            <a:ext cx="576000" cy="395382"/>
            <a:chOff x="441326" y="3466090"/>
            <a:chExt cx="576000" cy="375847"/>
          </a:xfrm>
        </p:grpSpPr>
        <p:sp>
          <p:nvSpPr>
            <p:cNvPr id="31" name="Rectangle 30">
              <a:extLst>
                <a:ext uri="{FF2B5EF4-FFF2-40B4-BE49-F238E27FC236}">
                  <a16:creationId xmlns:a16="http://schemas.microsoft.com/office/drawing/2014/main" id="{0F8AF3D8-4A36-5BAD-7018-36E6F6AC90A9}"/>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1D81532B-2339-E2C1-F336-A5A69EE823D2}"/>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6" name="Group 45">
            <a:extLst>
              <a:ext uri="{FF2B5EF4-FFF2-40B4-BE49-F238E27FC236}">
                <a16:creationId xmlns:a16="http://schemas.microsoft.com/office/drawing/2014/main" id="{1324A672-D1F1-FD5A-72D1-48C43942DF8F}"/>
              </a:ext>
            </a:extLst>
          </p:cNvPr>
          <p:cNvGrpSpPr/>
          <p:nvPr/>
        </p:nvGrpSpPr>
        <p:grpSpPr>
          <a:xfrm>
            <a:off x="442913" y="5314054"/>
            <a:ext cx="576000" cy="395382"/>
            <a:chOff x="441326" y="3466090"/>
            <a:chExt cx="576000" cy="375847"/>
          </a:xfrm>
        </p:grpSpPr>
        <p:sp>
          <p:nvSpPr>
            <p:cNvPr id="47" name="Rectangle 46">
              <a:extLst>
                <a:ext uri="{FF2B5EF4-FFF2-40B4-BE49-F238E27FC236}">
                  <a16:creationId xmlns:a16="http://schemas.microsoft.com/office/drawing/2014/main" id="{656AB3C2-026C-E715-D925-A13B751C8473}"/>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8" name="L-Shape 47">
              <a:extLst>
                <a:ext uri="{FF2B5EF4-FFF2-40B4-BE49-F238E27FC236}">
                  <a16:creationId xmlns:a16="http://schemas.microsoft.com/office/drawing/2014/main" id="{3112A528-1987-48A6-C4E9-818FC36C4A12}"/>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9" name="Group 48">
            <a:extLst>
              <a:ext uri="{FF2B5EF4-FFF2-40B4-BE49-F238E27FC236}">
                <a16:creationId xmlns:a16="http://schemas.microsoft.com/office/drawing/2014/main" id="{0D8D010A-64F6-3698-58B5-25707D7DF964}"/>
              </a:ext>
            </a:extLst>
          </p:cNvPr>
          <p:cNvGrpSpPr/>
          <p:nvPr/>
        </p:nvGrpSpPr>
        <p:grpSpPr>
          <a:xfrm>
            <a:off x="442913" y="4852310"/>
            <a:ext cx="576000" cy="395382"/>
            <a:chOff x="441326" y="3466090"/>
            <a:chExt cx="576000" cy="375847"/>
          </a:xfrm>
        </p:grpSpPr>
        <p:sp>
          <p:nvSpPr>
            <p:cNvPr id="50" name="Rectangle 49">
              <a:extLst>
                <a:ext uri="{FF2B5EF4-FFF2-40B4-BE49-F238E27FC236}">
                  <a16:creationId xmlns:a16="http://schemas.microsoft.com/office/drawing/2014/main" id="{FCFE4574-F139-F2EC-40BE-DBEDA717016C}"/>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1" name="L-Shape 50">
              <a:extLst>
                <a:ext uri="{FF2B5EF4-FFF2-40B4-BE49-F238E27FC236}">
                  <a16:creationId xmlns:a16="http://schemas.microsoft.com/office/drawing/2014/main" id="{02A2C5A2-8161-6D93-7619-EC9A5EB42936}"/>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52" name="Group 51">
            <a:extLst>
              <a:ext uri="{FF2B5EF4-FFF2-40B4-BE49-F238E27FC236}">
                <a16:creationId xmlns:a16="http://schemas.microsoft.com/office/drawing/2014/main" id="{671860C4-AE27-9D15-0B63-1F0D44C755A1}"/>
              </a:ext>
            </a:extLst>
          </p:cNvPr>
          <p:cNvGrpSpPr/>
          <p:nvPr/>
        </p:nvGrpSpPr>
        <p:grpSpPr>
          <a:xfrm>
            <a:off x="442913" y="4390566"/>
            <a:ext cx="576000" cy="395382"/>
            <a:chOff x="441326" y="3466090"/>
            <a:chExt cx="576000" cy="375847"/>
          </a:xfrm>
        </p:grpSpPr>
        <p:sp>
          <p:nvSpPr>
            <p:cNvPr id="53" name="Rectangle 52">
              <a:extLst>
                <a:ext uri="{FF2B5EF4-FFF2-40B4-BE49-F238E27FC236}">
                  <a16:creationId xmlns:a16="http://schemas.microsoft.com/office/drawing/2014/main" id="{5EF12559-BE2E-576B-038D-E2C7A1B20582}"/>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4" name="L-Shape 53">
              <a:extLst>
                <a:ext uri="{FF2B5EF4-FFF2-40B4-BE49-F238E27FC236}">
                  <a16:creationId xmlns:a16="http://schemas.microsoft.com/office/drawing/2014/main" id="{39685821-24D3-DF28-56AC-8B1021756E17}"/>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55" name="Group 54">
            <a:extLst>
              <a:ext uri="{FF2B5EF4-FFF2-40B4-BE49-F238E27FC236}">
                <a16:creationId xmlns:a16="http://schemas.microsoft.com/office/drawing/2014/main" id="{980BD1CA-D4A1-DC53-347E-8B3166BB9160}"/>
              </a:ext>
            </a:extLst>
          </p:cNvPr>
          <p:cNvGrpSpPr/>
          <p:nvPr/>
        </p:nvGrpSpPr>
        <p:grpSpPr>
          <a:xfrm>
            <a:off x="4705790" y="4390566"/>
            <a:ext cx="576000" cy="395382"/>
            <a:chOff x="441326" y="3466090"/>
            <a:chExt cx="576000" cy="375847"/>
          </a:xfrm>
        </p:grpSpPr>
        <p:sp>
          <p:nvSpPr>
            <p:cNvPr id="56" name="Rectangle 55">
              <a:extLst>
                <a:ext uri="{FF2B5EF4-FFF2-40B4-BE49-F238E27FC236}">
                  <a16:creationId xmlns:a16="http://schemas.microsoft.com/office/drawing/2014/main" id="{75D8EEEB-9CAC-F846-5568-353FD910116D}"/>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7" name="L-Shape 56">
              <a:extLst>
                <a:ext uri="{FF2B5EF4-FFF2-40B4-BE49-F238E27FC236}">
                  <a16:creationId xmlns:a16="http://schemas.microsoft.com/office/drawing/2014/main" id="{F070B33B-437A-5C69-C12E-2E41A0E8517E}"/>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58" name="Group 57">
            <a:extLst>
              <a:ext uri="{FF2B5EF4-FFF2-40B4-BE49-F238E27FC236}">
                <a16:creationId xmlns:a16="http://schemas.microsoft.com/office/drawing/2014/main" id="{26DED851-1CA6-CEBE-9BC7-3282413222E8}"/>
              </a:ext>
            </a:extLst>
          </p:cNvPr>
          <p:cNvGrpSpPr/>
          <p:nvPr/>
        </p:nvGrpSpPr>
        <p:grpSpPr>
          <a:xfrm>
            <a:off x="4705790" y="4854733"/>
            <a:ext cx="576000" cy="395382"/>
            <a:chOff x="441326" y="3466090"/>
            <a:chExt cx="576000" cy="375847"/>
          </a:xfrm>
        </p:grpSpPr>
        <p:sp>
          <p:nvSpPr>
            <p:cNvPr id="59" name="Rectangle 58">
              <a:extLst>
                <a:ext uri="{FF2B5EF4-FFF2-40B4-BE49-F238E27FC236}">
                  <a16:creationId xmlns:a16="http://schemas.microsoft.com/office/drawing/2014/main" id="{FB9C0CA8-2B44-10CC-A190-3B3F03909D23}"/>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0" name="L-Shape 59">
              <a:extLst>
                <a:ext uri="{FF2B5EF4-FFF2-40B4-BE49-F238E27FC236}">
                  <a16:creationId xmlns:a16="http://schemas.microsoft.com/office/drawing/2014/main" id="{93E394B4-8D38-D3D6-5C8F-E88C8B86D8A0}"/>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61" name="Group 60">
            <a:extLst>
              <a:ext uri="{FF2B5EF4-FFF2-40B4-BE49-F238E27FC236}">
                <a16:creationId xmlns:a16="http://schemas.microsoft.com/office/drawing/2014/main" id="{1CE48FF5-39DC-629B-7D3A-387472804D3D}"/>
              </a:ext>
            </a:extLst>
          </p:cNvPr>
          <p:cNvGrpSpPr/>
          <p:nvPr/>
        </p:nvGrpSpPr>
        <p:grpSpPr>
          <a:xfrm>
            <a:off x="4705790" y="5313035"/>
            <a:ext cx="576000" cy="395382"/>
            <a:chOff x="441326" y="3466090"/>
            <a:chExt cx="576000" cy="375847"/>
          </a:xfrm>
        </p:grpSpPr>
        <p:sp>
          <p:nvSpPr>
            <p:cNvPr id="62" name="Rectangle 61">
              <a:extLst>
                <a:ext uri="{FF2B5EF4-FFF2-40B4-BE49-F238E27FC236}">
                  <a16:creationId xmlns:a16="http://schemas.microsoft.com/office/drawing/2014/main" id="{AA519B1A-85B5-4834-6C1D-FA66349F4881}"/>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3" name="L-Shape 62">
              <a:extLst>
                <a:ext uri="{FF2B5EF4-FFF2-40B4-BE49-F238E27FC236}">
                  <a16:creationId xmlns:a16="http://schemas.microsoft.com/office/drawing/2014/main" id="{4E32280F-63D6-5AEF-2F72-82958B197494}"/>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71" name="Group 70">
            <a:extLst>
              <a:ext uri="{FF2B5EF4-FFF2-40B4-BE49-F238E27FC236}">
                <a16:creationId xmlns:a16="http://schemas.microsoft.com/office/drawing/2014/main" id="{C05E4F0F-FB57-3CFE-9E92-93D6F012925D}"/>
              </a:ext>
            </a:extLst>
          </p:cNvPr>
          <p:cNvGrpSpPr/>
          <p:nvPr/>
        </p:nvGrpSpPr>
        <p:grpSpPr>
          <a:xfrm>
            <a:off x="8014492" y="4395756"/>
            <a:ext cx="576000" cy="858051"/>
            <a:chOff x="8014492" y="4395756"/>
            <a:chExt cx="576000" cy="858051"/>
          </a:xfrm>
        </p:grpSpPr>
        <p:sp>
          <p:nvSpPr>
            <p:cNvPr id="65" name="Rectangle 64">
              <a:extLst>
                <a:ext uri="{FF2B5EF4-FFF2-40B4-BE49-F238E27FC236}">
                  <a16:creationId xmlns:a16="http://schemas.microsoft.com/office/drawing/2014/main" id="{B3400AB7-3203-205A-AB82-E6EAECD6E433}"/>
                </a:ext>
              </a:extLst>
            </p:cNvPr>
            <p:cNvSpPr/>
            <p:nvPr/>
          </p:nvSpPr>
          <p:spPr>
            <a:xfrm>
              <a:off x="8014492" y="4395756"/>
              <a:ext cx="576000" cy="8580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6" name="L-Shape 65">
              <a:extLst>
                <a:ext uri="{FF2B5EF4-FFF2-40B4-BE49-F238E27FC236}">
                  <a16:creationId xmlns:a16="http://schemas.microsoft.com/office/drawing/2014/main" id="{867B4285-8A1E-1221-902B-200EA0DA3A62}"/>
                </a:ext>
              </a:extLst>
            </p:cNvPr>
            <p:cNvSpPr/>
            <p:nvPr/>
          </p:nvSpPr>
          <p:spPr>
            <a:xfrm rot="13500000">
              <a:off x="8147527" y="470737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70" name="Group 69">
            <a:extLst>
              <a:ext uri="{FF2B5EF4-FFF2-40B4-BE49-F238E27FC236}">
                <a16:creationId xmlns:a16="http://schemas.microsoft.com/office/drawing/2014/main" id="{89633096-6853-31FC-9D54-D6FD2D79A567}"/>
              </a:ext>
            </a:extLst>
          </p:cNvPr>
          <p:cNvGrpSpPr/>
          <p:nvPr/>
        </p:nvGrpSpPr>
        <p:grpSpPr>
          <a:xfrm>
            <a:off x="8014492" y="5313035"/>
            <a:ext cx="576000" cy="858051"/>
            <a:chOff x="8014492" y="5313035"/>
            <a:chExt cx="576000" cy="858051"/>
          </a:xfrm>
        </p:grpSpPr>
        <p:sp>
          <p:nvSpPr>
            <p:cNvPr id="68" name="Rectangle 67">
              <a:extLst>
                <a:ext uri="{FF2B5EF4-FFF2-40B4-BE49-F238E27FC236}">
                  <a16:creationId xmlns:a16="http://schemas.microsoft.com/office/drawing/2014/main" id="{85D05539-A867-AD16-AE73-D6026034C9D4}"/>
                </a:ext>
              </a:extLst>
            </p:cNvPr>
            <p:cNvSpPr/>
            <p:nvPr/>
          </p:nvSpPr>
          <p:spPr>
            <a:xfrm>
              <a:off x="8014492" y="5313035"/>
              <a:ext cx="576000" cy="8580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9" name="L-Shape 68">
              <a:extLst>
                <a:ext uri="{FF2B5EF4-FFF2-40B4-BE49-F238E27FC236}">
                  <a16:creationId xmlns:a16="http://schemas.microsoft.com/office/drawing/2014/main" id="{75ED93E3-D860-37A6-0C79-3788C254EE0A}"/>
                </a:ext>
              </a:extLst>
            </p:cNvPr>
            <p:cNvSpPr/>
            <p:nvPr/>
          </p:nvSpPr>
          <p:spPr>
            <a:xfrm rot="13500000">
              <a:off x="8147527" y="5621515"/>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3" name="Rectangle 32">
            <a:extLst>
              <a:ext uri="{FF2B5EF4-FFF2-40B4-BE49-F238E27FC236}">
                <a16:creationId xmlns:a16="http://schemas.microsoft.com/office/drawing/2014/main" id="{A36B777F-095E-3C8B-0913-284B40D46EAE}"/>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15" name="Group 14">
            <a:extLst>
              <a:ext uri="{FF2B5EF4-FFF2-40B4-BE49-F238E27FC236}">
                <a16:creationId xmlns:a16="http://schemas.microsoft.com/office/drawing/2014/main" id="{5A385367-8C1D-C11A-BFB4-2ECDCF18F993}"/>
              </a:ext>
            </a:extLst>
          </p:cNvPr>
          <p:cNvGrpSpPr/>
          <p:nvPr/>
        </p:nvGrpSpPr>
        <p:grpSpPr>
          <a:xfrm>
            <a:off x="6167418" y="132067"/>
            <a:ext cx="5590962" cy="224022"/>
            <a:chOff x="5385234" y="125533"/>
            <a:chExt cx="5590962" cy="224022"/>
          </a:xfrm>
        </p:grpSpPr>
        <p:sp>
          <p:nvSpPr>
            <p:cNvPr id="17" name="Rectangle 16">
              <a:extLst>
                <a:ext uri="{FF2B5EF4-FFF2-40B4-BE49-F238E27FC236}">
                  <a16:creationId xmlns:a16="http://schemas.microsoft.com/office/drawing/2014/main" id="{2C0E742D-5834-13EC-85DD-CA846B2A1BDD}"/>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8255E79D-93A8-5EFA-85D4-29BB78E3D34A}"/>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22" name="Rectangle 21">
              <a:extLst>
                <a:ext uri="{FF2B5EF4-FFF2-40B4-BE49-F238E27FC236}">
                  <a16:creationId xmlns:a16="http://schemas.microsoft.com/office/drawing/2014/main" id="{B3FFBD2F-F8F5-482F-A801-9F5B9A26CD56}"/>
                </a:ext>
              </a:extLst>
            </p:cNvPr>
            <p:cNvSpPr/>
            <p:nvPr/>
          </p:nvSpPr>
          <p:spPr>
            <a:xfrm>
              <a:off x="5868888" y="132067"/>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44612059-2E65-8331-AEE6-A7445B380802}"/>
                </a:ext>
              </a:extLst>
            </p:cNvPr>
            <p:cNvSpPr/>
            <p:nvPr/>
          </p:nvSpPr>
          <p:spPr>
            <a:xfrm>
              <a:off x="6352542" y="132067"/>
              <a:ext cx="414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spcAft>
                  <a:spcPts val="600"/>
                </a:spcAft>
              </a:pPr>
              <a:r>
                <a:rPr lang="en-GB" sz="800" b="1" dirty="0">
                  <a:latin typeface="Arial"/>
                  <a:cs typeface="Arial"/>
                </a:rPr>
                <a:t>Civil Protection Measure Planning </a:t>
              </a:r>
            </a:p>
          </p:txBody>
        </p:sp>
        <p:sp>
          <p:nvSpPr>
            <p:cNvPr id="24" name="Rectangle 23">
              <a:extLst>
                <a:ext uri="{FF2B5EF4-FFF2-40B4-BE49-F238E27FC236}">
                  <a16:creationId xmlns:a16="http://schemas.microsoft.com/office/drawing/2014/main" id="{3B8D1E30-D828-C8C3-0A40-B6094E730740}"/>
                </a:ext>
              </a:extLst>
            </p:cNvPr>
            <p:cNvSpPr/>
            <p:nvPr/>
          </p:nvSpPr>
          <p:spPr>
            <a:xfrm>
              <a:off x="6110715"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4</a:t>
              </a:r>
            </a:p>
          </p:txBody>
        </p:sp>
        <p:sp>
          <p:nvSpPr>
            <p:cNvPr id="25" name="Rectangle 24">
              <a:extLst>
                <a:ext uri="{FF2B5EF4-FFF2-40B4-BE49-F238E27FC236}">
                  <a16:creationId xmlns:a16="http://schemas.microsoft.com/office/drawing/2014/main" id="{2EDF55DC-4616-8A52-627A-AC4490592357}"/>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1C12919A-1914-A1EF-666B-7F7D93CEF8C9}"/>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820792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8412" r="-4964"/>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rtl="0"/>
            <a:r>
              <a:rPr lang="en-gb" sz="5400" dirty="0"/>
              <a:t>2.5. </a:t>
            </a:r>
            <a:r>
              <a:rPr lang="en-GB" sz="5400" dirty="0"/>
              <a:t>Special </a:t>
            </a:r>
            <a:r>
              <a:rPr lang="lv-LV" sz="5400" dirty="0"/>
              <a:t>L</a:t>
            </a:r>
            <a:r>
              <a:rPr lang="en-GB" sz="5400" dirty="0"/>
              <a:t>egal </a:t>
            </a:r>
            <a:r>
              <a:rPr lang="lv-LV" sz="5400" dirty="0"/>
              <a:t>R</a:t>
            </a:r>
            <a:r>
              <a:rPr lang="en-GB" sz="5400" dirty="0" err="1"/>
              <a:t>egimes</a:t>
            </a:r>
            <a:endParaRPr lang="en-gb" sz="5400" dirty="0"/>
          </a:p>
        </p:txBody>
      </p:sp>
    </p:spTree>
    <p:extLst>
      <p:ext uri="{BB962C8B-B14F-4D97-AF65-F5344CB8AC3E}">
        <p14:creationId xmlns:p14="http://schemas.microsoft.com/office/powerpoint/2010/main" val="4499929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E74A4CA-4C1D-22E5-62BF-A832DAE4EE81}"/>
              </a:ext>
            </a:extLst>
          </p:cNvPr>
          <p:cNvSpPr/>
          <p:nvPr/>
        </p:nvSpPr>
        <p:spPr>
          <a:xfrm>
            <a:off x="6275386" y="1881819"/>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9" name="Rectangle 38">
            <a:extLst>
              <a:ext uri="{FF2B5EF4-FFF2-40B4-BE49-F238E27FC236}">
                <a16:creationId xmlns:a16="http://schemas.microsoft.com/office/drawing/2014/main" id="{4EF01589-01A7-6A78-B7D2-814CD824AA04}"/>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0" name="Rectangle 39">
            <a:extLst>
              <a:ext uri="{FF2B5EF4-FFF2-40B4-BE49-F238E27FC236}">
                <a16:creationId xmlns:a16="http://schemas.microsoft.com/office/drawing/2014/main" id="{0805E0AF-46E5-F09E-3FE2-7E843A4378CA}"/>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31" name="Group 30">
            <a:extLst>
              <a:ext uri="{FF2B5EF4-FFF2-40B4-BE49-F238E27FC236}">
                <a16:creationId xmlns:a16="http://schemas.microsoft.com/office/drawing/2014/main" id="{5681F1B8-205B-60A8-7B1B-2F350B526F11}"/>
              </a:ext>
            </a:extLst>
          </p:cNvPr>
          <p:cNvGrpSpPr/>
          <p:nvPr/>
        </p:nvGrpSpPr>
        <p:grpSpPr>
          <a:xfrm>
            <a:off x="6275388" y="2879316"/>
            <a:ext cx="5473700" cy="241090"/>
            <a:chOff x="6275388" y="2666162"/>
            <a:chExt cx="5473700" cy="241090"/>
          </a:xfrm>
        </p:grpSpPr>
        <p:grpSp>
          <p:nvGrpSpPr>
            <p:cNvPr id="3" name="Group 2">
              <a:extLst>
                <a:ext uri="{FF2B5EF4-FFF2-40B4-BE49-F238E27FC236}">
                  <a16:creationId xmlns:a16="http://schemas.microsoft.com/office/drawing/2014/main" id="{4FECBF1A-CBC8-F84C-8101-10827541690E}"/>
                </a:ext>
              </a:extLst>
            </p:cNvPr>
            <p:cNvGrpSpPr/>
            <p:nvPr/>
          </p:nvGrpSpPr>
          <p:grpSpPr>
            <a:xfrm>
              <a:off x="6275388" y="2693466"/>
              <a:ext cx="5473700" cy="102868"/>
              <a:chOff x="442913" y="2705100"/>
              <a:chExt cx="11306175" cy="102868"/>
            </a:xfrm>
          </p:grpSpPr>
          <p:cxnSp>
            <p:nvCxnSpPr>
              <p:cNvPr id="26" name="Straight Connector 25">
                <a:extLst>
                  <a:ext uri="{FF2B5EF4-FFF2-40B4-BE49-F238E27FC236}">
                    <a16:creationId xmlns:a16="http://schemas.microsoft.com/office/drawing/2014/main" id="{75FAFD90-67D8-B3F1-F882-2789845B4FCB}"/>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76671187-4A67-4C73-C3F0-553C28BF15AA}"/>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25" name="L-Shape 24">
              <a:extLst>
                <a:ext uri="{FF2B5EF4-FFF2-40B4-BE49-F238E27FC236}">
                  <a16:creationId xmlns:a16="http://schemas.microsoft.com/office/drawing/2014/main" id="{9C5CF0B7-E54D-A7F1-C7C9-BE29C3DA7877}"/>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33" name="Group 32">
            <a:extLst>
              <a:ext uri="{FF2B5EF4-FFF2-40B4-BE49-F238E27FC236}">
                <a16:creationId xmlns:a16="http://schemas.microsoft.com/office/drawing/2014/main" id="{5EE8C27C-6BFC-92EF-B4B7-7AF1FC51FF13}"/>
              </a:ext>
            </a:extLst>
          </p:cNvPr>
          <p:cNvGrpSpPr/>
          <p:nvPr/>
        </p:nvGrpSpPr>
        <p:grpSpPr>
          <a:xfrm flipV="1">
            <a:off x="6275388" y="4164880"/>
            <a:ext cx="5473700" cy="241090"/>
            <a:chOff x="6275388" y="2666162"/>
            <a:chExt cx="5473700" cy="241090"/>
          </a:xfrm>
        </p:grpSpPr>
        <p:grpSp>
          <p:nvGrpSpPr>
            <p:cNvPr id="34" name="Group 33">
              <a:extLst>
                <a:ext uri="{FF2B5EF4-FFF2-40B4-BE49-F238E27FC236}">
                  <a16:creationId xmlns:a16="http://schemas.microsoft.com/office/drawing/2014/main" id="{E22F8D0A-CF58-9E06-A7CA-93D0FB1AA6D6}"/>
                </a:ext>
              </a:extLst>
            </p:cNvPr>
            <p:cNvGrpSpPr/>
            <p:nvPr/>
          </p:nvGrpSpPr>
          <p:grpSpPr>
            <a:xfrm>
              <a:off x="6275388" y="2693466"/>
              <a:ext cx="5473700" cy="102868"/>
              <a:chOff x="442913" y="2705100"/>
              <a:chExt cx="11306175" cy="102868"/>
            </a:xfrm>
          </p:grpSpPr>
          <p:cxnSp>
            <p:nvCxnSpPr>
              <p:cNvPr id="36" name="Straight Connector 35">
                <a:extLst>
                  <a:ext uri="{FF2B5EF4-FFF2-40B4-BE49-F238E27FC236}">
                    <a16:creationId xmlns:a16="http://schemas.microsoft.com/office/drawing/2014/main" id="{47AEC058-D581-363F-D030-5869D443CA02}"/>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D85CBF30-CCA1-B78C-359F-567388FA8470}"/>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35" name="L-Shape 34">
              <a:extLst>
                <a:ext uri="{FF2B5EF4-FFF2-40B4-BE49-F238E27FC236}">
                  <a16:creationId xmlns:a16="http://schemas.microsoft.com/office/drawing/2014/main" id="{86AAE75C-3CE9-7C6B-A230-247136E1A045}"/>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32" name="Title 31">
            <a:extLst>
              <a:ext uri="{FF2B5EF4-FFF2-40B4-BE49-F238E27FC236}">
                <a16:creationId xmlns:a16="http://schemas.microsoft.com/office/drawing/2014/main" id="{87542C18-251C-22CF-EE40-41B70EC2A8E8}"/>
              </a:ext>
            </a:extLst>
          </p:cNvPr>
          <p:cNvSpPr>
            <a:spLocks noGrp="1"/>
          </p:cNvSpPr>
          <p:nvPr>
            <p:ph type="title"/>
          </p:nvPr>
        </p:nvSpPr>
        <p:spPr>
          <a:xfrm>
            <a:off x="442913" y="432001"/>
            <a:ext cx="11306175" cy="1387274"/>
          </a:xfrm>
        </p:spPr>
        <p:txBody>
          <a:bodyPr vert="horz" rtlCol="0"/>
          <a:lstStyle/>
          <a:p>
            <a:pPr rtl="0"/>
            <a:r>
              <a:rPr lang="en-gb" dirty="0"/>
              <a:t>Emergency </a:t>
            </a:r>
            <a:r>
              <a:rPr lang="lv-LV" dirty="0"/>
              <a:t>S</a:t>
            </a:r>
            <a:r>
              <a:rPr lang="en-gb" dirty="0" err="1"/>
              <a:t>ituation</a:t>
            </a:r>
            <a:endParaRPr lang="en-gb" dirty="0"/>
          </a:p>
        </p:txBody>
      </p:sp>
      <p:sp>
        <p:nvSpPr>
          <p:cNvPr id="24" name="object 24"/>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lv-LV" smtClean="0"/>
              <a:pPr rtl="0"/>
              <a:t>26</a:t>
            </a:fld>
            <a:endParaRPr lang="lv-LV"/>
          </a:p>
        </p:txBody>
      </p:sp>
      <p:sp>
        <p:nvSpPr>
          <p:cNvPr id="5" name="object 5"/>
          <p:cNvSpPr txBox="1"/>
          <p:nvPr/>
        </p:nvSpPr>
        <p:spPr>
          <a:xfrm>
            <a:off x="442913" y="5232400"/>
            <a:ext cx="5473700" cy="939800"/>
          </a:xfrm>
          <a:prstGeom prst="rect">
            <a:avLst/>
          </a:prstGeom>
          <a:solidFill>
            <a:srgbClr val="525A72"/>
          </a:solidFill>
          <a:ln w="19811">
            <a:noFill/>
          </a:ln>
        </p:spPr>
        <p:txBody>
          <a:bodyPr vert="horz" wrap="square" lIns="72000" tIns="72000" rIns="72000" bIns="72000" rtlCol="0" anchor="ctr">
            <a:noAutofit/>
          </a:bodyPr>
          <a:lstStyle/>
          <a:p>
            <a:pPr rtl="0"/>
            <a:r>
              <a:rPr lang="en-gb" sz="1400" b="1">
                <a:solidFill>
                  <a:schemeClr val="bg1"/>
                </a:solidFill>
                <a:cs typeface="Times New Roman"/>
              </a:rPr>
              <a:t>Duration of the emergency: </a:t>
            </a:r>
            <a:r>
              <a:rPr lang="en-gb" sz="1400">
                <a:solidFill>
                  <a:schemeClr val="bg1"/>
                </a:solidFill>
                <a:cs typeface="Times New Roman"/>
              </a:rPr>
              <a:t>maximum 3 months + extension not exceeding 3 months</a:t>
            </a:r>
          </a:p>
          <a:p>
            <a:pPr marR="194310" rtl="0">
              <a:tabLst>
                <a:tab pos="1495425" algn="l"/>
                <a:tab pos="2421255" algn="l"/>
                <a:tab pos="2882900" algn="l"/>
              </a:tabLst>
            </a:pPr>
            <a:r>
              <a:rPr lang="lv-LV" sz="1400" b="1" spc="-10" err="1">
                <a:solidFill>
                  <a:schemeClr val="bg1"/>
                </a:solidFill>
                <a:cs typeface="Times New Roman"/>
              </a:rPr>
              <a:t>Declaration</a:t>
            </a:r>
            <a:r>
              <a:rPr lang="lv-LV" sz="1400" b="1" spc="-10">
                <a:solidFill>
                  <a:schemeClr val="bg1"/>
                </a:solidFill>
                <a:cs typeface="Times New Roman"/>
              </a:rPr>
              <a:t> </a:t>
            </a:r>
            <a:r>
              <a:rPr lang="lv-LV" sz="1400" b="1" spc="-10" err="1">
                <a:solidFill>
                  <a:schemeClr val="bg1"/>
                </a:solidFill>
                <a:cs typeface="Times New Roman"/>
              </a:rPr>
              <a:t>area</a:t>
            </a:r>
            <a:r>
              <a:rPr lang="en-gb" sz="1400" b="1" spc="-10">
                <a:solidFill>
                  <a:schemeClr val="bg1"/>
                </a:solidFill>
                <a:cs typeface="Times New Roman"/>
              </a:rPr>
              <a:t>: </a:t>
            </a:r>
            <a:r>
              <a:rPr lang="en-GB" sz="1400" spc="-20">
                <a:solidFill>
                  <a:schemeClr val="bg1"/>
                </a:solidFill>
                <a:cs typeface="Times New Roman"/>
              </a:rPr>
              <a:t>in the whole State</a:t>
            </a:r>
            <a:r>
              <a:rPr lang="lv-LV" sz="1400" spc="-10">
                <a:solidFill>
                  <a:schemeClr val="bg1"/>
                </a:solidFill>
                <a:cs typeface="Times New Roman"/>
              </a:rPr>
              <a:t>; </a:t>
            </a:r>
            <a:r>
              <a:rPr lang="en-US" sz="1400" spc="-10">
                <a:solidFill>
                  <a:schemeClr val="bg1"/>
                </a:solidFill>
                <a:cs typeface="Times New Roman"/>
              </a:rPr>
              <a:t>in part of the State</a:t>
            </a:r>
            <a:r>
              <a:rPr lang="lv-LV" sz="1400" spc="-10">
                <a:solidFill>
                  <a:schemeClr val="bg1"/>
                </a:solidFill>
                <a:cs typeface="Times New Roman"/>
              </a:rPr>
              <a:t>; </a:t>
            </a:r>
            <a:r>
              <a:rPr lang="en-US" sz="1400" spc="-10">
                <a:solidFill>
                  <a:schemeClr val="bg1"/>
                </a:solidFill>
                <a:cs typeface="Times New Roman"/>
              </a:rPr>
              <a:t>in part of an administrative territory</a:t>
            </a:r>
            <a:endParaRPr lang="lv-LV" sz="1400">
              <a:solidFill>
                <a:schemeClr val="bg1"/>
              </a:solidFill>
              <a:cs typeface="Times New Roman"/>
            </a:endParaRPr>
          </a:p>
        </p:txBody>
      </p:sp>
      <p:sp>
        <p:nvSpPr>
          <p:cNvPr id="10" name="object 10"/>
          <p:cNvSpPr txBox="1"/>
          <p:nvPr/>
        </p:nvSpPr>
        <p:spPr>
          <a:xfrm>
            <a:off x="6275386" y="1982770"/>
            <a:ext cx="1582453" cy="738664"/>
          </a:xfrm>
          <a:prstGeom prst="rect">
            <a:avLst/>
          </a:prstGeom>
        </p:spPr>
        <p:txBody>
          <a:bodyPr vert="horz" wrap="square" lIns="72000" tIns="0" rIns="0" bIns="0" rtlCol="0">
            <a:spAutoFit/>
          </a:bodyPr>
          <a:lstStyle/>
          <a:p>
            <a:pPr marL="12700" rtl="0">
              <a:spcBef>
                <a:spcPts val="100"/>
              </a:spcBef>
            </a:pPr>
            <a:r>
              <a:rPr lang="lv-LV" sz="1200" spc="-25" err="1">
                <a:cs typeface="Verdana"/>
              </a:rPr>
              <a:t>Can</a:t>
            </a:r>
            <a:r>
              <a:rPr lang="en-gb" sz="1200" spc="-25">
                <a:cs typeface="Verdana"/>
              </a:rPr>
              <a:t> </a:t>
            </a:r>
            <a:r>
              <a:rPr lang="en-gb" sz="1200">
                <a:solidFill>
                  <a:srgbClr val="A8192D"/>
                </a:solidFill>
                <a:cs typeface="Verdana"/>
              </a:rPr>
              <a:t>request</a:t>
            </a:r>
            <a:r>
              <a:rPr lang="en-gb" sz="1200">
                <a:solidFill>
                  <a:srgbClr val="C00000"/>
                </a:solidFill>
                <a:cs typeface="Verdana"/>
              </a:rPr>
              <a:t> </a:t>
            </a:r>
            <a:r>
              <a:rPr lang="lv-LV" sz="1200">
                <a:cs typeface="Verdana"/>
              </a:rPr>
              <a:t>d</a:t>
            </a:r>
            <a:r>
              <a:rPr lang="en-GB" sz="1200" err="1"/>
              <a:t>eclaring</a:t>
            </a:r>
            <a:r>
              <a:rPr lang="en-GB" sz="1200"/>
              <a:t> of </a:t>
            </a:r>
            <a:r>
              <a:rPr lang="en-GB" sz="1200">
                <a:cs typeface="Verdana"/>
              </a:rPr>
              <a:t>emergency situation</a:t>
            </a:r>
            <a:r>
              <a:rPr lang="lv-LV" sz="1200">
                <a:cs typeface="Verdana"/>
              </a:rPr>
              <a:t> to the </a:t>
            </a:r>
            <a:r>
              <a:rPr lang="lv-LV" sz="1200" err="1">
                <a:cs typeface="Verdana"/>
              </a:rPr>
              <a:t>Cabinet</a:t>
            </a:r>
            <a:r>
              <a:rPr lang="en-gb" sz="1200" spc="-25">
                <a:cs typeface="Verdana"/>
              </a:rPr>
              <a:t>:</a:t>
            </a:r>
            <a:endParaRPr lang="lv-LV" sz="1200">
              <a:cs typeface="Verdana"/>
            </a:endParaRPr>
          </a:p>
        </p:txBody>
      </p:sp>
      <p:sp>
        <p:nvSpPr>
          <p:cNvPr id="16" name="object 16"/>
          <p:cNvSpPr txBox="1"/>
          <p:nvPr/>
        </p:nvSpPr>
        <p:spPr>
          <a:xfrm>
            <a:off x="6275386" y="3375590"/>
            <a:ext cx="1484578" cy="553998"/>
          </a:xfrm>
          <a:prstGeom prst="rect">
            <a:avLst/>
          </a:prstGeom>
        </p:spPr>
        <p:txBody>
          <a:bodyPr vert="horz" wrap="square" lIns="72000" tIns="0" rIns="0" bIns="0" rtlCol="0">
            <a:spAutoFit/>
          </a:bodyPr>
          <a:lstStyle/>
          <a:p>
            <a:pPr marL="12700" rtl="0">
              <a:spcBef>
                <a:spcPts val="100"/>
              </a:spcBef>
            </a:pPr>
            <a:r>
              <a:rPr lang="en-gb" sz="1200">
                <a:cs typeface="Verdana"/>
              </a:rPr>
              <a:t>Can</a:t>
            </a:r>
            <a:r>
              <a:rPr lang="en-gb" sz="1200" spc="-30">
                <a:cs typeface="Verdana"/>
              </a:rPr>
              <a:t> </a:t>
            </a:r>
            <a:r>
              <a:rPr lang="en-GB" sz="1200">
                <a:solidFill>
                  <a:srgbClr val="A8192D"/>
                </a:solidFill>
                <a:cs typeface="Verdana"/>
              </a:rPr>
              <a:t>declare</a:t>
            </a:r>
            <a:r>
              <a:rPr lang="en-gb" sz="1200" spc="-20">
                <a:solidFill>
                  <a:srgbClr val="A8192D"/>
                </a:solidFill>
                <a:cs typeface="Verdana"/>
              </a:rPr>
              <a:t> </a:t>
            </a:r>
            <a:r>
              <a:rPr lang="en-gb" sz="1200" i="1">
                <a:solidFill>
                  <a:srgbClr val="A8192D"/>
                </a:solidFill>
                <a:cs typeface="Verdana"/>
              </a:rPr>
              <a:t>(</a:t>
            </a:r>
            <a:r>
              <a:rPr lang="en-GB" sz="1200" i="1">
                <a:solidFill>
                  <a:srgbClr val="A8192D"/>
                </a:solidFill>
                <a:cs typeface="Verdana"/>
              </a:rPr>
              <a:t>revoke a decision</a:t>
            </a:r>
            <a:r>
              <a:rPr lang="en-gb" sz="1200" i="1">
                <a:solidFill>
                  <a:srgbClr val="A8192D"/>
                </a:solidFill>
                <a:cs typeface="Verdana"/>
              </a:rPr>
              <a:t>)</a:t>
            </a:r>
            <a:r>
              <a:rPr lang="lv-LV" sz="1200" i="1">
                <a:solidFill>
                  <a:srgbClr val="A8192D"/>
                </a:solidFill>
                <a:cs typeface="Verdana"/>
              </a:rPr>
              <a:t> </a:t>
            </a:r>
            <a:r>
              <a:rPr lang="en-GB" sz="1200" spc="-25">
                <a:cs typeface="Verdana"/>
              </a:rPr>
              <a:t>emergency situation</a:t>
            </a:r>
            <a:r>
              <a:rPr lang="en-gb" sz="1200" spc="-25">
                <a:cs typeface="Verdana"/>
              </a:rPr>
              <a:t>:</a:t>
            </a:r>
            <a:endParaRPr lang="lv-LV" sz="1200">
              <a:cs typeface="Verdana"/>
            </a:endParaRPr>
          </a:p>
        </p:txBody>
      </p:sp>
      <p:sp>
        <p:nvSpPr>
          <p:cNvPr id="21" name="object 21"/>
          <p:cNvSpPr txBox="1"/>
          <p:nvPr/>
        </p:nvSpPr>
        <p:spPr>
          <a:xfrm>
            <a:off x="6275385" y="4655540"/>
            <a:ext cx="1484579" cy="738664"/>
          </a:xfrm>
          <a:prstGeom prst="rect">
            <a:avLst/>
          </a:prstGeom>
        </p:spPr>
        <p:txBody>
          <a:bodyPr vert="horz" wrap="square" lIns="72000" tIns="0" rIns="0" bIns="0" rtlCol="0">
            <a:spAutoFit/>
          </a:bodyPr>
          <a:lstStyle/>
          <a:p>
            <a:pPr marL="12700" rtl="0">
              <a:spcBef>
                <a:spcPts val="100"/>
              </a:spcBef>
            </a:pPr>
            <a:r>
              <a:rPr lang="lv-LV" sz="1200" err="1">
                <a:cs typeface="Verdana"/>
              </a:rPr>
              <a:t>Can</a:t>
            </a:r>
            <a:r>
              <a:rPr lang="lv-LV" sz="1200">
                <a:cs typeface="Verdana"/>
              </a:rPr>
              <a:t> </a:t>
            </a:r>
            <a:r>
              <a:rPr lang="lv-LV" sz="1200">
                <a:solidFill>
                  <a:srgbClr val="A8192D"/>
                </a:solidFill>
              </a:rPr>
              <a:t>d</a:t>
            </a:r>
            <a:r>
              <a:rPr lang="en-US" sz="1200" err="1">
                <a:solidFill>
                  <a:srgbClr val="A8192D"/>
                </a:solidFill>
              </a:rPr>
              <a:t>ecide</a:t>
            </a:r>
            <a:r>
              <a:rPr lang="en-US" sz="1200">
                <a:solidFill>
                  <a:srgbClr val="A8192D"/>
                </a:solidFill>
              </a:rPr>
              <a:t> on </a:t>
            </a:r>
            <a:r>
              <a:rPr lang="lv-LV" sz="1200">
                <a:solidFill>
                  <a:srgbClr val="A8192D"/>
                </a:solidFill>
              </a:rPr>
              <a:t>j</a:t>
            </a:r>
            <a:r>
              <a:rPr lang="en-US" sz="1200" err="1">
                <a:solidFill>
                  <a:srgbClr val="A8192D"/>
                </a:solidFill>
              </a:rPr>
              <a:t>ustification</a:t>
            </a:r>
            <a:r>
              <a:rPr lang="en-US" sz="1200">
                <a:solidFill>
                  <a:srgbClr val="A8192D"/>
                </a:solidFill>
              </a:rPr>
              <a:t> </a:t>
            </a:r>
            <a:r>
              <a:rPr lang="en-US" sz="1200">
                <a:cs typeface="Verdana"/>
              </a:rPr>
              <a:t>of</a:t>
            </a:r>
            <a:r>
              <a:rPr lang="lv-LV" sz="1200">
                <a:cs typeface="Verdana"/>
              </a:rPr>
              <a:t> e</a:t>
            </a:r>
            <a:r>
              <a:rPr lang="en-US" sz="1200" err="1">
                <a:cs typeface="Verdana"/>
              </a:rPr>
              <a:t>mergency</a:t>
            </a:r>
            <a:r>
              <a:rPr lang="en-US" sz="1200">
                <a:cs typeface="Verdana"/>
              </a:rPr>
              <a:t> </a:t>
            </a:r>
            <a:r>
              <a:rPr lang="lv-LV" sz="1200">
                <a:cs typeface="Verdana"/>
              </a:rPr>
              <a:t>s</a:t>
            </a:r>
            <a:r>
              <a:rPr lang="en-US" sz="1200" err="1">
                <a:cs typeface="Verdana"/>
              </a:rPr>
              <a:t>ituation</a:t>
            </a:r>
            <a:r>
              <a:rPr lang="lv-LV" sz="1200">
                <a:cs typeface="Verdana"/>
              </a:rPr>
              <a:t>:</a:t>
            </a:r>
          </a:p>
        </p:txBody>
      </p:sp>
      <p:sp>
        <p:nvSpPr>
          <p:cNvPr id="27" name="object 3">
            <a:extLst>
              <a:ext uri="{FF2B5EF4-FFF2-40B4-BE49-F238E27FC236}">
                <a16:creationId xmlns:a16="http://schemas.microsoft.com/office/drawing/2014/main" id="{FE4065D5-5844-92B0-D2CC-BCC509607FB4}"/>
              </a:ext>
            </a:extLst>
          </p:cNvPr>
          <p:cNvSpPr txBox="1">
            <a:spLocks/>
          </p:cNvSpPr>
          <p:nvPr/>
        </p:nvSpPr>
        <p:spPr>
          <a:xfrm>
            <a:off x="442914" y="1719072"/>
            <a:ext cx="5473700" cy="1130809"/>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rtl="0">
              <a:spcAft>
                <a:spcPts val="0"/>
              </a:spcAft>
            </a:pPr>
            <a:r>
              <a:rPr lang="en-gb" sz="1400">
                <a:solidFill>
                  <a:schemeClr val="bg1"/>
                </a:solidFill>
                <a:cs typeface="Times New Roman"/>
              </a:rPr>
              <a:t>Emergency</a:t>
            </a:r>
            <a:r>
              <a:rPr lang="en-gb" sz="1400" spc="70">
                <a:solidFill>
                  <a:schemeClr val="bg1"/>
                </a:solidFill>
                <a:cs typeface="Times New Roman"/>
              </a:rPr>
              <a:t> </a:t>
            </a:r>
            <a:r>
              <a:rPr lang="en-gb" sz="1400">
                <a:solidFill>
                  <a:schemeClr val="bg1"/>
                </a:solidFill>
                <a:cs typeface="Times New Roman"/>
              </a:rPr>
              <a:t>situation</a:t>
            </a:r>
            <a:r>
              <a:rPr lang="en-gb" sz="1400" spc="70">
                <a:solidFill>
                  <a:schemeClr val="bg1"/>
                </a:solidFill>
                <a:cs typeface="Times New Roman"/>
              </a:rPr>
              <a:t> </a:t>
            </a:r>
            <a:r>
              <a:rPr lang="lv-LV" sz="1400" b="0" spc="70">
                <a:solidFill>
                  <a:schemeClr val="bg1"/>
                </a:solidFill>
                <a:cs typeface="Times New Roman"/>
              </a:rPr>
              <a:t>–</a:t>
            </a:r>
            <a:r>
              <a:rPr lang="en-gb" sz="1400" b="0" spc="65">
                <a:solidFill>
                  <a:schemeClr val="bg1"/>
                </a:solidFill>
                <a:cs typeface="Times New Roman"/>
              </a:rPr>
              <a:t> </a:t>
            </a:r>
            <a:r>
              <a:rPr lang="en-US" sz="1400" b="0">
                <a:solidFill>
                  <a:schemeClr val="bg1"/>
                </a:solidFill>
                <a:cs typeface="Times New Roman"/>
              </a:rPr>
              <a:t>special legal regime, during which the Cabinet has the right to restrict the rights and freedoms of State administration and local government authorities, natural persons and legal persons, as well as to impose additional duties to them</a:t>
            </a:r>
            <a:r>
              <a:rPr lang="en-gb" sz="1400" b="0">
                <a:solidFill>
                  <a:schemeClr val="bg1"/>
                </a:solidFill>
              </a:rPr>
              <a:t>.</a:t>
            </a:r>
            <a:endParaRPr lang="lv-LV" sz="1400" b="0">
              <a:solidFill>
                <a:schemeClr val="bg1"/>
              </a:solidFill>
              <a:ea typeface="+mn-lt"/>
              <a:cs typeface="+mn-lt"/>
            </a:endParaRPr>
          </a:p>
        </p:txBody>
      </p:sp>
      <p:grpSp>
        <p:nvGrpSpPr>
          <p:cNvPr id="6" name="Group 5">
            <a:extLst>
              <a:ext uri="{FF2B5EF4-FFF2-40B4-BE49-F238E27FC236}">
                <a16:creationId xmlns:a16="http://schemas.microsoft.com/office/drawing/2014/main" id="{EC26393C-A2DD-3D47-2095-017CEE98B9E5}"/>
              </a:ext>
            </a:extLst>
          </p:cNvPr>
          <p:cNvGrpSpPr/>
          <p:nvPr/>
        </p:nvGrpSpPr>
        <p:grpSpPr>
          <a:xfrm>
            <a:off x="9064453" y="1923943"/>
            <a:ext cx="957021" cy="856318"/>
            <a:chOff x="8891977" y="1854795"/>
            <a:chExt cx="957021" cy="856318"/>
          </a:xfrm>
        </p:grpSpPr>
        <p:pic>
          <p:nvPicPr>
            <p:cNvPr id="2050" name="Picture 2" descr="Ārlietu ministrija">
              <a:extLst>
                <a:ext uri="{FF2B5EF4-FFF2-40B4-BE49-F238E27FC236}">
                  <a16:creationId xmlns:a16="http://schemas.microsoft.com/office/drawing/2014/main" id="{B7DACA1A-0743-07AE-9DF1-3C4CA230EC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1F6F023A-4A4D-1841-BACD-F72EB03805DD}"/>
                </a:ext>
              </a:extLst>
            </p:cNvPr>
            <p:cNvSpPr txBox="1"/>
            <p:nvPr/>
          </p:nvSpPr>
          <p:spPr>
            <a:xfrm>
              <a:off x="8891977" y="2403336"/>
              <a:ext cx="957021" cy="307777"/>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a:t>S</a:t>
              </a:r>
              <a:r>
                <a:rPr lang="en-GB" sz="1000" b="1" err="1"/>
                <a:t>ectoral</a:t>
              </a:r>
              <a:r>
                <a:rPr lang="en-GB" sz="1000" b="1"/>
                <a:t> ministry</a:t>
              </a:r>
              <a:endParaRPr lang="en-gb" sz="1000" b="1"/>
            </a:p>
          </p:txBody>
        </p:sp>
      </p:grpSp>
      <p:grpSp>
        <p:nvGrpSpPr>
          <p:cNvPr id="2" name="Group 1">
            <a:extLst>
              <a:ext uri="{FF2B5EF4-FFF2-40B4-BE49-F238E27FC236}">
                <a16:creationId xmlns:a16="http://schemas.microsoft.com/office/drawing/2014/main" id="{139B1DFA-7A2C-077A-1DE0-4FC8A077DBC6}"/>
              </a:ext>
            </a:extLst>
          </p:cNvPr>
          <p:cNvGrpSpPr/>
          <p:nvPr/>
        </p:nvGrpSpPr>
        <p:grpSpPr>
          <a:xfrm>
            <a:off x="10194962" y="1920898"/>
            <a:ext cx="1196740" cy="862409"/>
            <a:chOff x="10127228" y="1854795"/>
            <a:chExt cx="1196740" cy="862409"/>
          </a:xfrm>
        </p:grpSpPr>
        <p:sp>
          <p:nvSpPr>
            <p:cNvPr id="22" name="object 22"/>
            <p:cNvSpPr txBox="1"/>
            <p:nvPr/>
          </p:nvSpPr>
          <p:spPr>
            <a:xfrm>
              <a:off x="10127228" y="2397245"/>
              <a:ext cx="1196740" cy="319959"/>
            </a:xfrm>
            <a:prstGeom prst="rect">
              <a:avLst/>
            </a:prstGeom>
          </p:spPr>
          <p:txBody>
            <a:bodyPr vert="horz" wrap="square" lIns="0" tIns="12065" rIns="0" bIns="0" rtlCol="0" anchor="ctr">
              <a:spAutoFit/>
            </a:bodyPr>
            <a:lstStyle/>
            <a:p>
              <a:pPr marL="12700" algn="ctr" rtl="0">
                <a:spcBef>
                  <a:spcPts val="95"/>
                </a:spcBef>
              </a:pPr>
              <a:r>
                <a:rPr lang="en-GB" sz="1000" b="1">
                  <a:cs typeface="Verdana"/>
                </a:rPr>
                <a:t>Crisis Management Council</a:t>
              </a:r>
              <a:endParaRPr lang="lv-LV" sz="1000">
                <a:cs typeface="Verdana"/>
              </a:endParaRPr>
            </a:p>
          </p:txBody>
        </p:sp>
        <p:pic>
          <p:nvPicPr>
            <p:cNvPr id="54" name="Picture 2" descr="Ārlietu ministrija">
              <a:extLst>
                <a:ext uri="{FF2B5EF4-FFF2-40B4-BE49-F238E27FC236}">
                  <a16:creationId xmlns:a16="http://schemas.microsoft.com/office/drawing/2014/main" id="{2624FDFD-C0C8-4044-401B-C77C6CDE0E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0396177" y="1854795"/>
              <a:ext cx="658841" cy="5601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CBBEF63F-C408-2D1F-6770-1AD39A8BBAFB}"/>
              </a:ext>
            </a:extLst>
          </p:cNvPr>
          <p:cNvGrpSpPr/>
          <p:nvPr/>
        </p:nvGrpSpPr>
        <p:grpSpPr>
          <a:xfrm>
            <a:off x="7729628" y="1934090"/>
            <a:ext cx="1161336" cy="836025"/>
            <a:chOff x="7729628" y="1924245"/>
            <a:chExt cx="1161336" cy="836025"/>
          </a:xfrm>
        </p:grpSpPr>
        <p:sp>
          <p:nvSpPr>
            <p:cNvPr id="62" name="TextBox 61">
              <a:extLst>
                <a:ext uri="{FF2B5EF4-FFF2-40B4-BE49-F238E27FC236}">
                  <a16:creationId xmlns:a16="http://schemas.microsoft.com/office/drawing/2014/main" id="{587F8174-78B8-BCDF-9314-F8892430D915}"/>
                </a:ext>
              </a:extLst>
            </p:cNvPr>
            <p:cNvSpPr txBox="1"/>
            <p:nvPr/>
          </p:nvSpPr>
          <p:spPr>
            <a:xfrm>
              <a:off x="7729628" y="2452493"/>
              <a:ext cx="1161336" cy="307777"/>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a:t>Re</a:t>
              </a:r>
              <a:r>
                <a:rPr lang="en-US" sz="1000" b="1" err="1"/>
                <a:t>presentatives</a:t>
              </a:r>
              <a:r>
                <a:rPr lang="en-US" sz="1000" b="1"/>
                <a:t> of a local government</a:t>
              </a:r>
              <a:endParaRPr lang="en-gb" sz="1000" b="1"/>
            </a:p>
          </p:txBody>
        </p:sp>
        <p:pic>
          <p:nvPicPr>
            <p:cNvPr id="63" name="Picture 62">
              <a:extLst>
                <a:ext uri="{FF2B5EF4-FFF2-40B4-BE49-F238E27FC236}">
                  <a16:creationId xmlns:a16="http://schemas.microsoft.com/office/drawing/2014/main" id="{E86FDF20-D216-7D08-7DD5-13FE47DA8098}"/>
                </a:ext>
              </a:extLst>
            </p:cNvPr>
            <p:cNvPicPr>
              <a:picLocks noChangeAspect="1"/>
            </p:cNvPicPr>
            <p:nvPr/>
          </p:nvPicPr>
          <p:blipFill>
            <a:blip r:embed="rId4"/>
            <a:stretch>
              <a:fillRect/>
            </a:stretch>
          </p:blipFill>
          <p:spPr>
            <a:xfrm>
              <a:off x="8095638" y="1924245"/>
              <a:ext cx="429317" cy="495068"/>
            </a:xfrm>
            <a:prstGeom prst="rect">
              <a:avLst/>
            </a:prstGeom>
          </p:spPr>
        </p:pic>
      </p:grpSp>
      <p:sp>
        <p:nvSpPr>
          <p:cNvPr id="11" name="TextBox 10">
            <a:extLst>
              <a:ext uri="{FF2B5EF4-FFF2-40B4-BE49-F238E27FC236}">
                <a16:creationId xmlns:a16="http://schemas.microsoft.com/office/drawing/2014/main" id="{F73F1304-6535-C49D-4525-7E631DC4AD5A}"/>
              </a:ext>
            </a:extLst>
          </p:cNvPr>
          <p:cNvSpPr txBox="1"/>
          <p:nvPr/>
        </p:nvSpPr>
        <p:spPr>
          <a:xfrm>
            <a:off x="442912" y="2981601"/>
            <a:ext cx="5480301" cy="2119080"/>
          </a:xfrm>
          <a:prstGeom prst="rect">
            <a:avLst/>
          </a:prstGeom>
          <a:solidFill>
            <a:srgbClr val="CFD6E8"/>
          </a:solidFill>
        </p:spPr>
        <p:txBody>
          <a:bodyPr wrap="square" lIns="72000" tIns="72000" rIns="72000" bIns="72000" rtlCol="0">
            <a:noAutofit/>
          </a:bodyPr>
          <a:lstStyle/>
          <a:p>
            <a:pPr marR="5080" rtl="0"/>
            <a:r>
              <a:rPr lang="en-US" sz="1400" b="1" spc="-10">
                <a:ea typeface="+mn-lt"/>
                <a:cs typeface="+mn-lt"/>
              </a:rPr>
              <a:t>Emergency situation may be declared in case of such threat to national security, which is related to</a:t>
            </a:r>
            <a:r>
              <a:rPr lang="en-gb" sz="1400" b="1" spc="-10">
                <a:ea typeface="+mn-lt"/>
                <a:cs typeface="+mn-lt"/>
              </a:rPr>
              <a:t>:</a:t>
            </a:r>
          </a:p>
          <a:p>
            <a:pPr marR="5080" rtl="0"/>
            <a:endParaRPr lang="lv-LV" sz="1400">
              <a:ea typeface="+mn-lt"/>
              <a:cs typeface="+mn-lt"/>
            </a:endParaRPr>
          </a:p>
        </p:txBody>
      </p:sp>
      <p:grpSp>
        <p:nvGrpSpPr>
          <p:cNvPr id="2059" name="Group 2058">
            <a:extLst>
              <a:ext uri="{FF2B5EF4-FFF2-40B4-BE49-F238E27FC236}">
                <a16:creationId xmlns:a16="http://schemas.microsoft.com/office/drawing/2014/main" id="{B88E9876-4F31-A8CE-C9FB-6EF5D7991881}"/>
              </a:ext>
            </a:extLst>
          </p:cNvPr>
          <p:cNvGrpSpPr/>
          <p:nvPr/>
        </p:nvGrpSpPr>
        <p:grpSpPr>
          <a:xfrm>
            <a:off x="559119" y="3534000"/>
            <a:ext cx="5349874" cy="360000"/>
            <a:chOff x="559119" y="3534000"/>
            <a:chExt cx="5349874" cy="360000"/>
          </a:xfrm>
        </p:grpSpPr>
        <p:sp>
          <p:nvSpPr>
            <p:cNvPr id="9" name="Rectangle 8">
              <a:extLst>
                <a:ext uri="{FF2B5EF4-FFF2-40B4-BE49-F238E27FC236}">
                  <a16:creationId xmlns:a16="http://schemas.microsoft.com/office/drawing/2014/main" id="{62995D05-3D43-D541-4A36-425124723511}"/>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lv-LV" sz="1400">
                  <a:solidFill>
                    <a:schemeClr val="tx1"/>
                  </a:solidFill>
                  <a:ea typeface="+mn-lt"/>
                  <a:cs typeface="+mn-lt"/>
                </a:rPr>
                <a:t>a </a:t>
              </a:r>
              <a:r>
                <a:rPr lang="en-gb" sz="1400">
                  <a:solidFill>
                    <a:schemeClr val="tx1"/>
                  </a:solidFill>
                  <a:ea typeface="+mn-lt"/>
                  <a:cs typeface="+mn-lt"/>
                </a:rPr>
                <a:t>disaster, </a:t>
              </a:r>
            </a:p>
          </p:txBody>
        </p:sp>
        <p:sp>
          <p:nvSpPr>
            <p:cNvPr id="13" name="Rectangle 12">
              <a:extLst>
                <a:ext uri="{FF2B5EF4-FFF2-40B4-BE49-F238E27FC236}">
                  <a16:creationId xmlns:a16="http://schemas.microsoft.com/office/drawing/2014/main" id="{92FAE0C2-39F2-FA6A-6FBA-23D9A15404CD}"/>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4" name="L-Shape 13">
              <a:extLst>
                <a:ext uri="{FF2B5EF4-FFF2-40B4-BE49-F238E27FC236}">
                  <a16:creationId xmlns:a16="http://schemas.microsoft.com/office/drawing/2014/main" id="{4A86F91A-7A8D-B1FC-5AD4-E5C7BEBDBA6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2058" name="Group 2057">
            <a:extLst>
              <a:ext uri="{FF2B5EF4-FFF2-40B4-BE49-F238E27FC236}">
                <a16:creationId xmlns:a16="http://schemas.microsoft.com/office/drawing/2014/main" id="{2521CB5D-77C0-1DD9-17C5-A9D042FCBA87}"/>
              </a:ext>
            </a:extLst>
          </p:cNvPr>
          <p:cNvGrpSpPr/>
          <p:nvPr/>
        </p:nvGrpSpPr>
        <p:grpSpPr>
          <a:xfrm>
            <a:off x="559119" y="3949684"/>
            <a:ext cx="5349874" cy="360000"/>
            <a:chOff x="559119" y="3945434"/>
            <a:chExt cx="5349874" cy="360000"/>
          </a:xfrm>
        </p:grpSpPr>
        <p:sp>
          <p:nvSpPr>
            <p:cNvPr id="18" name="Rectangle 17">
              <a:extLst>
                <a:ext uri="{FF2B5EF4-FFF2-40B4-BE49-F238E27FC236}">
                  <a16:creationId xmlns:a16="http://schemas.microsoft.com/office/drawing/2014/main" id="{88E54120-5CC8-B947-8D87-92AECE4C0AA3}"/>
                </a:ext>
              </a:extLst>
            </p:cNvPr>
            <p:cNvSpPr/>
            <p:nvPr/>
          </p:nvSpPr>
          <p:spPr>
            <a:xfrm>
              <a:off x="1238789" y="394543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GB" sz="1400">
                  <a:solidFill>
                    <a:schemeClr val="tx1"/>
                  </a:solidFill>
                  <a:ea typeface="+mn-lt"/>
                  <a:cs typeface="+mn-lt"/>
                </a:rPr>
                <a:t>danger thereof</a:t>
              </a:r>
              <a:r>
                <a:rPr lang="lv-LV" sz="1400">
                  <a:solidFill>
                    <a:schemeClr val="tx1"/>
                  </a:solidFill>
                  <a:ea typeface="+mn-lt"/>
                  <a:cs typeface="+mn-lt"/>
                </a:rPr>
                <a:t> </a:t>
              </a:r>
              <a:r>
                <a:rPr lang="lv-LV" sz="1400" err="1">
                  <a:solidFill>
                    <a:schemeClr val="tx1"/>
                  </a:solidFill>
                  <a:ea typeface="+mn-lt"/>
                  <a:cs typeface="+mn-lt"/>
                </a:rPr>
                <a:t>or</a:t>
              </a:r>
              <a:endParaRPr lang="en-gb" sz="1400">
                <a:solidFill>
                  <a:schemeClr val="tx1"/>
                </a:solidFill>
                <a:ea typeface="+mn-lt"/>
                <a:cs typeface="+mn-lt"/>
              </a:endParaRPr>
            </a:p>
          </p:txBody>
        </p:sp>
        <p:sp>
          <p:nvSpPr>
            <p:cNvPr id="19" name="Rectangle 18">
              <a:extLst>
                <a:ext uri="{FF2B5EF4-FFF2-40B4-BE49-F238E27FC236}">
                  <a16:creationId xmlns:a16="http://schemas.microsoft.com/office/drawing/2014/main" id="{3AFE3744-CA60-44A3-8A4D-43DFDD299734}"/>
                </a:ext>
              </a:extLst>
            </p:cNvPr>
            <p:cNvSpPr/>
            <p:nvPr/>
          </p:nvSpPr>
          <p:spPr>
            <a:xfrm>
              <a:off x="559119" y="3945434"/>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0" name="L-Shape 19">
              <a:extLst>
                <a:ext uri="{FF2B5EF4-FFF2-40B4-BE49-F238E27FC236}">
                  <a16:creationId xmlns:a16="http://schemas.microsoft.com/office/drawing/2014/main" id="{4A11C254-949B-DE14-A25D-58CFF1346DA4}"/>
                </a:ext>
              </a:extLst>
            </p:cNvPr>
            <p:cNvSpPr/>
            <p:nvPr/>
          </p:nvSpPr>
          <p:spPr>
            <a:xfrm rot="13500000">
              <a:off x="710285" y="401675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2060" name="Group 2059">
            <a:extLst>
              <a:ext uri="{FF2B5EF4-FFF2-40B4-BE49-F238E27FC236}">
                <a16:creationId xmlns:a16="http://schemas.microsoft.com/office/drawing/2014/main" id="{C3EF24DA-8DB8-C590-192C-D34CC9502B47}"/>
              </a:ext>
            </a:extLst>
          </p:cNvPr>
          <p:cNvGrpSpPr/>
          <p:nvPr/>
        </p:nvGrpSpPr>
        <p:grpSpPr>
          <a:xfrm>
            <a:off x="559119" y="4365369"/>
            <a:ext cx="5349874" cy="659799"/>
            <a:chOff x="559119" y="4365369"/>
            <a:chExt cx="5349874" cy="659799"/>
          </a:xfrm>
        </p:grpSpPr>
        <p:sp>
          <p:nvSpPr>
            <p:cNvPr id="42" name="Rectangle 41">
              <a:extLst>
                <a:ext uri="{FF2B5EF4-FFF2-40B4-BE49-F238E27FC236}">
                  <a16:creationId xmlns:a16="http://schemas.microsoft.com/office/drawing/2014/main" id="{34D595CF-9DA2-588B-1387-A541F43C597D}"/>
                </a:ext>
              </a:extLst>
            </p:cNvPr>
            <p:cNvSpPr/>
            <p:nvPr/>
          </p:nvSpPr>
          <p:spPr>
            <a:xfrm>
              <a:off x="1238789" y="4365664"/>
              <a:ext cx="4670204" cy="6592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US" sz="1400">
                  <a:solidFill>
                    <a:schemeClr val="tx1"/>
                  </a:solidFill>
                  <a:ea typeface="+mn-lt"/>
                  <a:cs typeface="+mn-lt"/>
                </a:rPr>
                <a:t>threat to the critical infrastructure, if safety of the State, society, environment, economic activity or health and life of human beings is significantly endangered</a:t>
              </a:r>
              <a:r>
                <a:rPr lang="lv-LV" sz="1400">
                  <a:solidFill>
                    <a:schemeClr val="tx1"/>
                  </a:solidFill>
                  <a:ea typeface="+mn-lt"/>
                  <a:cs typeface="+mn-lt"/>
                </a:rPr>
                <a:t>.</a:t>
              </a:r>
              <a:endParaRPr lang="en-gb" sz="1400">
                <a:solidFill>
                  <a:schemeClr val="tx1"/>
                </a:solidFill>
                <a:ea typeface="+mn-lt"/>
                <a:cs typeface="+mn-lt"/>
              </a:endParaRPr>
            </a:p>
          </p:txBody>
        </p:sp>
        <p:sp>
          <p:nvSpPr>
            <p:cNvPr id="55" name="Rectangle 54">
              <a:extLst>
                <a:ext uri="{FF2B5EF4-FFF2-40B4-BE49-F238E27FC236}">
                  <a16:creationId xmlns:a16="http://schemas.microsoft.com/office/drawing/2014/main" id="{02F44E44-D4D2-84B9-81A3-6F7F06E9CD04}"/>
                </a:ext>
              </a:extLst>
            </p:cNvPr>
            <p:cNvSpPr/>
            <p:nvPr/>
          </p:nvSpPr>
          <p:spPr>
            <a:xfrm>
              <a:off x="559119" y="4365369"/>
              <a:ext cx="576000" cy="65979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CEA53ACF-990B-24FA-759E-03799BDA1F48}"/>
                </a:ext>
              </a:extLst>
            </p:cNvPr>
            <p:cNvSpPr/>
            <p:nvPr/>
          </p:nvSpPr>
          <p:spPr>
            <a:xfrm rot="13500000">
              <a:off x="710285" y="4586589"/>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2048" name="Straight Connector 2047">
            <a:extLst>
              <a:ext uri="{FF2B5EF4-FFF2-40B4-BE49-F238E27FC236}">
                <a16:creationId xmlns:a16="http://schemas.microsoft.com/office/drawing/2014/main" id="{DA709264-D157-A64D-78F3-6582000E8EA4}"/>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cxnSp>
        <p:nvCxnSpPr>
          <p:cNvPr id="2051" name="Straight Connector 2050">
            <a:extLst>
              <a:ext uri="{FF2B5EF4-FFF2-40B4-BE49-F238E27FC236}">
                <a16:creationId xmlns:a16="http://schemas.microsoft.com/office/drawing/2014/main" id="{4629FA8E-2A5A-5F1F-EFC9-8C0143413C50}"/>
              </a:ext>
            </a:extLst>
          </p:cNvPr>
          <p:cNvCxnSpPr>
            <a:cxnSpLocks/>
          </p:cNvCxnSpPr>
          <p:nvPr/>
        </p:nvCxnSpPr>
        <p:spPr>
          <a:xfrm>
            <a:off x="1238789" y="4334608"/>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sp>
        <p:nvSpPr>
          <p:cNvPr id="2054" name="Rectangle 2053">
            <a:extLst>
              <a:ext uri="{FF2B5EF4-FFF2-40B4-BE49-F238E27FC236}">
                <a16:creationId xmlns:a16="http://schemas.microsoft.com/office/drawing/2014/main" id="{1BF2EDEF-E89A-C7CA-3FC7-47AABDFD59B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055" name="Freeform 50">
            <a:extLst>
              <a:ext uri="{FF2B5EF4-FFF2-40B4-BE49-F238E27FC236}">
                <a16:creationId xmlns:a16="http://schemas.microsoft.com/office/drawing/2014/main" id="{A896D36C-3AB5-1A1F-22BF-6C50EC4AD455}"/>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056" name="Google Shape;2685;p25">
            <a:extLst>
              <a:ext uri="{FF2B5EF4-FFF2-40B4-BE49-F238E27FC236}">
                <a16:creationId xmlns:a16="http://schemas.microsoft.com/office/drawing/2014/main" id="{770B72B2-7D90-50CE-3BC9-993F0EC1B866}"/>
              </a:ext>
            </a:extLst>
          </p:cNvPr>
          <p:cNvSpPr txBox="1"/>
          <p:nvPr/>
        </p:nvSpPr>
        <p:spPr>
          <a:xfrm>
            <a:off x="6870756" y="5829306"/>
            <a:ext cx="4742622" cy="184666"/>
          </a:xfrm>
          <a:prstGeom prst="rect">
            <a:avLst/>
          </a:prstGeom>
          <a:noFill/>
          <a:ln>
            <a:noFill/>
          </a:ln>
        </p:spPr>
        <p:txBody>
          <a:bodyPr spcFirstLastPara="1" wrap="square" lIns="0" tIns="0" rIns="72000" bIns="0" rtlCol="0" anchor="ctr" anchorCtr="0">
            <a:spAutoFit/>
          </a:bodyPr>
          <a:lstStyle/>
          <a:p>
            <a:pPr rtl="0"/>
            <a:r>
              <a:rPr lang="en-US" sz="1200" i="0">
                <a:effectLst/>
                <a:hlinkClick r:id="rId5">
                  <a:extLst>
                    <a:ext uri="{A12FA001-AC4F-418D-AE19-62706E023703}">
                      <ahyp:hlinkClr xmlns:ahyp="http://schemas.microsoft.com/office/drawing/2018/hyperlinkcolor" val="tx"/>
                    </a:ext>
                  </a:extLst>
                </a:hlinkClick>
              </a:rPr>
              <a:t>On Emergency Situation and State of Exception</a:t>
            </a:r>
            <a:endParaRPr lang="lv-LV" sz="1200" i="0">
              <a:effectLst/>
            </a:endParaRPr>
          </a:p>
        </p:txBody>
      </p:sp>
      <p:grpSp>
        <p:nvGrpSpPr>
          <p:cNvPr id="4" name="Group 3">
            <a:extLst>
              <a:ext uri="{FF2B5EF4-FFF2-40B4-BE49-F238E27FC236}">
                <a16:creationId xmlns:a16="http://schemas.microsoft.com/office/drawing/2014/main" id="{169A4EE2-7504-AD1E-7C96-98A121C485A5}"/>
              </a:ext>
            </a:extLst>
          </p:cNvPr>
          <p:cNvGrpSpPr/>
          <p:nvPr/>
        </p:nvGrpSpPr>
        <p:grpSpPr>
          <a:xfrm>
            <a:off x="9347534" y="127448"/>
            <a:ext cx="2401514" cy="220690"/>
            <a:chOff x="9347534" y="127448"/>
            <a:chExt cx="2401514" cy="220690"/>
          </a:xfrm>
        </p:grpSpPr>
        <p:sp>
          <p:nvSpPr>
            <p:cNvPr id="2053" name="Rectangle 2052">
              <a:extLst>
                <a:ext uri="{FF2B5EF4-FFF2-40B4-BE49-F238E27FC236}">
                  <a16:creationId xmlns:a16="http://schemas.microsoft.com/office/drawing/2014/main" id="{0ECD4AE9-C58A-7B4F-5776-2EDCB013787D}"/>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57" name="Rectangle 2056">
              <a:extLst>
                <a:ext uri="{FF2B5EF4-FFF2-40B4-BE49-F238E27FC236}">
                  <a16:creationId xmlns:a16="http://schemas.microsoft.com/office/drawing/2014/main" id="{85E05270-D33B-3CDD-CBB6-DCC9EEA5D7C9}"/>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2061" name="Rectangle 2060">
              <a:extLst>
                <a:ext uri="{FF2B5EF4-FFF2-40B4-BE49-F238E27FC236}">
                  <a16:creationId xmlns:a16="http://schemas.microsoft.com/office/drawing/2014/main" id="{0AA84628-5C24-AB24-0C28-ED8473D48584}"/>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62" name="Rectangle 2061">
              <a:extLst>
                <a:ext uri="{FF2B5EF4-FFF2-40B4-BE49-F238E27FC236}">
                  <a16:creationId xmlns:a16="http://schemas.microsoft.com/office/drawing/2014/main" id="{6393887F-B9C8-6177-3D6A-6054B7E6C4EC}"/>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2063" name="Rectangle 2062">
              <a:extLst>
                <a:ext uri="{FF2B5EF4-FFF2-40B4-BE49-F238E27FC236}">
                  <a16:creationId xmlns:a16="http://schemas.microsoft.com/office/drawing/2014/main" id="{FE8002F2-ACE3-DCE0-3364-ED45B33A50FB}"/>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064" name="Rectangle 2063">
              <a:extLst>
                <a:ext uri="{FF2B5EF4-FFF2-40B4-BE49-F238E27FC236}">
                  <a16:creationId xmlns:a16="http://schemas.microsoft.com/office/drawing/2014/main" id="{9FC49241-E7B5-17FF-0AA8-A83C82467E75}"/>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17" name="Group 16">
            <a:extLst>
              <a:ext uri="{FF2B5EF4-FFF2-40B4-BE49-F238E27FC236}">
                <a16:creationId xmlns:a16="http://schemas.microsoft.com/office/drawing/2014/main" id="{D048BF9D-E226-C834-0EBC-435763A5F246}"/>
              </a:ext>
            </a:extLst>
          </p:cNvPr>
          <p:cNvGrpSpPr/>
          <p:nvPr/>
        </p:nvGrpSpPr>
        <p:grpSpPr>
          <a:xfrm>
            <a:off x="9494104" y="3224430"/>
            <a:ext cx="957021" cy="856318"/>
            <a:chOff x="8891977" y="1854795"/>
            <a:chExt cx="957021" cy="856318"/>
          </a:xfrm>
        </p:grpSpPr>
        <p:pic>
          <p:nvPicPr>
            <p:cNvPr id="23" name="Picture 2" descr="Ārlietu ministrija">
              <a:extLst>
                <a:ext uri="{FF2B5EF4-FFF2-40B4-BE49-F238E27FC236}">
                  <a16:creationId xmlns:a16="http://schemas.microsoft.com/office/drawing/2014/main" id="{F237B0D1-3AFD-4E4D-96FF-72190732EA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B7AF331-0FD6-6AD2-619B-5D6E10316069}"/>
                </a:ext>
              </a:extLst>
            </p:cNvPr>
            <p:cNvSpPr txBox="1"/>
            <p:nvPr/>
          </p:nvSpPr>
          <p:spPr>
            <a:xfrm>
              <a:off x="8891977" y="2403336"/>
              <a:ext cx="957021" cy="307777"/>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err="1"/>
                <a:t>Cabinet</a:t>
              </a:r>
              <a:r>
                <a:rPr lang="lv-LV" sz="1000" b="1"/>
                <a:t> </a:t>
              </a:r>
              <a:r>
                <a:rPr lang="lv-LV" sz="1000" b="1" err="1"/>
                <a:t>of</a:t>
              </a:r>
              <a:r>
                <a:rPr lang="lv-LV" sz="1000" b="1"/>
                <a:t> </a:t>
              </a:r>
              <a:r>
                <a:rPr lang="lv-LV" sz="1000" b="1" err="1"/>
                <a:t>Ministers</a:t>
              </a:r>
              <a:endParaRPr lang="en-gb" sz="1000" b="1"/>
            </a:p>
          </p:txBody>
        </p:sp>
      </p:grpSp>
      <p:grpSp>
        <p:nvGrpSpPr>
          <p:cNvPr id="41" name="Group 40">
            <a:extLst>
              <a:ext uri="{FF2B5EF4-FFF2-40B4-BE49-F238E27FC236}">
                <a16:creationId xmlns:a16="http://schemas.microsoft.com/office/drawing/2014/main" id="{17359239-44EA-E63D-605F-BEB8DAAF2BB1}"/>
              </a:ext>
            </a:extLst>
          </p:cNvPr>
          <p:cNvGrpSpPr/>
          <p:nvPr/>
        </p:nvGrpSpPr>
        <p:grpSpPr>
          <a:xfrm>
            <a:off x="9494104" y="4635186"/>
            <a:ext cx="957021" cy="779373"/>
            <a:chOff x="8891977" y="1854795"/>
            <a:chExt cx="957021" cy="779373"/>
          </a:xfrm>
        </p:grpSpPr>
        <p:pic>
          <p:nvPicPr>
            <p:cNvPr id="43" name="Picture 2" descr="Ārlietu ministrija">
              <a:extLst>
                <a:ext uri="{FF2B5EF4-FFF2-40B4-BE49-F238E27FC236}">
                  <a16:creationId xmlns:a16="http://schemas.microsoft.com/office/drawing/2014/main" id="{6677BF45-B04E-D60A-7019-97FD65D1A9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53320ABC-52AB-9CE3-1677-02704F4A4515}"/>
                </a:ext>
              </a:extLst>
            </p:cNvPr>
            <p:cNvSpPr txBox="1"/>
            <p:nvPr/>
          </p:nvSpPr>
          <p:spPr>
            <a:xfrm>
              <a:off x="8891977" y="2480280"/>
              <a:ext cx="957021" cy="153888"/>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a:t>Saeima</a:t>
              </a:r>
              <a:endParaRPr lang="en-gb" sz="1000" b="1"/>
            </a:p>
          </p:txBody>
        </p:sp>
      </p:grpSp>
      <p:sp>
        <p:nvSpPr>
          <p:cNvPr id="12" name="Rectangle 11">
            <a:extLst>
              <a:ext uri="{FF2B5EF4-FFF2-40B4-BE49-F238E27FC236}">
                <a16:creationId xmlns:a16="http://schemas.microsoft.com/office/drawing/2014/main" id="{6E14229C-E825-CAAA-B97B-90846E3680E4}"/>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pPr rtl="0"/>
            <a:r>
              <a:rPr lang="en-US" dirty="0"/>
              <a:t>In </a:t>
            </a:r>
            <a:r>
              <a:rPr lang="lv-LV" dirty="0"/>
              <a:t>D</a:t>
            </a:r>
            <a:r>
              <a:rPr lang="en-US" dirty="0" err="1"/>
              <a:t>eclaring</a:t>
            </a:r>
            <a:r>
              <a:rPr lang="en-US" dirty="0"/>
              <a:t> </a:t>
            </a:r>
            <a:r>
              <a:rPr lang="lv-LV" dirty="0"/>
              <a:t>E</a:t>
            </a:r>
            <a:r>
              <a:rPr lang="en-US" dirty="0" err="1"/>
              <a:t>mergency</a:t>
            </a:r>
            <a:r>
              <a:rPr lang="en-US" dirty="0"/>
              <a:t> </a:t>
            </a:r>
            <a:r>
              <a:rPr lang="lv-LV" dirty="0"/>
              <a:t>S</a:t>
            </a:r>
            <a:r>
              <a:rPr lang="en-US" dirty="0" err="1"/>
              <a:t>ituation</a:t>
            </a:r>
            <a:r>
              <a:rPr lang="en-US" dirty="0"/>
              <a:t>, the Cabinet </a:t>
            </a:r>
            <a:r>
              <a:rPr lang="lv-LV" dirty="0"/>
              <a:t>h</a:t>
            </a:r>
            <a:r>
              <a:rPr lang="en-US" dirty="0"/>
              <a:t>as the </a:t>
            </a:r>
            <a:r>
              <a:rPr lang="lv-LV" dirty="0"/>
              <a:t>R</a:t>
            </a:r>
            <a:r>
              <a:rPr lang="en-US" dirty="0" err="1"/>
              <a:t>ight</a:t>
            </a:r>
            <a:r>
              <a:rPr lang="en-US" dirty="0"/>
              <a:t> to </a:t>
            </a:r>
            <a:r>
              <a:rPr lang="lv-LV" dirty="0"/>
              <a:t>S</a:t>
            </a:r>
            <a:r>
              <a:rPr lang="en-US" dirty="0" err="1"/>
              <a:t>tipulate</a:t>
            </a:r>
            <a:r>
              <a:rPr lang="en-gb" dirty="0"/>
              <a:t>:</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S</a:t>
            </a:r>
            <a:r>
              <a:rPr lang="en-US" sz="1200" err="1">
                <a:solidFill>
                  <a:schemeClr val="tx1"/>
                </a:solidFill>
              </a:rPr>
              <a:t>pecial</a:t>
            </a:r>
            <a:r>
              <a:rPr lang="en-US" sz="1200">
                <a:solidFill>
                  <a:schemeClr val="tx1"/>
                </a:solidFill>
              </a:rPr>
              <a:t> </a:t>
            </a:r>
            <a:r>
              <a:rPr lang="en-US" sz="1200" b="1">
                <a:solidFill>
                  <a:schemeClr val="tx1"/>
                </a:solidFill>
              </a:rPr>
              <a:t>movement and gathering </a:t>
            </a:r>
            <a:r>
              <a:rPr lang="en-US" sz="1200">
                <a:solidFill>
                  <a:schemeClr val="tx1"/>
                </a:solidFill>
              </a:rPr>
              <a:t>procedures or movement and gathering restrictions</a:t>
            </a:r>
            <a:endParaRPr lang="en-gb" sz="1200">
              <a:solidFill>
                <a:schemeClr val="tx1"/>
              </a:solidFill>
            </a:endParaRP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5667"/>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S</a:t>
            </a:r>
            <a:r>
              <a:rPr lang="en-US" sz="1200" err="1">
                <a:solidFill>
                  <a:schemeClr val="tx1"/>
                </a:solidFill>
              </a:rPr>
              <a:t>pecial</a:t>
            </a:r>
            <a:r>
              <a:rPr lang="en-US" sz="1200">
                <a:solidFill>
                  <a:schemeClr val="tx1"/>
                </a:solidFill>
              </a:rPr>
              <a:t> procedures for </a:t>
            </a:r>
            <a:r>
              <a:rPr lang="en-US" sz="1200" b="1">
                <a:solidFill>
                  <a:schemeClr val="tx1"/>
                </a:solidFill>
              </a:rPr>
              <a:t>the movement of vehicles </a:t>
            </a:r>
            <a:r>
              <a:rPr lang="en-US" sz="1200">
                <a:solidFill>
                  <a:schemeClr val="tx1"/>
                </a:solidFill>
              </a:rPr>
              <a:t>or restrictions to such movement</a:t>
            </a:r>
            <a:endParaRPr lang="en-gb" sz="1200" b="1">
              <a:solidFill>
                <a:schemeClr val="tx1"/>
              </a:solidFill>
            </a:endParaRP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70471"/>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S</a:t>
            </a:r>
            <a:r>
              <a:rPr lang="en-US" sz="1200" err="1">
                <a:solidFill>
                  <a:schemeClr val="tx1"/>
                </a:solidFill>
              </a:rPr>
              <a:t>pecial</a:t>
            </a:r>
            <a:r>
              <a:rPr lang="en-US" sz="1200">
                <a:solidFill>
                  <a:schemeClr val="tx1"/>
                </a:solidFill>
              </a:rPr>
              <a:t> procedures for </a:t>
            </a:r>
            <a:r>
              <a:rPr lang="en-US" sz="1200" b="1">
                <a:solidFill>
                  <a:schemeClr val="tx1"/>
                </a:solidFill>
              </a:rPr>
              <a:t>economic activity </a:t>
            </a:r>
            <a:r>
              <a:rPr lang="en-US" sz="1200">
                <a:solidFill>
                  <a:schemeClr val="tx1"/>
                </a:solidFill>
              </a:rPr>
              <a:t>or restrictions to such activity</a:t>
            </a:r>
            <a:endParaRPr lang="en-gb" sz="1200" b="1">
              <a:solidFill>
                <a:schemeClr val="tx1"/>
              </a:solidFill>
            </a:endParaRPr>
          </a:p>
        </p:txBody>
      </p:sp>
      <p:sp>
        <p:nvSpPr>
          <p:cNvPr id="23" name="Rectangle 22">
            <a:extLst>
              <a:ext uri="{FF2B5EF4-FFF2-40B4-BE49-F238E27FC236}">
                <a16:creationId xmlns:a16="http://schemas.microsoft.com/office/drawing/2014/main" id="{B285B1A9-5FD7-D286-0263-BDDA47CD84FC}"/>
              </a:ext>
            </a:extLst>
          </p:cNvPr>
          <p:cNvSpPr/>
          <p:nvPr/>
        </p:nvSpPr>
        <p:spPr>
          <a:xfrm>
            <a:off x="1144242" y="4445275"/>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S</a:t>
            </a:r>
            <a:r>
              <a:rPr lang="en-US" sz="1200" err="1">
                <a:solidFill>
                  <a:schemeClr val="tx1"/>
                </a:solidFill>
              </a:rPr>
              <a:t>pecial</a:t>
            </a:r>
            <a:r>
              <a:rPr lang="en-US" sz="1200">
                <a:solidFill>
                  <a:schemeClr val="tx1"/>
                </a:solidFill>
              </a:rPr>
              <a:t> procedures for </a:t>
            </a:r>
            <a:r>
              <a:rPr lang="en-US" sz="1200" b="1">
                <a:solidFill>
                  <a:schemeClr val="tx1"/>
                </a:solidFill>
              </a:rPr>
              <a:t>access to goods, medicinal products, energy resources, services </a:t>
            </a:r>
            <a:r>
              <a:rPr lang="en-US" sz="1200">
                <a:solidFill>
                  <a:schemeClr val="tx1"/>
                </a:solidFill>
              </a:rPr>
              <a:t>and other material and technical resources</a:t>
            </a:r>
            <a:endParaRPr lang="en-gb" sz="1200">
              <a:solidFill>
                <a:schemeClr val="tx1"/>
              </a:solidFill>
            </a:endParaRP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1656"/>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1</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5902"/>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2</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70148"/>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3</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444394"/>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4</a:t>
            </a:r>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641"/>
            <a:ext cx="4772372" cy="85329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T</a:t>
            </a:r>
            <a:r>
              <a:rPr lang="en-US" sz="1200">
                <a:solidFill>
                  <a:schemeClr val="tx1"/>
                </a:solidFill>
              </a:rPr>
              <a:t>he right of State administration and local government authorities to take a decision to </a:t>
            </a:r>
            <a:r>
              <a:rPr lang="en-US" sz="1200" b="1">
                <a:solidFill>
                  <a:schemeClr val="tx1"/>
                </a:solidFill>
              </a:rPr>
              <a:t>evacuate inhabitants and their movable property</a:t>
            </a:r>
            <a:r>
              <a:rPr lang="en-US" sz="1200">
                <a:solidFill>
                  <a:schemeClr val="tx1"/>
                </a:solidFill>
              </a:rPr>
              <a:t>, as well as, if necessary, to ensure the carrying out of the decision taken by forced movement</a:t>
            </a:r>
            <a:endParaRPr lang="en-gb" sz="1200">
              <a:solidFill>
                <a:schemeClr val="tx1"/>
              </a:solidFill>
            </a:endParaRP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5</a:t>
            </a:r>
          </a:p>
        </p:txBody>
      </p:sp>
      <p:sp>
        <p:nvSpPr>
          <p:cNvPr id="52" name="Rectangle 51">
            <a:extLst>
              <a:ext uri="{FF2B5EF4-FFF2-40B4-BE49-F238E27FC236}">
                <a16:creationId xmlns:a16="http://schemas.microsoft.com/office/drawing/2014/main" id="{1A6F0133-A49C-46D0-BAE7-D428793C46FD}"/>
              </a:ext>
            </a:extLst>
          </p:cNvPr>
          <p:cNvSpPr/>
          <p:nvPr/>
        </p:nvSpPr>
        <p:spPr>
          <a:xfrm>
            <a:off x="6976717" y="1821656"/>
            <a:ext cx="4772372" cy="576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T</a:t>
            </a:r>
            <a:r>
              <a:rPr lang="en-US" sz="1200">
                <a:solidFill>
                  <a:schemeClr val="tx1"/>
                </a:solidFill>
              </a:rPr>
              <a:t>he right of officials of State administration and local government authorities to </a:t>
            </a:r>
            <a:r>
              <a:rPr lang="en-US" sz="1200" b="1">
                <a:solidFill>
                  <a:schemeClr val="tx1"/>
                </a:solidFill>
              </a:rPr>
              <a:t>access a private property</a:t>
            </a:r>
            <a:endParaRPr lang="en-gb" sz="1200" b="1">
              <a:solidFill>
                <a:schemeClr val="tx1"/>
              </a:solidFill>
            </a:endParaRPr>
          </a:p>
        </p:txBody>
      </p:sp>
      <p:sp>
        <p:nvSpPr>
          <p:cNvPr id="54" name="Rectangle 53">
            <a:extLst>
              <a:ext uri="{FF2B5EF4-FFF2-40B4-BE49-F238E27FC236}">
                <a16:creationId xmlns:a16="http://schemas.microsoft.com/office/drawing/2014/main" id="{1D5212EC-CBFC-B416-1119-5B504592501B}"/>
              </a:ext>
            </a:extLst>
          </p:cNvPr>
          <p:cNvSpPr/>
          <p:nvPr/>
        </p:nvSpPr>
        <p:spPr>
          <a:xfrm>
            <a:off x="6275388" y="1821656"/>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6</a:t>
            </a:r>
          </a:p>
        </p:txBody>
      </p:sp>
      <p:sp>
        <p:nvSpPr>
          <p:cNvPr id="56" name="Rectangle 55">
            <a:extLst>
              <a:ext uri="{FF2B5EF4-FFF2-40B4-BE49-F238E27FC236}">
                <a16:creationId xmlns:a16="http://schemas.microsoft.com/office/drawing/2014/main" id="{7AEA07A3-0C18-A843-A268-AC0CB6F31980}"/>
              </a:ext>
            </a:extLst>
          </p:cNvPr>
          <p:cNvSpPr/>
          <p:nvPr/>
        </p:nvSpPr>
        <p:spPr>
          <a:xfrm>
            <a:off x="6977063" y="2516919"/>
            <a:ext cx="4772025" cy="105991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A</a:t>
            </a:r>
            <a:r>
              <a:rPr lang="en-US" sz="1200" err="1">
                <a:solidFill>
                  <a:schemeClr val="tx1"/>
                </a:solidFill>
              </a:rPr>
              <a:t>dditional</a:t>
            </a:r>
            <a:r>
              <a:rPr lang="en-US" sz="1200">
                <a:solidFill>
                  <a:schemeClr val="tx1"/>
                </a:solidFill>
              </a:rPr>
              <a:t> right for officials of State administration and local government authorities to </a:t>
            </a:r>
            <a:r>
              <a:rPr lang="en-US" sz="1200" b="1">
                <a:solidFill>
                  <a:schemeClr val="tx1"/>
                </a:solidFill>
              </a:rPr>
              <a:t>detain and hand over persons who refuse to obey lawful requests of officials or commit other infringements</a:t>
            </a:r>
            <a:r>
              <a:rPr lang="en-US" sz="1200">
                <a:solidFill>
                  <a:schemeClr val="tx1"/>
                </a:solidFill>
              </a:rPr>
              <a:t>, to officials of law enforcement authorities for taking a decision</a:t>
            </a:r>
            <a:endParaRPr lang="en-gb" sz="1200">
              <a:solidFill>
                <a:schemeClr val="tx1"/>
              </a:solidFill>
            </a:endParaRPr>
          </a:p>
        </p:txBody>
      </p:sp>
      <p:sp>
        <p:nvSpPr>
          <p:cNvPr id="61" name="Rectangle 60">
            <a:extLst>
              <a:ext uri="{FF2B5EF4-FFF2-40B4-BE49-F238E27FC236}">
                <a16:creationId xmlns:a16="http://schemas.microsoft.com/office/drawing/2014/main" id="{57317571-1017-A381-336C-D567569D729C}"/>
              </a:ext>
            </a:extLst>
          </p:cNvPr>
          <p:cNvSpPr/>
          <p:nvPr/>
        </p:nvSpPr>
        <p:spPr>
          <a:xfrm>
            <a:off x="6280524" y="2516919"/>
            <a:ext cx="576000" cy="105991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7</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3690822"/>
            <a:ext cx="4772025" cy="76952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a:solidFill>
                  <a:schemeClr val="tx1"/>
                </a:solidFill>
              </a:rPr>
              <a:t>T</a:t>
            </a:r>
            <a:r>
              <a:rPr lang="en-US" sz="1200">
                <a:solidFill>
                  <a:schemeClr val="tx1"/>
                </a:solidFill>
              </a:rPr>
              <a:t>he right of State administration and local government authorities to </a:t>
            </a:r>
            <a:r>
              <a:rPr lang="en-US" sz="1200" b="1">
                <a:solidFill>
                  <a:schemeClr val="tx1"/>
                </a:solidFill>
              </a:rPr>
              <a:t>determine a prohibition for persons to be at certain places </a:t>
            </a:r>
            <a:r>
              <a:rPr lang="en-US" sz="1200">
                <a:solidFill>
                  <a:schemeClr val="tx1"/>
                </a:solidFill>
              </a:rPr>
              <a:t>without </a:t>
            </a:r>
            <a:r>
              <a:rPr lang="en-US" sz="1200" err="1">
                <a:solidFill>
                  <a:schemeClr val="tx1"/>
                </a:solidFill>
              </a:rPr>
              <a:t>authorisation</a:t>
            </a:r>
            <a:r>
              <a:rPr lang="en-US" sz="1200">
                <a:solidFill>
                  <a:schemeClr val="tx1"/>
                </a:solidFill>
              </a:rPr>
              <a:t> or personal identification documents</a:t>
            </a:r>
            <a:endParaRPr lang="en-gb" sz="1200">
              <a:solidFill>
                <a:schemeClr val="tx1"/>
              </a:solidFill>
            </a:endParaRPr>
          </a:p>
        </p:txBody>
      </p:sp>
      <p:sp>
        <p:nvSpPr>
          <p:cNvPr id="64" name="Rectangle 63">
            <a:extLst>
              <a:ext uri="{FF2B5EF4-FFF2-40B4-BE49-F238E27FC236}">
                <a16:creationId xmlns:a16="http://schemas.microsoft.com/office/drawing/2014/main" id="{5FF56CE1-3337-0CBD-A7C2-65C83CA6DA2E}"/>
              </a:ext>
            </a:extLst>
          </p:cNvPr>
          <p:cNvSpPr/>
          <p:nvPr/>
        </p:nvSpPr>
        <p:spPr>
          <a:xfrm>
            <a:off x="6280524" y="3690660"/>
            <a:ext cx="576000" cy="76968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8</a:t>
            </a:r>
            <a:endParaRPr lang="lv-LV" sz="2000" b="1"/>
          </a:p>
        </p:txBody>
      </p:sp>
      <p:sp>
        <p:nvSpPr>
          <p:cNvPr id="58" name="Rectangle 57">
            <a:extLst>
              <a:ext uri="{FF2B5EF4-FFF2-40B4-BE49-F238E27FC236}">
                <a16:creationId xmlns:a16="http://schemas.microsoft.com/office/drawing/2014/main" id="{6665E9AF-F625-24C7-85AC-71AFED4DC103}"/>
              </a:ext>
            </a:extLst>
          </p:cNvPr>
          <p:cNvSpPr/>
          <p:nvPr/>
        </p:nvSpPr>
        <p:spPr>
          <a:xfrm>
            <a:off x="6977063" y="4583387"/>
            <a:ext cx="477202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US" sz="1200">
                <a:solidFill>
                  <a:schemeClr val="tx1"/>
                </a:solidFill>
              </a:rPr>
              <a:t>State administration and local </a:t>
            </a:r>
            <a:r>
              <a:rPr lang="en-US" sz="1200" b="1">
                <a:solidFill>
                  <a:schemeClr val="tx1"/>
                </a:solidFill>
              </a:rPr>
              <a:t>government authorities which prepare and distribute official information </a:t>
            </a:r>
            <a:r>
              <a:rPr lang="en-US" sz="1200">
                <a:solidFill>
                  <a:schemeClr val="tx1"/>
                </a:solidFill>
              </a:rPr>
              <a:t>regarding emergency situation</a:t>
            </a:r>
            <a:endParaRPr lang="lv-lv" sz="1200" b="1">
              <a:solidFill>
                <a:schemeClr val="tx1"/>
              </a:solidFill>
            </a:endParaRPr>
          </a:p>
        </p:txBody>
      </p:sp>
      <p:sp>
        <p:nvSpPr>
          <p:cNvPr id="67" name="Rectangle 66">
            <a:extLst>
              <a:ext uri="{FF2B5EF4-FFF2-40B4-BE49-F238E27FC236}">
                <a16:creationId xmlns:a16="http://schemas.microsoft.com/office/drawing/2014/main" id="{71A71A3E-AD6D-856D-F53F-04F575C6101E}"/>
              </a:ext>
            </a:extLst>
          </p:cNvPr>
          <p:cNvSpPr/>
          <p:nvPr/>
        </p:nvSpPr>
        <p:spPr>
          <a:xfrm>
            <a:off x="6280524" y="4583387"/>
            <a:ext cx="5760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9</a:t>
            </a:r>
            <a:endParaRPr lang="lv-LV" sz="2000" b="1"/>
          </a:p>
        </p:txBody>
      </p:sp>
      <p:sp>
        <p:nvSpPr>
          <p:cNvPr id="59" name="Rectangle 58">
            <a:extLst>
              <a:ext uri="{FF2B5EF4-FFF2-40B4-BE49-F238E27FC236}">
                <a16:creationId xmlns:a16="http://schemas.microsoft.com/office/drawing/2014/main" id="{6B50B2CF-5150-1138-87C8-04385F2B498F}"/>
              </a:ext>
            </a:extLst>
          </p:cNvPr>
          <p:cNvSpPr/>
          <p:nvPr/>
        </p:nvSpPr>
        <p:spPr>
          <a:xfrm>
            <a:off x="6977063" y="5318641"/>
            <a:ext cx="4772025"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200" b="1">
                <a:solidFill>
                  <a:schemeClr val="tx1"/>
                </a:solidFill>
              </a:rPr>
              <a:t>C</a:t>
            </a:r>
            <a:r>
              <a:rPr lang="en-US" sz="1200" b="1" err="1">
                <a:solidFill>
                  <a:schemeClr val="tx1"/>
                </a:solidFill>
              </a:rPr>
              <a:t>omplete</a:t>
            </a:r>
            <a:r>
              <a:rPr lang="en-US" sz="1200" b="1">
                <a:solidFill>
                  <a:schemeClr val="tx1"/>
                </a:solidFill>
              </a:rPr>
              <a:t> or partial suspension of execution of the liabilities laid down in international agreements</a:t>
            </a:r>
            <a:r>
              <a:rPr lang="en-US" sz="1200">
                <a:solidFill>
                  <a:schemeClr val="tx1"/>
                </a:solidFill>
              </a:rPr>
              <a:t>, if execution thereof may have a negative impact on the ability to prevent or overcome threat to national security</a:t>
            </a:r>
            <a:endParaRPr lang="en-gb" sz="1200">
              <a:solidFill>
                <a:schemeClr val="tx1"/>
              </a:solidFill>
            </a:endParaRPr>
          </a:p>
        </p:txBody>
      </p:sp>
      <p:sp>
        <p:nvSpPr>
          <p:cNvPr id="70" name="Rectangle 69">
            <a:extLst>
              <a:ext uri="{FF2B5EF4-FFF2-40B4-BE49-F238E27FC236}">
                <a16:creationId xmlns:a16="http://schemas.microsoft.com/office/drawing/2014/main" id="{9027457A-A81B-F937-C14C-AF852EE6A94B}"/>
              </a:ext>
            </a:extLst>
          </p:cNvPr>
          <p:cNvSpPr/>
          <p:nvPr/>
        </p:nvSpPr>
        <p:spPr>
          <a:xfrm>
            <a:off x="6280524" y="5318641"/>
            <a:ext cx="576000" cy="8540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rtl="0">
              <a:lnSpc>
                <a:spcPct val="100000"/>
              </a:lnSpc>
            </a:pPr>
            <a:r>
              <a:rPr lang="en-gb" sz="2000" b="1"/>
              <a:t>10</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lv-LV" smtClean="0"/>
              <a:pPr rtl="0"/>
              <a:t>27</a:t>
            </a:fld>
            <a:endParaRPr lang="lv-LV"/>
          </a:p>
        </p:txBody>
      </p:sp>
      <p:sp>
        <p:nvSpPr>
          <p:cNvPr id="36" name="Rectangle 35">
            <a:extLst>
              <a:ext uri="{FF2B5EF4-FFF2-40B4-BE49-F238E27FC236}">
                <a16:creationId xmlns:a16="http://schemas.microsoft.com/office/drawing/2014/main" id="{04C71625-7DF7-41E4-DA8A-3264225FDB5D}"/>
              </a:ext>
            </a:extLst>
          </p:cNvPr>
          <p:cNvSpPr/>
          <p:nvPr/>
        </p:nvSpPr>
        <p:spPr>
          <a:xfrm>
            <a:off x="442912" y="6341399"/>
            <a:ext cx="7888288" cy="38453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7" name="Freeform 50">
            <a:extLst>
              <a:ext uri="{FF2B5EF4-FFF2-40B4-BE49-F238E27FC236}">
                <a16:creationId xmlns:a16="http://schemas.microsoft.com/office/drawing/2014/main" id="{39A462D5-9AEF-DF46-F583-14CCD45BBFF6}"/>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38" name="Google Shape;2685;p25">
            <a:extLst>
              <a:ext uri="{FF2B5EF4-FFF2-40B4-BE49-F238E27FC236}">
                <a16:creationId xmlns:a16="http://schemas.microsoft.com/office/drawing/2014/main" id="{ED81CEB1-80E1-B817-014B-E0B1DC08E694}"/>
              </a:ext>
            </a:extLst>
          </p:cNvPr>
          <p:cNvSpPr txBox="1"/>
          <p:nvPr/>
        </p:nvSpPr>
        <p:spPr>
          <a:xfrm>
            <a:off x="950595" y="6469779"/>
            <a:ext cx="7240905" cy="159622"/>
          </a:xfrm>
          <a:prstGeom prst="rect">
            <a:avLst/>
          </a:prstGeom>
          <a:noFill/>
          <a:ln>
            <a:noFill/>
          </a:ln>
        </p:spPr>
        <p:txBody>
          <a:bodyPr spcFirstLastPara="1" wrap="square" lIns="0" tIns="0" rIns="72000" bIns="0" rtlCol="0" anchor="ctr" anchorCtr="0">
            <a:spAutoFit/>
          </a:bodyPr>
          <a:lstStyle/>
          <a:p>
            <a:pPr rtl="0"/>
            <a:r>
              <a:rPr lang="en-US" sz="1000" i="0" dirty="0">
                <a:effectLst/>
                <a:latin typeface="Arial" panose="020B0604020202020204" pitchFamily="34" charset="0"/>
                <a:hlinkClick r:id="rId3">
                  <a:extLst>
                    <a:ext uri="{A12FA001-AC4F-418D-AE19-62706E023703}">
                      <ahyp:hlinkClr xmlns:ahyp="http://schemas.microsoft.com/office/drawing/2018/hyperlinkcolor" val="tx"/>
                    </a:ext>
                  </a:extLst>
                </a:hlinkClick>
              </a:rPr>
              <a:t>Order in Which the State’s Highest Officials Are to Be Notified in the Event of a State Threat and Emergency Events in the State</a:t>
            </a:r>
            <a:endParaRPr lang="lv-LV" sz="1000" dirty="0"/>
          </a:p>
        </p:txBody>
      </p:sp>
      <p:sp>
        <p:nvSpPr>
          <p:cNvPr id="11" name="Rectangle 10">
            <a:extLst>
              <a:ext uri="{FF2B5EF4-FFF2-40B4-BE49-F238E27FC236}">
                <a16:creationId xmlns:a16="http://schemas.microsoft.com/office/drawing/2014/main" id="{FDA13C79-73E5-1419-8878-A53642FC4216}"/>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3" name="Group 2">
            <a:extLst>
              <a:ext uri="{FF2B5EF4-FFF2-40B4-BE49-F238E27FC236}">
                <a16:creationId xmlns:a16="http://schemas.microsoft.com/office/drawing/2014/main" id="{ECA53171-9750-4B9D-C449-25EA434BE78B}"/>
              </a:ext>
            </a:extLst>
          </p:cNvPr>
          <p:cNvGrpSpPr/>
          <p:nvPr/>
        </p:nvGrpSpPr>
        <p:grpSpPr>
          <a:xfrm>
            <a:off x="9347534" y="127448"/>
            <a:ext cx="2401514" cy="220690"/>
            <a:chOff x="9347534" y="127448"/>
            <a:chExt cx="2401514" cy="220690"/>
          </a:xfrm>
        </p:grpSpPr>
        <p:sp>
          <p:nvSpPr>
            <p:cNvPr id="12" name="Rectangle 11">
              <a:extLst>
                <a:ext uri="{FF2B5EF4-FFF2-40B4-BE49-F238E27FC236}">
                  <a16:creationId xmlns:a16="http://schemas.microsoft.com/office/drawing/2014/main" id="{DB690E5A-BFAB-C17E-D81E-35031E25C31D}"/>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2FF659A0-F280-B36F-C531-4671313542F4}"/>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4" name="Rectangle 13">
              <a:extLst>
                <a:ext uri="{FF2B5EF4-FFF2-40B4-BE49-F238E27FC236}">
                  <a16:creationId xmlns:a16="http://schemas.microsoft.com/office/drawing/2014/main" id="{723D3FDA-69C4-612A-A7E8-FE314B4E3720}"/>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1B994E20-6775-C69A-D693-BD9F405B33D4}"/>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16" name="Rectangle 15">
              <a:extLst>
                <a:ext uri="{FF2B5EF4-FFF2-40B4-BE49-F238E27FC236}">
                  <a16:creationId xmlns:a16="http://schemas.microsoft.com/office/drawing/2014/main" id="{A465EC58-A8F0-CDA7-4D5F-19B81A3B000D}"/>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1E46F680-5B94-1ECD-E93F-19D258A7148E}"/>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040945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AC1A8412-4F65-DDBA-F381-5226A1078715}"/>
              </a:ext>
            </a:extLst>
          </p:cNvPr>
          <p:cNvSpPr>
            <a:spLocks noGrp="1"/>
          </p:cNvSpPr>
          <p:nvPr>
            <p:ph type="title"/>
          </p:nvPr>
        </p:nvSpPr>
        <p:spPr/>
        <p:txBody>
          <a:bodyPr vert="horz" rtlCol="0"/>
          <a:lstStyle/>
          <a:p>
            <a:pPr rtl="0"/>
            <a:r>
              <a:rPr lang="en-GB"/>
              <a:t>State of Exception</a:t>
            </a:r>
            <a:endParaRPr lang="en-gb"/>
          </a:p>
        </p:txBody>
      </p:sp>
      <p:sp>
        <p:nvSpPr>
          <p:cNvPr id="22" name="object 22"/>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lv-LV" smtClean="0"/>
              <a:pPr rtl="0"/>
              <a:t>28</a:t>
            </a:fld>
            <a:endParaRPr lang="lv-LV"/>
          </a:p>
        </p:txBody>
      </p:sp>
      <p:sp>
        <p:nvSpPr>
          <p:cNvPr id="11" name="object 5">
            <a:extLst>
              <a:ext uri="{FF2B5EF4-FFF2-40B4-BE49-F238E27FC236}">
                <a16:creationId xmlns:a16="http://schemas.microsoft.com/office/drawing/2014/main" id="{290F56A8-6522-E630-36BB-EDFB9FCA0E46}"/>
              </a:ext>
            </a:extLst>
          </p:cNvPr>
          <p:cNvSpPr txBox="1"/>
          <p:nvPr/>
        </p:nvSpPr>
        <p:spPr>
          <a:xfrm>
            <a:off x="442913" y="5038726"/>
            <a:ext cx="5473700" cy="1133474"/>
          </a:xfrm>
          <a:prstGeom prst="rect">
            <a:avLst/>
          </a:prstGeom>
          <a:solidFill>
            <a:srgbClr val="525A72"/>
          </a:solidFill>
          <a:ln w="19811">
            <a:noFill/>
          </a:ln>
        </p:spPr>
        <p:txBody>
          <a:bodyPr vert="horz" wrap="square" lIns="72000" tIns="72000" rIns="72000" bIns="72000" rtlCol="0" anchor="ctr">
            <a:noAutofit/>
          </a:bodyPr>
          <a:lstStyle/>
          <a:p>
            <a:pPr rtl="0">
              <a:spcAft>
                <a:spcPts val="1200"/>
              </a:spcAft>
            </a:pPr>
            <a:r>
              <a:rPr lang="en-gb" sz="1400" b="1">
                <a:solidFill>
                  <a:schemeClr val="bg1"/>
                </a:solidFill>
                <a:cs typeface="Times New Roman"/>
              </a:rPr>
              <a:t>Duration of the state of exception: </a:t>
            </a:r>
            <a:r>
              <a:rPr lang="en-gb" sz="1400">
                <a:solidFill>
                  <a:schemeClr val="bg1"/>
                </a:solidFill>
                <a:cs typeface="Times New Roman"/>
              </a:rPr>
              <a:t>maximum 6 months + </a:t>
            </a:r>
            <a:r>
              <a:rPr lang="en-GB" sz="1400" b="1">
                <a:solidFill>
                  <a:schemeClr val="bg1"/>
                </a:solidFill>
                <a:cs typeface="Times New Roman"/>
              </a:rPr>
              <a:t>Declaration area</a:t>
            </a:r>
            <a:r>
              <a:rPr lang="en-gb" sz="1400" b="1">
                <a:solidFill>
                  <a:schemeClr val="bg1"/>
                </a:solidFill>
                <a:cs typeface="Times New Roman"/>
              </a:rPr>
              <a:t>:</a:t>
            </a:r>
            <a:r>
              <a:rPr lang="en-US" sz="1400">
                <a:solidFill>
                  <a:schemeClr val="bg1"/>
                </a:solidFill>
                <a:cs typeface="Times New Roman"/>
              </a:rPr>
              <a:t> the whole State or any part thereof</a:t>
            </a:r>
            <a:endParaRPr lang="en-gb" sz="1400">
              <a:solidFill>
                <a:schemeClr val="bg1"/>
              </a:solidFill>
              <a:cs typeface="Times New Roman"/>
            </a:endParaRPr>
          </a:p>
        </p:txBody>
      </p:sp>
      <p:sp>
        <p:nvSpPr>
          <p:cNvPr id="4101" name="Rectangle 4100">
            <a:extLst>
              <a:ext uri="{FF2B5EF4-FFF2-40B4-BE49-F238E27FC236}">
                <a16:creationId xmlns:a16="http://schemas.microsoft.com/office/drawing/2014/main" id="{03F1F4CB-D386-BC1E-505A-3B383D164A5F}"/>
              </a:ext>
            </a:extLst>
          </p:cNvPr>
          <p:cNvSpPr/>
          <p:nvPr/>
        </p:nvSpPr>
        <p:spPr>
          <a:xfrm>
            <a:off x="6275386" y="1834493"/>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102" name="Rectangle 4101">
            <a:extLst>
              <a:ext uri="{FF2B5EF4-FFF2-40B4-BE49-F238E27FC236}">
                <a16:creationId xmlns:a16="http://schemas.microsoft.com/office/drawing/2014/main" id="{832A24C4-E6FA-B24F-FED5-0D1601E6D48D}"/>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4103" name="Rectangle 4102">
            <a:extLst>
              <a:ext uri="{FF2B5EF4-FFF2-40B4-BE49-F238E27FC236}">
                <a16:creationId xmlns:a16="http://schemas.microsoft.com/office/drawing/2014/main" id="{44A83C43-D18D-07D9-9D43-7338978140F3}"/>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nvGrpSpPr>
          <p:cNvPr id="4104" name="Group 4103">
            <a:extLst>
              <a:ext uri="{FF2B5EF4-FFF2-40B4-BE49-F238E27FC236}">
                <a16:creationId xmlns:a16="http://schemas.microsoft.com/office/drawing/2014/main" id="{9B91CE0C-F285-C23B-1E88-E2BED0D5CEDD}"/>
              </a:ext>
            </a:extLst>
          </p:cNvPr>
          <p:cNvGrpSpPr/>
          <p:nvPr/>
        </p:nvGrpSpPr>
        <p:grpSpPr>
          <a:xfrm>
            <a:off x="6275388" y="2879316"/>
            <a:ext cx="5473700" cy="241090"/>
            <a:chOff x="6275388" y="2666162"/>
            <a:chExt cx="5473700" cy="241090"/>
          </a:xfrm>
        </p:grpSpPr>
        <p:grpSp>
          <p:nvGrpSpPr>
            <p:cNvPr id="4105" name="Group 4104">
              <a:extLst>
                <a:ext uri="{FF2B5EF4-FFF2-40B4-BE49-F238E27FC236}">
                  <a16:creationId xmlns:a16="http://schemas.microsoft.com/office/drawing/2014/main" id="{97D7EC11-0D53-25FC-04AB-452B7E2D2469}"/>
                </a:ext>
              </a:extLst>
            </p:cNvPr>
            <p:cNvGrpSpPr/>
            <p:nvPr/>
          </p:nvGrpSpPr>
          <p:grpSpPr>
            <a:xfrm>
              <a:off x="6275388" y="2693466"/>
              <a:ext cx="5473700" cy="102868"/>
              <a:chOff x="442913" y="2705100"/>
              <a:chExt cx="11306175" cy="102868"/>
            </a:xfrm>
          </p:grpSpPr>
          <p:cxnSp>
            <p:nvCxnSpPr>
              <p:cNvPr id="4107" name="Straight Connector 4106">
                <a:extLst>
                  <a:ext uri="{FF2B5EF4-FFF2-40B4-BE49-F238E27FC236}">
                    <a16:creationId xmlns:a16="http://schemas.microsoft.com/office/drawing/2014/main" id="{1AFA6CC9-E3B1-61D7-0479-5989F0A05A2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08" name="Rectangle 4107">
                <a:extLst>
                  <a:ext uri="{FF2B5EF4-FFF2-40B4-BE49-F238E27FC236}">
                    <a16:creationId xmlns:a16="http://schemas.microsoft.com/office/drawing/2014/main" id="{729D4AF8-9E2A-3239-FEB5-9E52AD9B817C}"/>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4106" name="L-Shape 4105">
              <a:extLst>
                <a:ext uri="{FF2B5EF4-FFF2-40B4-BE49-F238E27FC236}">
                  <a16:creationId xmlns:a16="http://schemas.microsoft.com/office/drawing/2014/main" id="{54AE58E5-2ED4-70FF-E0B2-44701F1CA042}"/>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4109" name="Group 4108">
            <a:extLst>
              <a:ext uri="{FF2B5EF4-FFF2-40B4-BE49-F238E27FC236}">
                <a16:creationId xmlns:a16="http://schemas.microsoft.com/office/drawing/2014/main" id="{15E718F9-1045-AEC7-769A-D3F821A96991}"/>
              </a:ext>
            </a:extLst>
          </p:cNvPr>
          <p:cNvGrpSpPr/>
          <p:nvPr/>
        </p:nvGrpSpPr>
        <p:grpSpPr>
          <a:xfrm flipV="1">
            <a:off x="6275388" y="4164880"/>
            <a:ext cx="5473700" cy="241090"/>
            <a:chOff x="6275388" y="2666162"/>
            <a:chExt cx="5473700" cy="241090"/>
          </a:xfrm>
        </p:grpSpPr>
        <p:grpSp>
          <p:nvGrpSpPr>
            <p:cNvPr id="4110" name="Group 4109">
              <a:extLst>
                <a:ext uri="{FF2B5EF4-FFF2-40B4-BE49-F238E27FC236}">
                  <a16:creationId xmlns:a16="http://schemas.microsoft.com/office/drawing/2014/main" id="{8FC18CA4-250E-1BF0-C0FA-530EFA11DF15}"/>
                </a:ext>
              </a:extLst>
            </p:cNvPr>
            <p:cNvGrpSpPr/>
            <p:nvPr/>
          </p:nvGrpSpPr>
          <p:grpSpPr>
            <a:xfrm>
              <a:off x="6275388" y="2693466"/>
              <a:ext cx="5473700" cy="102868"/>
              <a:chOff x="442913" y="2705100"/>
              <a:chExt cx="11306175" cy="102868"/>
            </a:xfrm>
          </p:grpSpPr>
          <p:cxnSp>
            <p:nvCxnSpPr>
              <p:cNvPr id="4112" name="Straight Connector 4111">
                <a:extLst>
                  <a:ext uri="{FF2B5EF4-FFF2-40B4-BE49-F238E27FC236}">
                    <a16:creationId xmlns:a16="http://schemas.microsoft.com/office/drawing/2014/main" id="{517486C3-8C91-B93B-8967-C85604CBF68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13" name="Rectangle 4112">
                <a:extLst>
                  <a:ext uri="{FF2B5EF4-FFF2-40B4-BE49-F238E27FC236}">
                    <a16:creationId xmlns:a16="http://schemas.microsoft.com/office/drawing/2014/main" id="{ACA1CA86-6968-335C-7B6A-C0C86A76FB71}"/>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4111" name="L-Shape 4110">
              <a:extLst>
                <a:ext uri="{FF2B5EF4-FFF2-40B4-BE49-F238E27FC236}">
                  <a16:creationId xmlns:a16="http://schemas.microsoft.com/office/drawing/2014/main" id="{D4347655-A5EA-5A5B-FCBC-0ED4B7E3876F}"/>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4114" name="object 10">
            <a:extLst>
              <a:ext uri="{FF2B5EF4-FFF2-40B4-BE49-F238E27FC236}">
                <a16:creationId xmlns:a16="http://schemas.microsoft.com/office/drawing/2014/main" id="{F74E23CE-0B04-3AF6-ED5B-8AB02302EBB3}"/>
              </a:ext>
            </a:extLst>
          </p:cNvPr>
          <p:cNvSpPr txBox="1"/>
          <p:nvPr/>
        </p:nvSpPr>
        <p:spPr>
          <a:xfrm>
            <a:off x="6275386" y="2027777"/>
            <a:ext cx="1582453" cy="553998"/>
          </a:xfrm>
          <a:prstGeom prst="rect">
            <a:avLst/>
          </a:prstGeom>
        </p:spPr>
        <p:txBody>
          <a:bodyPr vert="horz" wrap="square" lIns="72000" tIns="0" rIns="0" bIns="0" rtlCol="0">
            <a:spAutoFit/>
          </a:bodyPr>
          <a:lstStyle/>
          <a:p>
            <a:pPr marL="12700" rtl="0">
              <a:spcBef>
                <a:spcPts val="100"/>
              </a:spcBef>
            </a:pPr>
            <a:r>
              <a:rPr lang="en-gb" sz="1200">
                <a:cs typeface="Verdana"/>
              </a:rPr>
              <a:t>Suggests the Cabinet</a:t>
            </a:r>
            <a:r>
              <a:rPr lang="lv-LV" sz="1200">
                <a:cs typeface="Verdana"/>
              </a:rPr>
              <a:t> to</a:t>
            </a:r>
            <a:r>
              <a:rPr lang="en-gb" sz="1200">
                <a:cs typeface="Verdana"/>
              </a:rPr>
              <a:t> </a:t>
            </a:r>
            <a:r>
              <a:rPr lang="en-gb" sz="1200">
                <a:solidFill>
                  <a:srgbClr val="A8192D"/>
                </a:solidFill>
                <a:cs typeface="Verdana"/>
              </a:rPr>
              <a:t>assess </a:t>
            </a:r>
            <a:r>
              <a:rPr lang="en-gb" sz="1200">
                <a:cs typeface="Verdana"/>
              </a:rPr>
              <a:t>the </a:t>
            </a:r>
            <a:r>
              <a:rPr lang="lv-LV" sz="1200">
                <a:cs typeface="Verdana"/>
              </a:rPr>
              <a:t>s</a:t>
            </a:r>
            <a:r>
              <a:rPr lang="en-GB" sz="1200" err="1">
                <a:cs typeface="Verdana"/>
              </a:rPr>
              <a:t>tate</a:t>
            </a:r>
            <a:r>
              <a:rPr lang="en-GB" sz="1200">
                <a:cs typeface="Verdana"/>
              </a:rPr>
              <a:t> of exception</a:t>
            </a:r>
            <a:r>
              <a:rPr lang="en-gb" sz="1200">
                <a:cs typeface="Verdana"/>
              </a:rPr>
              <a:t>:</a:t>
            </a:r>
          </a:p>
        </p:txBody>
      </p:sp>
      <p:sp>
        <p:nvSpPr>
          <p:cNvPr id="4115" name="object 16">
            <a:extLst>
              <a:ext uri="{FF2B5EF4-FFF2-40B4-BE49-F238E27FC236}">
                <a16:creationId xmlns:a16="http://schemas.microsoft.com/office/drawing/2014/main" id="{8A552A7C-C5C1-DBF9-CF87-8C87EA1ADE6F}"/>
              </a:ext>
            </a:extLst>
          </p:cNvPr>
          <p:cNvSpPr txBox="1"/>
          <p:nvPr/>
        </p:nvSpPr>
        <p:spPr>
          <a:xfrm>
            <a:off x="6275386" y="3375590"/>
            <a:ext cx="1484578" cy="553998"/>
          </a:xfrm>
          <a:prstGeom prst="rect">
            <a:avLst/>
          </a:prstGeom>
        </p:spPr>
        <p:txBody>
          <a:bodyPr vert="horz" wrap="square" lIns="72000" tIns="0" rIns="0" bIns="0" rtlCol="0">
            <a:spAutoFit/>
          </a:bodyPr>
          <a:lstStyle/>
          <a:p>
            <a:pPr marL="12700" rtl="0">
              <a:spcBef>
                <a:spcPts val="100"/>
              </a:spcBef>
            </a:pPr>
            <a:r>
              <a:rPr lang="en-gb" sz="1200">
                <a:cs typeface="Verdana"/>
              </a:rPr>
              <a:t>Can</a:t>
            </a:r>
            <a:r>
              <a:rPr lang="en-gb" sz="1200" spc="-30">
                <a:cs typeface="Verdana"/>
              </a:rPr>
              <a:t> </a:t>
            </a:r>
            <a:r>
              <a:rPr lang="en-GB" sz="1200">
                <a:solidFill>
                  <a:srgbClr val="A8192D"/>
                </a:solidFill>
                <a:cs typeface="Verdana"/>
              </a:rPr>
              <a:t>declare</a:t>
            </a:r>
            <a:r>
              <a:rPr lang="en-gb" sz="1200" spc="-20">
                <a:solidFill>
                  <a:srgbClr val="A8192D"/>
                </a:solidFill>
                <a:cs typeface="Verdana"/>
              </a:rPr>
              <a:t> </a:t>
            </a:r>
            <a:r>
              <a:rPr lang="en-gb" sz="1200" i="1">
                <a:solidFill>
                  <a:srgbClr val="A8192D"/>
                </a:solidFill>
                <a:cs typeface="Verdana"/>
              </a:rPr>
              <a:t>(</a:t>
            </a:r>
            <a:r>
              <a:rPr lang="en-GB" sz="1200" i="1">
                <a:solidFill>
                  <a:srgbClr val="A8192D"/>
                </a:solidFill>
                <a:cs typeface="Verdana"/>
              </a:rPr>
              <a:t>revoke a decision</a:t>
            </a:r>
            <a:r>
              <a:rPr lang="en-gb" sz="1200" i="1">
                <a:solidFill>
                  <a:srgbClr val="A8192D"/>
                </a:solidFill>
                <a:cs typeface="Verdana"/>
              </a:rPr>
              <a:t>)</a:t>
            </a:r>
            <a:r>
              <a:rPr lang="lv-LV" sz="1200" i="1">
                <a:solidFill>
                  <a:srgbClr val="A8192D"/>
                </a:solidFill>
                <a:cs typeface="Verdana"/>
              </a:rPr>
              <a:t> </a:t>
            </a:r>
            <a:r>
              <a:rPr lang="lv-LV" sz="1200" i="1" spc="-25">
                <a:cs typeface="Verdana"/>
              </a:rPr>
              <a:t>s</a:t>
            </a:r>
            <a:r>
              <a:rPr lang="en-GB" sz="1200" spc="-25" err="1">
                <a:cs typeface="Verdana"/>
              </a:rPr>
              <a:t>tate</a:t>
            </a:r>
            <a:r>
              <a:rPr lang="en-GB" sz="1200" spc="-25">
                <a:cs typeface="Verdana"/>
              </a:rPr>
              <a:t> of exception</a:t>
            </a:r>
            <a:r>
              <a:rPr lang="lv-LV" sz="1200" spc="-25">
                <a:cs typeface="Verdana"/>
              </a:rPr>
              <a:t>:</a:t>
            </a:r>
            <a:endParaRPr lang="en-gb" sz="1200">
              <a:cs typeface="Verdana"/>
            </a:endParaRPr>
          </a:p>
        </p:txBody>
      </p:sp>
      <p:sp>
        <p:nvSpPr>
          <p:cNvPr id="4116" name="object 21">
            <a:extLst>
              <a:ext uri="{FF2B5EF4-FFF2-40B4-BE49-F238E27FC236}">
                <a16:creationId xmlns:a16="http://schemas.microsoft.com/office/drawing/2014/main" id="{61200748-FE47-40D4-9790-221D78895C3F}"/>
              </a:ext>
            </a:extLst>
          </p:cNvPr>
          <p:cNvSpPr txBox="1"/>
          <p:nvPr/>
        </p:nvSpPr>
        <p:spPr>
          <a:xfrm>
            <a:off x="6275385" y="4747873"/>
            <a:ext cx="1484579" cy="553998"/>
          </a:xfrm>
          <a:prstGeom prst="rect">
            <a:avLst/>
          </a:prstGeom>
        </p:spPr>
        <p:txBody>
          <a:bodyPr vert="horz" wrap="square" lIns="72000" tIns="0" rIns="0" bIns="0" rtlCol="0">
            <a:spAutoFit/>
          </a:bodyPr>
          <a:lstStyle/>
          <a:p>
            <a:pPr marL="12700" rtl="0">
              <a:spcBef>
                <a:spcPts val="100"/>
              </a:spcBef>
            </a:pPr>
            <a:r>
              <a:rPr lang="en-US" sz="1200">
                <a:cs typeface="Verdana"/>
              </a:rPr>
              <a:t>Decide on </a:t>
            </a:r>
            <a:r>
              <a:rPr lang="lv-LV" sz="1200">
                <a:solidFill>
                  <a:srgbClr val="A8192D"/>
                </a:solidFill>
              </a:rPr>
              <a:t>j</a:t>
            </a:r>
            <a:r>
              <a:rPr lang="en-US" sz="1200" err="1">
                <a:solidFill>
                  <a:srgbClr val="A8192D"/>
                </a:solidFill>
              </a:rPr>
              <a:t>ustification</a:t>
            </a:r>
            <a:r>
              <a:rPr lang="en-US" sz="1200">
                <a:solidFill>
                  <a:srgbClr val="A8192D"/>
                </a:solidFill>
              </a:rPr>
              <a:t> of </a:t>
            </a:r>
            <a:r>
              <a:rPr lang="lv-LV" sz="1200">
                <a:solidFill>
                  <a:srgbClr val="A8192D"/>
                </a:solidFill>
              </a:rPr>
              <a:t>s</a:t>
            </a:r>
            <a:r>
              <a:rPr lang="en-US" sz="1200" err="1">
                <a:solidFill>
                  <a:srgbClr val="A8192D"/>
                </a:solidFill>
              </a:rPr>
              <a:t>tate</a:t>
            </a:r>
            <a:r>
              <a:rPr lang="en-US" sz="1200">
                <a:solidFill>
                  <a:srgbClr val="A8192D"/>
                </a:solidFill>
              </a:rPr>
              <a:t> of </a:t>
            </a:r>
            <a:r>
              <a:rPr lang="lv-LV" sz="1200">
                <a:solidFill>
                  <a:srgbClr val="A8192D"/>
                </a:solidFill>
              </a:rPr>
              <a:t>e</a:t>
            </a:r>
            <a:r>
              <a:rPr lang="en-US" sz="1200" err="1">
                <a:solidFill>
                  <a:srgbClr val="A8192D"/>
                </a:solidFill>
              </a:rPr>
              <a:t>xception</a:t>
            </a:r>
            <a:r>
              <a:rPr lang="lv-LV" sz="1200">
                <a:cs typeface="Verdana"/>
              </a:rPr>
              <a:t>:</a:t>
            </a:r>
          </a:p>
        </p:txBody>
      </p:sp>
      <p:sp>
        <p:nvSpPr>
          <p:cNvPr id="4125" name="Rectangle 4124">
            <a:extLst>
              <a:ext uri="{FF2B5EF4-FFF2-40B4-BE49-F238E27FC236}">
                <a16:creationId xmlns:a16="http://schemas.microsoft.com/office/drawing/2014/main" id="{71E84A0B-D987-F209-8AF9-C111BF7BD3E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126" name="Freeform 50">
            <a:extLst>
              <a:ext uri="{FF2B5EF4-FFF2-40B4-BE49-F238E27FC236}">
                <a16:creationId xmlns:a16="http://schemas.microsoft.com/office/drawing/2014/main" id="{0A7906AD-F0C5-7DAB-1E83-AC59319F8513}"/>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127" name="Google Shape;2685;p25">
            <a:extLst>
              <a:ext uri="{FF2B5EF4-FFF2-40B4-BE49-F238E27FC236}">
                <a16:creationId xmlns:a16="http://schemas.microsoft.com/office/drawing/2014/main" id="{C1B7A38B-5EF7-37FD-3C2B-2128B5F96EAD}"/>
              </a:ext>
            </a:extLst>
          </p:cNvPr>
          <p:cNvSpPr txBox="1"/>
          <p:nvPr/>
        </p:nvSpPr>
        <p:spPr>
          <a:xfrm>
            <a:off x="6870756" y="5829306"/>
            <a:ext cx="4742622" cy="184666"/>
          </a:xfrm>
          <a:prstGeom prst="rect">
            <a:avLst/>
          </a:prstGeom>
          <a:noFill/>
          <a:ln>
            <a:noFill/>
          </a:ln>
        </p:spPr>
        <p:txBody>
          <a:bodyPr spcFirstLastPara="1" wrap="square" lIns="0" tIns="0" rIns="72000" bIns="0" rtlCol="0" anchor="ctr" anchorCtr="0">
            <a:spAutoFit/>
          </a:bodyPr>
          <a:lstStyle/>
          <a:p>
            <a:pPr rtl="0"/>
            <a:r>
              <a:rPr lang="en-US" sz="1200" i="0" dirty="0">
                <a:effectLst/>
                <a:hlinkClick r:id="rId3">
                  <a:extLst>
                    <a:ext uri="{A12FA001-AC4F-418D-AE19-62706E023703}">
                      <ahyp:hlinkClr xmlns:ahyp="http://schemas.microsoft.com/office/drawing/2018/hyperlinkcolor" val="tx"/>
                    </a:ext>
                  </a:extLst>
                </a:hlinkClick>
              </a:rPr>
              <a:t>On Emergency Situation and State of Exception</a:t>
            </a:r>
            <a:endParaRPr lang="lv-LV" sz="1200" i="0" dirty="0">
              <a:effectLst/>
            </a:endParaRPr>
          </a:p>
        </p:txBody>
      </p:sp>
      <p:sp>
        <p:nvSpPr>
          <p:cNvPr id="3" name="object 3">
            <a:extLst>
              <a:ext uri="{FF2B5EF4-FFF2-40B4-BE49-F238E27FC236}">
                <a16:creationId xmlns:a16="http://schemas.microsoft.com/office/drawing/2014/main" id="{1F0214FA-217F-A1F4-9E8B-DFF75B96BA2C}"/>
              </a:ext>
            </a:extLst>
          </p:cNvPr>
          <p:cNvSpPr txBox="1">
            <a:spLocks/>
          </p:cNvSpPr>
          <p:nvPr/>
        </p:nvSpPr>
        <p:spPr>
          <a:xfrm>
            <a:off x="442914" y="1834493"/>
            <a:ext cx="5473700" cy="1015388"/>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rtl="0">
              <a:spcAft>
                <a:spcPts val="0"/>
              </a:spcAft>
            </a:pPr>
            <a:r>
              <a:rPr lang="en-GB" sz="1400">
                <a:solidFill>
                  <a:schemeClr val="bg1"/>
                </a:solidFill>
                <a:cs typeface="Times New Roman"/>
              </a:rPr>
              <a:t>State of </a:t>
            </a:r>
            <a:r>
              <a:rPr lang="lv-LV" sz="1400">
                <a:solidFill>
                  <a:schemeClr val="bg1"/>
                </a:solidFill>
                <a:cs typeface="Times New Roman"/>
              </a:rPr>
              <a:t>e</a:t>
            </a:r>
            <a:r>
              <a:rPr lang="en-GB" sz="1400" err="1">
                <a:solidFill>
                  <a:schemeClr val="bg1"/>
                </a:solidFill>
                <a:cs typeface="Times New Roman"/>
              </a:rPr>
              <a:t>xception</a:t>
            </a:r>
            <a:r>
              <a:rPr lang="lv-LV" sz="1400" b="0">
                <a:solidFill>
                  <a:schemeClr val="bg1"/>
                </a:solidFill>
                <a:cs typeface="Times New Roman"/>
              </a:rPr>
              <a:t> – </a:t>
            </a:r>
            <a:r>
              <a:rPr lang="en-US" sz="1400" b="0">
                <a:solidFill>
                  <a:schemeClr val="bg1"/>
                </a:solidFill>
                <a:cs typeface="Times New Roman"/>
              </a:rPr>
              <a:t>special legal regime</a:t>
            </a:r>
            <a:r>
              <a:rPr lang="lv-LV" sz="1400" b="0">
                <a:solidFill>
                  <a:schemeClr val="bg1"/>
                </a:solidFill>
                <a:cs typeface="Times New Roman"/>
              </a:rPr>
              <a:t> </a:t>
            </a:r>
            <a:r>
              <a:rPr lang="lv-LV" sz="1400" b="0" err="1">
                <a:solidFill>
                  <a:schemeClr val="bg1"/>
                </a:solidFill>
                <a:cs typeface="Times New Roman"/>
              </a:rPr>
              <a:t>that</a:t>
            </a:r>
            <a:r>
              <a:rPr lang="en-US" sz="1400" b="0">
                <a:solidFill>
                  <a:schemeClr val="bg1"/>
                </a:solidFill>
                <a:cs typeface="Times New Roman"/>
              </a:rPr>
              <a:t> allows to restrict the rights and freedoms of natural persons and legal persons to the extent and according to the procedures laid down in law, as well as to impose additional duties on them</a:t>
            </a:r>
            <a:r>
              <a:rPr lang="lv-LV" sz="1400" b="0">
                <a:solidFill>
                  <a:schemeClr val="bg1"/>
                </a:solidFill>
                <a:cs typeface="Times New Roman"/>
              </a:rPr>
              <a:t>.</a:t>
            </a:r>
            <a:endParaRPr lang="lv-LV" sz="1400" b="0">
              <a:solidFill>
                <a:schemeClr val="bg1"/>
              </a:solidFill>
              <a:ea typeface="+mn-lt"/>
              <a:cs typeface="+mn-lt"/>
            </a:endParaRPr>
          </a:p>
        </p:txBody>
      </p:sp>
      <p:sp>
        <p:nvSpPr>
          <p:cNvPr id="4" name="TextBox 3">
            <a:extLst>
              <a:ext uri="{FF2B5EF4-FFF2-40B4-BE49-F238E27FC236}">
                <a16:creationId xmlns:a16="http://schemas.microsoft.com/office/drawing/2014/main" id="{3BA727F4-D622-2FE3-C89F-CAEDA9FEED47}"/>
              </a:ext>
            </a:extLst>
          </p:cNvPr>
          <p:cNvSpPr txBox="1"/>
          <p:nvPr/>
        </p:nvSpPr>
        <p:spPr>
          <a:xfrm>
            <a:off x="442912" y="2981601"/>
            <a:ext cx="5480301" cy="1851384"/>
          </a:xfrm>
          <a:prstGeom prst="rect">
            <a:avLst/>
          </a:prstGeom>
          <a:solidFill>
            <a:srgbClr val="CFD6E8"/>
          </a:solidFill>
        </p:spPr>
        <p:txBody>
          <a:bodyPr wrap="square" lIns="72000" tIns="72000" rIns="72000" bIns="72000" rtlCol="0">
            <a:noAutofit/>
          </a:bodyPr>
          <a:lstStyle/>
          <a:p>
            <a:pPr marR="5080" rtl="0"/>
            <a:r>
              <a:rPr lang="en-US" sz="1400" b="1" spc="-10">
                <a:ea typeface="+mn-lt"/>
                <a:cs typeface="+mn-lt"/>
              </a:rPr>
              <a:t>State of exception </a:t>
            </a:r>
            <a:r>
              <a:rPr lang="lv-LV" sz="1400" b="1" spc="-10" err="1">
                <a:ea typeface="+mn-lt"/>
                <a:cs typeface="+mn-lt"/>
              </a:rPr>
              <a:t>may</a:t>
            </a:r>
            <a:r>
              <a:rPr lang="lv-LV" sz="1400" b="1" spc="-10">
                <a:ea typeface="+mn-lt"/>
                <a:cs typeface="+mn-lt"/>
              </a:rPr>
              <a:t> </a:t>
            </a:r>
            <a:r>
              <a:rPr lang="en-US" sz="1400" b="1" spc="-10">
                <a:ea typeface="+mn-lt"/>
                <a:cs typeface="+mn-lt"/>
              </a:rPr>
              <a:t>be declared if:</a:t>
            </a:r>
            <a:endParaRPr lang="lv-LV" sz="1400">
              <a:ea typeface="+mn-lt"/>
              <a:cs typeface="+mn-lt"/>
            </a:endParaRPr>
          </a:p>
        </p:txBody>
      </p:sp>
      <p:grpSp>
        <p:nvGrpSpPr>
          <p:cNvPr id="5" name="Group 4">
            <a:extLst>
              <a:ext uri="{FF2B5EF4-FFF2-40B4-BE49-F238E27FC236}">
                <a16:creationId xmlns:a16="http://schemas.microsoft.com/office/drawing/2014/main" id="{882C970D-1AFE-8DCA-D3F3-2C7B8DD0F765}"/>
              </a:ext>
            </a:extLst>
          </p:cNvPr>
          <p:cNvGrpSpPr/>
          <p:nvPr/>
        </p:nvGrpSpPr>
        <p:grpSpPr>
          <a:xfrm>
            <a:off x="559119" y="3534000"/>
            <a:ext cx="5349874" cy="360000"/>
            <a:chOff x="559119" y="3534000"/>
            <a:chExt cx="5349874" cy="360000"/>
          </a:xfrm>
        </p:grpSpPr>
        <p:sp>
          <p:nvSpPr>
            <p:cNvPr id="6" name="Rectangle 5">
              <a:extLst>
                <a:ext uri="{FF2B5EF4-FFF2-40B4-BE49-F238E27FC236}">
                  <a16:creationId xmlns:a16="http://schemas.microsoft.com/office/drawing/2014/main" id="{9917DBA6-24E2-6F47-2F29-AB73FE7DD9E3}"/>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US" sz="1400">
                  <a:solidFill>
                    <a:schemeClr val="tx1"/>
                  </a:solidFill>
                  <a:ea typeface="+mn-lt"/>
                  <a:cs typeface="+mn-lt"/>
                </a:rPr>
                <a:t>the State is endangered by an external enemy</a:t>
              </a:r>
              <a:r>
                <a:rPr lang="lv-LV" sz="1400">
                  <a:solidFill>
                    <a:schemeClr val="tx1"/>
                  </a:solidFill>
                  <a:ea typeface="+mn-lt"/>
                  <a:cs typeface="+mn-lt"/>
                </a:rPr>
                <a:t>,</a:t>
              </a:r>
              <a:endParaRPr lang="en-gb" sz="1400">
                <a:solidFill>
                  <a:schemeClr val="tx1"/>
                </a:solidFill>
                <a:ea typeface="+mn-lt"/>
                <a:cs typeface="+mn-lt"/>
              </a:endParaRPr>
            </a:p>
          </p:txBody>
        </p:sp>
        <p:sp>
          <p:nvSpPr>
            <p:cNvPr id="7" name="Rectangle 6">
              <a:extLst>
                <a:ext uri="{FF2B5EF4-FFF2-40B4-BE49-F238E27FC236}">
                  <a16:creationId xmlns:a16="http://schemas.microsoft.com/office/drawing/2014/main" id="{97C1D1BF-199A-E974-E065-ECA91B5CD024}"/>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 name="L-Shape 7">
              <a:extLst>
                <a:ext uri="{FF2B5EF4-FFF2-40B4-BE49-F238E27FC236}">
                  <a16:creationId xmlns:a16="http://schemas.microsoft.com/office/drawing/2014/main" id="{E0BE5812-6F71-F36F-B894-BF429256E0E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36" name="Group 35">
            <a:extLst>
              <a:ext uri="{FF2B5EF4-FFF2-40B4-BE49-F238E27FC236}">
                <a16:creationId xmlns:a16="http://schemas.microsoft.com/office/drawing/2014/main" id="{E113E43C-7913-E4DC-36B0-2767C8A7EEA3}"/>
              </a:ext>
            </a:extLst>
          </p:cNvPr>
          <p:cNvGrpSpPr/>
          <p:nvPr/>
        </p:nvGrpSpPr>
        <p:grpSpPr>
          <a:xfrm>
            <a:off x="559119" y="4012207"/>
            <a:ext cx="5349874" cy="621281"/>
            <a:chOff x="559119" y="4012207"/>
            <a:chExt cx="5349874" cy="621281"/>
          </a:xfrm>
        </p:grpSpPr>
        <p:sp>
          <p:nvSpPr>
            <p:cNvPr id="10" name="Rectangle 9">
              <a:extLst>
                <a:ext uri="{FF2B5EF4-FFF2-40B4-BE49-F238E27FC236}">
                  <a16:creationId xmlns:a16="http://schemas.microsoft.com/office/drawing/2014/main" id="{CC6738D2-EE44-4137-26D7-371FBB07D62E}"/>
                </a:ext>
              </a:extLst>
            </p:cNvPr>
            <p:cNvSpPr/>
            <p:nvPr/>
          </p:nvSpPr>
          <p:spPr>
            <a:xfrm>
              <a:off x="1238789" y="411732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defRPr/>
              </a:pPr>
              <a:r>
                <a:rPr lang="en-US" sz="1400">
                  <a:solidFill>
                    <a:schemeClr val="tx1"/>
                  </a:solidFill>
                  <a:ea typeface="+mn-lt"/>
                  <a:cs typeface="+mn-lt"/>
                </a:rPr>
                <a:t>internal disturbances which endanger the democratic structure of the State have arisen or are in danger of arising in the State or any part thereof</a:t>
              </a:r>
              <a:endParaRPr lang="en-gb" sz="1400">
                <a:solidFill>
                  <a:schemeClr val="tx1"/>
                </a:solidFill>
                <a:ea typeface="+mn-lt"/>
                <a:cs typeface="+mn-lt"/>
              </a:endParaRPr>
            </a:p>
          </p:txBody>
        </p:sp>
        <p:sp>
          <p:nvSpPr>
            <p:cNvPr id="27" name="Rectangle 26">
              <a:extLst>
                <a:ext uri="{FF2B5EF4-FFF2-40B4-BE49-F238E27FC236}">
                  <a16:creationId xmlns:a16="http://schemas.microsoft.com/office/drawing/2014/main" id="{4D88B19E-A226-37FC-F0E8-28DFC633DFD5}"/>
                </a:ext>
              </a:extLst>
            </p:cNvPr>
            <p:cNvSpPr/>
            <p:nvPr/>
          </p:nvSpPr>
          <p:spPr>
            <a:xfrm>
              <a:off x="559119" y="4012207"/>
              <a:ext cx="576000" cy="6212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grpSp>
      <p:sp>
        <p:nvSpPr>
          <p:cNvPr id="28" name="L-Shape 27">
            <a:extLst>
              <a:ext uri="{FF2B5EF4-FFF2-40B4-BE49-F238E27FC236}">
                <a16:creationId xmlns:a16="http://schemas.microsoft.com/office/drawing/2014/main" id="{4966D0B6-1275-62FF-A7FD-1F25CAD4AB9C}"/>
              </a:ext>
            </a:extLst>
          </p:cNvPr>
          <p:cNvSpPr/>
          <p:nvPr/>
        </p:nvSpPr>
        <p:spPr>
          <a:xfrm rot="13500000">
            <a:off x="710285" y="418864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4" name="Straight Connector 33">
            <a:extLst>
              <a:ext uri="{FF2B5EF4-FFF2-40B4-BE49-F238E27FC236}">
                <a16:creationId xmlns:a16="http://schemas.microsoft.com/office/drawing/2014/main" id="{7B938D4C-63CB-701A-E560-B0C65277242A}"/>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grpSp>
        <p:nvGrpSpPr>
          <p:cNvPr id="23" name="Group 22">
            <a:extLst>
              <a:ext uri="{FF2B5EF4-FFF2-40B4-BE49-F238E27FC236}">
                <a16:creationId xmlns:a16="http://schemas.microsoft.com/office/drawing/2014/main" id="{B2A6F7E6-FBFF-1C8E-51D7-15C739E2BCD1}"/>
              </a:ext>
            </a:extLst>
          </p:cNvPr>
          <p:cNvGrpSpPr/>
          <p:nvPr/>
        </p:nvGrpSpPr>
        <p:grpSpPr>
          <a:xfrm>
            <a:off x="9041767" y="1872995"/>
            <a:ext cx="957021" cy="863563"/>
            <a:chOff x="8891977" y="1854795"/>
            <a:chExt cx="957021" cy="863563"/>
          </a:xfrm>
        </p:grpSpPr>
        <p:pic>
          <p:nvPicPr>
            <p:cNvPr id="25" name="Picture 2" descr="Ārlietu ministrija">
              <a:extLst>
                <a:ext uri="{FF2B5EF4-FFF2-40B4-BE49-F238E27FC236}">
                  <a16:creationId xmlns:a16="http://schemas.microsoft.com/office/drawing/2014/main" id="{7524C0DA-F956-4D8D-C30C-B1A36D65FF8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98DD969D-111B-B195-E250-0BF323A81EB3}"/>
                </a:ext>
              </a:extLst>
            </p:cNvPr>
            <p:cNvSpPr txBox="1"/>
            <p:nvPr/>
          </p:nvSpPr>
          <p:spPr>
            <a:xfrm>
              <a:off x="8891977" y="2396090"/>
              <a:ext cx="957021" cy="322268"/>
            </a:xfrm>
            <a:prstGeom prst="rect">
              <a:avLst/>
            </a:prstGeom>
            <a:noFill/>
          </p:spPr>
          <p:txBody>
            <a:bodyPr wrap="square" lIns="0" tIns="0" rIns="0" bIns="0" rtlCol="0" anchor="ctr">
              <a:spAutoFit/>
            </a:bodyPr>
            <a:lstStyle/>
            <a:p>
              <a:pPr algn="ctr">
                <a:lnSpc>
                  <a:spcPct val="107000"/>
                </a:lnSpc>
                <a:spcAft>
                  <a:spcPts val="800"/>
                </a:spcAft>
              </a:pPr>
              <a:r>
                <a:rPr lang="en-GB" sz="1000" b="1"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Ministry of the Interior</a:t>
              </a:r>
            </a:p>
          </p:txBody>
        </p:sp>
      </p:grpSp>
      <p:grpSp>
        <p:nvGrpSpPr>
          <p:cNvPr id="32" name="Group 31">
            <a:extLst>
              <a:ext uri="{FF2B5EF4-FFF2-40B4-BE49-F238E27FC236}">
                <a16:creationId xmlns:a16="http://schemas.microsoft.com/office/drawing/2014/main" id="{C3090F34-AA5D-F1AA-6102-D6651C016735}"/>
              </a:ext>
            </a:extLst>
          </p:cNvPr>
          <p:cNvGrpSpPr/>
          <p:nvPr/>
        </p:nvGrpSpPr>
        <p:grpSpPr>
          <a:xfrm>
            <a:off x="10301528" y="1872995"/>
            <a:ext cx="957021" cy="863563"/>
            <a:chOff x="8891977" y="1854795"/>
            <a:chExt cx="957021" cy="863563"/>
          </a:xfrm>
        </p:grpSpPr>
        <p:pic>
          <p:nvPicPr>
            <p:cNvPr id="33" name="Picture 2" descr="Ārlietu ministrija">
              <a:extLst>
                <a:ext uri="{FF2B5EF4-FFF2-40B4-BE49-F238E27FC236}">
                  <a16:creationId xmlns:a16="http://schemas.microsoft.com/office/drawing/2014/main" id="{7C8B78CD-47F1-CD01-444E-0A3CF6A7562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BE97B73E-E6E3-8CB0-904F-2A3F50EB3854}"/>
                </a:ext>
              </a:extLst>
            </p:cNvPr>
            <p:cNvSpPr txBox="1"/>
            <p:nvPr/>
          </p:nvSpPr>
          <p:spPr>
            <a:xfrm>
              <a:off x="8891977" y="2396090"/>
              <a:ext cx="957021" cy="322268"/>
            </a:xfrm>
            <a:prstGeom prst="rect">
              <a:avLst/>
            </a:prstGeom>
            <a:noFill/>
          </p:spPr>
          <p:txBody>
            <a:bodyPr wrap="square" lIns="0" tIns="0" rIns="0" bIns="0" rtlCol="0" anchor="ctr">
              <a:spAutoFit/>
            </a:bodyPr>
            <a:lstStyle/>
            <a:p>
              <a:pPr algn="ctr">
                <a:lnSpc>
                  <a:spcPct val="107000"/>
                </a:lnSpc>
                <a:spcAft>
                  <a:spcPts val="800"/>
                </a:spcAft>
              </a:pPr>
              <a:r>
                <a:rPr lang="en-GB" sz="1000" b="1"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Ministry of Foreign Affairs</a:t>
              </a:r>
            </a:p>
          </p:txBody>
        </p:sp>
      </p:grpSp>
      <p:grpSp>
        <p:nvGrpSpPr>
          <p:cNvPr id="44" name="Group 43">
            <a:extLst>
              <a:ext uri="{FF2B5EF4-FFF2-40B4-BE49-F238E27FC236}">
                <a16:creationId xmlns:a16="http://schemas.microsoft.com/office/drawing/2014/main" id="{A245A56E-2DB6-34CA-45E1-8F0D387FE5FC}"/>
              </a:ext>
            </a:extLst>
          </p:cNvPr>
          <p:cNvGrpSpPr/>
          <p:nvPr/>
        </p:nvGrpSpPr>
        <p:grpSpPr>
          <a:xfrm>
            <a:off x="9679048" y="3224430"/>
            <a:ext cx="957021" cy="856318"/>
            <a:chOff x="8891977" y="1854795"/>
            <a:chExt cx="957021" cy="856318"/>
          </a:xfrm>
        </p:grpSpPr>
        <p:pic>
          <p:nvPicPr>
            <p:cNvPr id="45" name="Picture 2" descr="Ārlietu ministrija">
              <a:extLst>
                <a:ext uri="{FF2B5EF4-FFF2-40B4-BE49-F238E27FC236}">
                  <a16:creationId xmlns:a16="http://schemas.microsoft.com/office/drawing/2014/main" id="{7C4A95DC-602A-AA61-BF05-A26354DA15B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E0ED3D26-C5F7-0348-C3E4-8D385519C31E}"/>
                </a:ext>
              </a:extLst>
            </p:cNvPr>
            <p:cNvSpPr txBox="1"/>
            <p:nvPr/>
          </p:nvSpPr>
          <p:spPr>
            <a:xfrm>
              <a:off x="8891977" y="2403336"/>
              <a:ext cx="957021" cy="307777"/>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err="1"/>
                <a:t>Cabinet</a:t>
              </a:r>
              <a:r>
                <a:rPr lang="lv-LV" sz="1000" b="1"/>
                <a:t> </a:t>
              </a:r>
              <a:r>
                <a:rPr lang="lv-LV" sz="1000" b="1" err="1"/>
                <a:t>of</a:t>
              </a:r>
              <a:r>
                <a:rPr lang="lv-LV" sz="1000" b="1"/>
                <a:t> </a:t>
              </a:r>
              <a:r>
                <a:rPr lang="lv-LV" sz="1000" b="1" err="1"/>
                <a:t>Ministers</a:t>
              </a:r>
              <a:endParaRPr lang="en-gb" sz="1000" b="1"/>
            </a:p>
          </p:txBody>
        </p:sp>
      </p:grpSp>
      <p:grpSp>
        <p:nvGrpSpPr>
          <p:cNvPr id="47" name="Group 46">
            <a:extLst>
              <a:ext uri="{FF2B5EF4-FFF2-40B4-BE49-F238E27FC236}">
                <a16:creationId xmlns:a16="http://schemas.microsoft.com/office/drawing/2014/main" id="{4433626B-CD82-F867-50A6-9FE37955C272}"/>
              </a:ext>
            </a:extLst>
          </p:cNvPr>
          <p:cNvGrpSpPr/>
          <p:nvPr/>
        </p:nvGrpSpPr>
        <p:grpSpPr>
          <a:xfrm>
            <a:off x="9679048" y="4635186"/>
            <a:ext cx="957021" cy="779373"/>
            <a:chOff x="8891977" y="1854795"/>
            <a:chExt cx="957021" cy="779373"/>
          </a:xfrm>
        </p:grpSpPr>
        <p:pic>
          <p:nvPicPr>
            <p:cNvPr id="48" name="Picture 2" descr="Ārlietu ministrija">
              <a:extLst>
                <a:ext uri="{FF2B5EF4-FFF2-40B4-BE49-F238E27FC236}">
                  <a16:creationId xmlns:a16="http://schemas.microsoft.com/office/drawing/2014/main" id="{8734BACC-F903-C6C7-E0F5-A2A109DD96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68E726F-3512-6F2F-461B-217DCFDECD9B}"/>
                </a:ext>
              </a:extLst>
            </p:cNvPr>
            <p:cNvSpPr txBox="1"/>
            <p:nvPr/>
          </p:nvSpPr>
          <p:spPr>
            <a:xfrm>
              <a:off x="8891977" y="2480280"/>
              <a:ext cx="957021" cy="153888"/>
            </a:xfrm>
            <a:prstGeom prst="rect">
              <a:avLst/>
            </a:prstGeom>
            <a:noFill/>
          </p:spPr>
          <p:txBody>
            <a:bodyPr wrap="square" lIns="0" tIns="0" rIns="0" bIns="0" rtlCol="0" anchor="ctr">
              <a:spAutoFit/>
            </a:bodyPr>
            <a:lstStyle/>
            <a:p>
              <a:pPr algn="ctr" rtl="0">
                <a:lnSpc>
                  <a:spcPct val="100000"/>
                </a:lnSpc>
                <a:spcAft>
                  <a:spcPts val="600"/>
                </a:spcAft>
                <a:buSzPct val="100000"/>
              </a:pPr>
              <a:r>
                <a:rPr lang="lv-LV" sz="1000" b="1"/>
                <a:t>Saeima</a:t>
              </a:r>
              <a:endParaRPr lang="en-gb" sz="1000" b="1"/>
            </a:p>
          </p:txBody>
        </p:sp>
      </p:grpSp>
      <p:sp>
        <p:nvSpPr>
          <p:cNvPr id="18" name="Rectangle 17">
            <a:extLst>
              <a:ext uri="{FF2B5EF4-FFF2-40B4-BE49-F238E27FC236}">
                <a16:creationId xmlns:a16="http://schemas.microsoft.com/office/drawing/2014/main" id="{0279911C-9EA8-AFD5-1190-67BE44AFA226}"/>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DE7D7BD3-8C6C-3C29-F081-62DC69667615}"/>
              </a:ext>
            </a:extLst>
          </p:cNvPr>
          <p:cNvGrpSpPr/>
          <p:nvPr/>
        </p:nvGrpSpPr>
        <p:grpSpPr>
          <a:xfrm>
            <a:off x="9347534" y="127448"/>
            <a:ext cx="2401514" cy="220690"/>
            <a:chOff x="9347534" y="127448"/>
            <a:chExt cx="2401514" cy="220690"/>
          </a:xfrm>
        </p:grpSpPr>
        <p:sp>
          <p:nvSpPr>
            <p:cNvPr id="19" name="Rectangle 18">
              <a:extLst>
                <a:ext uri="{FF2B5EF4-FFF2-40B4-BE49-F238E27FC236}">
                  <a16:creationId xmlns:a16="http://schemas.microsoft.com/office/drawing/2014/main" id="{6540BC75-6FF7-3EFB-611D-10057DCAFAEB}"/>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075F95DD-FA9C-61A9-E434-976417153EBE}"/>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21" name="Rectangle 20">
              <a:extLst>
                <a:ext uri="{FF2B5EF4-FFF2-40B4-BE49-F238E27FC236}">
                  <a16:creationId xmlns:a16="http://schemas.microsoft.com/office/drawing/2014/main" id="{1E6E76D9-CF47-F318-6E3F-3613BCFFD3C0}"/>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A27EAEDA-314E-6AEF-979C-51A76F268962}"/>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29" name="Rectangle 28">
              <a:extLst>
                <a:ext uri="{FF2B5EF4-FFF2-40B4-BE49-F238E27FC236}">
                  <a16:creationId xmlns:a16="http://schemas.microsoft.com/office/drawing/2014/main" id="{F481BF1B-B48D-C6A9-C64A-51138A41491A}"/>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7D599F04-D05B-EA89-4ACC-3BF4BCEFA7B7}"/>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2668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pPr rtl="0"/>
            <a:r>
              <a:rPr lang="en-GB" dirty="0"/>
              <a:t>Depending on the </a:t>
            </a:r>
            <a:r>
              <a:rPr lang="lv-LV" dirty="0"/>
              <a:t>T</a:t>
            </a:r>
            <a:r>
              <a:rPr lang="en-GB" dirty="0" err="1"/>
              <a:t>ype</a:t>
            </a:r>
            <a:r>
              <a:rPr lang="en-GB" dirty="0"/>
              <a:t>, </a:t>
            </a:r>
            <a:r>
              <a:rPr lang="lv-LV" dirty="0"/>
              <a:t>I</a:t>
            </a:r>
            <a:r>
              <a:rPr lang="en-GB" dirty="0" err="1"/>
              <a:t>ntensity</a:t>
            </a:r>
            <a:r>
              <a:rPr lang="en-GB" dirty="0"/>
              <a:t> and </a:t>
            </a:r>
            <a:r>
              <a:rPr lang="lv-LV" dirty="0"/>
              <a:t>N</a:t>
            </a:r>
            <a:r>
              <a:rPr lang="en-GB" dirty="0" err="1"/>
              <a:t>ature</a:t>
            </a:r>
            <a:r>
              <a:rPr lang="en-GB" dirty="0"/>
              <a:t> of </a:t>
            </a:r>
            <a:r>
              <a:rPr lang="lv-LV" dirty="0"/>
              <a:t>T</a:t>
            </a:r>
            <a:r>
              <a:rPr lang="en-GB" dirty="0" err="1"/>
              <a:t>hreat</a:t>
            </a:r>
            <a:r>
              <a:rPr lang="en-GB" dirty="0"/>
              <a:t> to </a:t>
            </a:r>
            <a:r>
              <a:rPr lang="lv-LV" dirty="0"/>
              <a:t>N</a:t>
            </a:r>
            <a:r>
              <a:rPr lang="en-GB" dirty="0" err="1"/>
              <a:t>ational</a:t>
            </a:r>
            <a:r>
              <a:rPr lang="en-GB" dirty="0"/>
              <a:t> </a:t>
            </a:r>
            <a:r>
              <a:rPr lang="lv-LV" dirty="0"/>
              <a:t>S</a:t>
            </a:r>
            <a:r>
              <a:rPr lang="en-GB" dirty="0" err="1"/>
              <a:t>ecurity</a:t>
            </a:r>
            <a:r>
              <a:rPr lang="en-GB" dirty="0"/>
              <a:t> the Cabinet may </a:t>
            </a:r>
            <a:r>
              <a:rPr lang="lv-LV" dirty="0"/>
              <a:t>D</a:t>
            </a:r>
            <a:r>
              <a:rPr lang="en-GB" dirty="0" err="1"/>
              <a:t>etermine</a:t>
            </a:r>
            <a:r>
              <a:rPr lang="en-GB" dirty="0"/>
              <a:t>: </a:t>
            </a:r>
            <a:br>
              <a:rPr lang="en-GB" dirty="0"/>
            </a:br>
            <a:r>
              <a:rPr lang="en-GB" dirty="0"/>
              <a:t>(1/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b="1">
                <a:solidFill>
                  <a:schemeClr val="tx1"/>
                </a:solidFill>
              </a:rPr>
              <a:t>Restrictions for movement</a:t>
            </a:r>
            <a:r>
              <a:rPr lang="en-GB" sz="1200">
                <a:solidFill>
                  <a:schemeClr val="tx1"/>
                </a:solidFill>
              </a:rPr>
              <a:t>, including across national borders, </a:t>
            </a:r>
            <a:r>
              <a:rPr lang="en-GB" sz="1200" b="1">
                <a:solidFill>
                  <a:schemeClr val="tx1"/>
                </a:solidFill>
              </a:rPr>
              <a:t>location and residence</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7896"/>
            <a:ext cx="4772372" cy="49254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Special procedures or restrictions for the </a:t>
            </a:r>
            <a:r>
              <a:rPr lang="en-GB" sz="1200" b="1">
                <a:solidFill>
                  <a:schemeClr val="tx1"/>
                </a:solidFill>
              </a:rPr>
              <a:t>organisation of mass events </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7984"/>
            <a:ext cx="576000" cy="49254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351509"/>
            <a:ext cx="4772372" cy="6804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Restrictions on the control of </a:t>
            </a:r>
            <a:r>
              <a:rPr lang="en-GB" sz="1200" b="1">
                <a:solidFill>
                  <a:schemeClr val="tx1"/>
                </a:solidFill>
              </a:rPr>
              <a:t>hazardous substances, materials and weapons</a:t>
            </a:r>
            <a:r>
              <a:rPr lang="en-GB" sz="1200">
                <a:solidFill>
                  <a:schemeClr val="tx1"/>
                </a:solidFill>
              </a:rPr>
              <a:t>, and on </a:t>
            </a:r>
            <a:r>
              <a:rPr lang="en-GB" sz="1200" b="1">
                <a:solidFill>
                  <a:schemeClr val="tx1"/>
                </a:solidFill>
              </a:rPr>
              <a:t>the export of strategically important raw materials and goods</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351685"/>
            <a:ext cx="576000" cy="68066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3</a:t>
            </a:r>
          </a:p>
        </p:txBody>
      </p:sp>
      <p:sp>
        <p:nvSpPr>
          <p:cNvPr id="23" name="Rectangle 22">
            <a:extLst>
              <a:ext uri="{FF2B5EF4-FFF2-40B4-BE49-F238E27FC236}">
                <a16:creationId xmlns:a16="http://schemas.microsoft.com/office/drawing/2014/main" id="{B285B1A9-5FD7-D286-0263-BDDA47CD84FC}"/>
              </a:ext>
            </a:extLst>
          </p:cNvPr>
          <p:cNvSpPr/>
          <p:nvPr/>
        </p:nvSpPr>
        <p:spPr>
          <a:xfrm>
            <a:off x="1144242" y="4192995"/>
            <a:ext cx="4772372" cy="963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Prohibition on the </a:t>
            </a:r>
            <a:r>
              <a:rPr lang="en-GB" sz="1200" b="1">
                <a:solidFill>
                  <a:schemeClr val="tx1"/>
                </a:solidFill>
              </a:rPr>
              <a:t>suspension of employment or duties of officials and employees</a:t>
            </a:r>
            <a:r>
              <a:rPr lang="en-GB" sz="1200">
                <a:solidFill>
                  <a:schemeClr val="tx1"/>
                </a:solidFill>
              </a:rPr>
              <a:t> involved in the measures for overcoming the threat to national security, and to </a:t>
            </a:r>
            <a:r>
              <a:rPr lang="en-GB" sz="1200" b="1">
                <a:solidFill>
                  <a:schemeClr val="tx1"/>
                </a:solidFill>
              </a:rPr>
              <a:t>stop the operation of critical infrastructure or critical financial services</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193508"/>
            <a:ext cx="576000" cy="9639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4</a:t>
            </a:r>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040"/>
            <a:ext cx="4772372"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Rules on</a:t>
            </a:r>
            <a:r>
              <a:rPr lang="en-GB" sz="1200" b="1">
                <a:solidFill>
                  <a:schemeClr val="tx1"/>
                </a:solidFill>
              </a:rPr>
              <a:t> public information, provision of operation of mass media and the circulation of information of State institutions</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5</a:t>
            </a:r>
          </a:p>
        </p:txBody>
      </p:sp>
      <p:sp>
        <p:nvSpPr>
          <p:cNvPr id="56" name="Rectangle 55">
            <a:extLst>
              <a:ext uri="{FF2B5EF4-FFF2-40B4-BE49-F238E27FC236}">
                <a16:creationId xmlns:a16="http://schemas.microsoft.com/office/drawing/2014/main" id="{7AEA07A3-0C18-A843-A268-AC0CB6F31980}"/>
              </a:ext>
            </a:extLst>
          </p:cNvPr>
          <p:cNvSpPr/>
          <p:nvPr/>
        </p:nvSpPr>
        <p:spPr>
          <a:xfrm>
            <a:off x="6977063" y="1820863"/>
            <a:ext cx="4772025"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Special procedures for </a:t>
            </a:r>
            <a:r>
              <a:rPr lang="en-GB" sz="1200" b="1">
                <a:solidFill>
                  <a:schemeClr val="tx1"/>
                </a:solidFill>
              </a:rPr>
              <a:t>access to goods, energy resources, services and other material and technical resources</a:t>
            </a:r>
          </a:p>
        </p:txBody>
      </p:sp>
      <p:sp>
        <p:nvSpPr>
          <p:cNvPr id="61" name="Rectangle 60">
            <a:extLst>
              <a:ext uri="{FF2B5EF4-FFF2-40B4-BE49-F238E27FC236}">
                <a16:creationId xmlns:a16="http://schemas.microsoft.com/office/drawing/2014/main" id="{57317571-1017-A381-336C-D567569D729C}"/>
              </a:ext>
            </a:extLst>
          </p:cNvPr>
          <p:cNvSpPr/>
          <p:nvPr/>
        </p:nvSpPr>
        <p:spPr>
          <a:xfrm>
            <a:off x="6275388" y="1820863"/>
            <a:ext cx="576000" cy="71596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6</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2691659"/>
            <a:ext cx="4772025" cy="83056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Reinforced </a:t>
            </a:r>
            <a:r>
              <a:rPr lang="en-GB" sz="1200" b="1">
                <a:solidFill>
                  <a:schemeClr val="tx1"/>
                </a:solidFill>
              </a:rPr>
              <a:t>safeguarding measures of the public order and guarding of individual objects, as well as involving of inhabitants in voluntary work</a:t>
            </a:r>
          </a:p>
        </p:txBody>
      </p:sp>
      <p:sp>
        <p:nvSpPr>
          <p:cNvPr id="64" name="Rectangle 63">
            <a:extLst>
              <a:ext uri="{FF2B5EF4-FFF2-40B4-BE49-F238E27FC236}">
                <a16:creationId xmlns:a16="http://schemas.microsoft.com/office/drawing/2014/main" id="{5FF56CE1-3337-0CBD-A7C2-65C83CA6DA2E}"/>
              </a:ext>
            </a:extLst>
          </p:cNvPr>
          <p:cNvSpPr/>
          <p:nvPr/>
        </p:nvSpPr>
        <p:spPr>
          <a:xfrm>
            <a:off x="6275388" y="2691660"/>
            <a:ext cx="576000" cy="83056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7</a:t>
            </a:r>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en-GB" smtClean="0"/>
              <a:pPr rtl="0"/>
              <a:t>29</a:t>
            </a:fld>
            <a:endParaRPr lang="en-GB"/>
          </a:p>
        </p:txBody>
      </p:sp>
      <p:sp>
        <p:nvSpPr>
          <p:cNvPr id="13" name="Rectangle 12">
            <a:extLst>
              <a:ext uri="{FF2B5EF4-FFF2-40B4-BE49-F238E27FC236}">
                <a16:creationId xmlns:a16="http://schemas.microsoft.com/office/drawing/2014/main" id="{2FCB9AE2-6ABC-1153-E4E3-060E6F1E3AAF}"/>
              </a:ext>
            </a:extLst>
          </p:cNvPr>
          <p:cNvSpPr/>
          <p:nvPr/>
        </p:nvSpPr>
        <p:spPr>
          <a:xfrm>
            <a:off x="6977063" y="3677061"/>
            <a:ext cx="4772025" cy="7960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The </a:t>
            </a:r>
            <a:r>
              <a:rPr lang="en-GB" sz="1200" b="1">
                <a:solidFill>
                  <a:schemeClr val="tx1"/>
                </a:solidFill>
              </a:rPr>
              <a:t>operation mode </a:t>
            </a:r>
            <a:r>
              <a:rPr lang="en-GB" sz="1200">
                <a:solidFill>
                  <a:schemeClr val="tx1"/>
                </a:solidFill>
              </a:rPr>
              <a:t>of State authorities</a:t>
            </a:r>
            <a:r>
              <a:rPr lang="lv-LV" sz="1200">
                <a:solidFill>
                  <a:schemeClr val="tx1"/>
                </a:solidFill>
              </a:rPr>
              <a:t>, </a:t>
            </a:r>
            <a:r>
              <a:rPr lang="en-GB" sz="1200">
                <a:solidFill>
                  <a:schemeClr val="tx1"/>
                </a:solidFill>
              </a:rPr>
              <a:t>and the provision of the State authorities and </a:t>
            </a:r>
            <a:r>
              <a:rPr lang="en-GB" sz="1200" b="1">
                <a:solidFill>
                  <a:schemeClr val="tx1"/>
                </a:solidFill>
              </a:rPr>
              <a:t>the units mobilised with energy resources </a:t>
            </a:r>
          </a:p>
        </p:txBody>
      </p:sp>
      <p:sp>
        <p:nvSpPr>
          <p:cNvPr id="16" name="Rectangle 15">
            <a:extLst>
              <a:ext uri="{FF2B5EF4-FFF2-40B4-BE49-F238E27FC236}">
                <a16:creationId xmlns:a16="http://schemas.microsoft.com/office/drawing/2014/main" id="{2643E0A1-87FF-2791-3660-8C7F224D3E0F}"/>
              </a:ext>
            </a:extLst>
          </p:cNvPr>
          <p:cNvSpPr/>
          <p:nvPr/>
        </p:nvSpPr>
        <p:spPr>
          <a:xfrm>
            <a:off x="6275388" y="3677063"/>
            <a:ext cx="576000" cy="79609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8</a:t>
            </a:r>
          </a:p>
        </p:txBody>
      </p:sp>
      <p:sp>
        <p:nvSpPr>
          <p:cNvPr id="28" name="Rectangle 27">
            <a:extLst>
              <a:ext uri="{FF2B5EF4-FFF2-40B4-BE49-F238E27FC236}">
                <a16:creationId xmlns:a16="http://schemas.microsoft.com/office/drawing/2014/main" id="{A8479FCA-91DD-67F0-9AFB-B095F10CA66F}"/>
              </a:ext>
            </a:extLst>
          </p:cNvPr>
          <p:cNvSpPr/>
          <p:nvPr/>
        </p:nvSpPr>
        <p:spPr>
          <a:xfrm>
            <a:off x="6977063" y="4627991"/>
            <a:ext cx="4772025" cy="8265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An authorisation for the Minister for Finance to </a:t>
            </a:r>
            <a:r>
              <a:rPr lang="en-GB" sz="1200" b="1">
                <a:solidFill>
                  <a:schemeClr val="tx1"/>
                </a:solidFill>
              </a:rPr>
              <a:t>change the appropriation laid down in the Law, ensure financial resources and performance of payments</a:t>
            </a:r>
            <a:r>
              <a:rPr lang="en-GB" sz="1200">
                <a:solidFill>
                  <a:schemeClr val="tx1"/>
                </a:solidFill>
              </a:rPr>
              <a:t>, in case of necessity, making a decision with the Prime Minister on appropriation changes</a:t>
            </a:r>
          </a:p>
        </p:txBody>
      </p:sp>
      <p:sp>
        <p:nvSpPr>
          <p:cNvPr id="29" name="Rectangle 28">
            <a:extLst>
              <a:ext uri="{FF2B5EF4-FFF2-40B4-BE49-F238E27FC236}">
                <a16:creationId xmlns:a16="http://schemas.microsoft.com/office/drawing/2014/main" id="{DA982DD2-60F8-7B32-275E-AD24B7F6D9B8}"/>
              </a:ext>
            </a:extLst>
          </p:cNvPr>
          <p:cNvSpPr/>
          <p:nvPr/>
        </p:nvSpPr>
        <p:spPr>
          <a:xfrm>
            <a:off x="6275388" y="4627993"/>
            <a:ext cx="576000" cy="8265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9</a:t>
            </a:r>
          </a:p>
        </p:txBody>
      </p:sp>
      <p:sp>
        <p:nvSpPr>
          <p:cNvPr id="69" name="Rectangle 68">
            <a:extLst>
              <a:ext uri="{FF2B5EF4-FFF2-40B4-BE49-F238E27FC236}">
                <a16:creationId xmlns:a16="http://schemas.microsoft.com/office/drawing/2014/main" id="{77BC55D2-854D-6882-B684-BAE9F3538AE5}"/>
              </a:ext>
            </a:extLst>
          </p:cNvPr>
          <p:cNvSpPr/>
          <p:nvPr/>
        </p:nvSpPr>
        <p:spPr>
          <a:xfrm>
            <a:off x="6977063" y="5609400"/>
            <a:ext cx="4772025" cy="5627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Special </a:t>
            </a:r>
            <a:r>
              <a:rPr lang="en-GB" sz="1200" b="1">
                <a:solidFill>
                  <a:schemeClr val="tx1"/>
                </a:solidFill>
              </a:rPr>
              <a:t>regulation for the remuneration </a:t>
            </a:r>
            <a:r>
              <a:rPr lang="en-GB" sz="1200">
                <a:solidFill>
                  <a:schemeClr val="tx1"/>
                </a:solidFill>
              </a:rPr>
              <a:t>for the officials and employees of the State institutions </a:t>
            </a:r>
          </a:p>
        </p:txBody>
      </p:sp>
      <p:sp>
        <p:nvSpPr>
          <p:cNvPr id="73" name="Rectangle 72">
            <a:extLst>
              <a:ext uri="{FF2B5EF4-FFF2-40B4-BE49-F238E27FC236}">
                <a16:creationId xmlns:a16="http://schemas.microsoft.com/office/drawing/2014/main" id="{A5EFBFB2-518C-14CB-52B4-CCC2FBCEC9B5}"/>
              </a:ext>
            </a:extLst>
          </p:cNvPr>
          <p:cNvSpPr/>
          <p:nvPr/>
        </p:nvSpPr>
        <p:spPr>
          <a:xfrm>
            <a:off x="6275388" y="5609400"/>
            <a:ext cx="576000" cy="56271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0</a:t>
            </a:r>
          </a:p>
        </p:txBody>
      </p:sp>
      <p:sp>
        <p:nvSpPr>
          <p:cNvPr id="11" name="Rectangle 10">
            <a:extLst>
              <a:ext uri="{FF2B5EF4-FFF2-40B4-BE49-F238E27FC236}">
                <a16:creationId xmlns:a16="http://schemas.microsoft.com/office/drawing/2014/main" id="{9BDE25C1-5C0F-02C7-B9C5-218660525B36}"/>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31B84D6C-9B30-841E-AC70-A9457D422BE7}"/>
              </a:ext>
            </a:extLst>
          </p:cNvPr>
          <p:cNvGrpSpPr/>
          <p:nvPr/>
        </p:nvGrpSpPr>
        <p:grpSpPr>
          <a:xfrm>
            <a:off x="9347534" y="127448"/>
            <a:ext cx="2401514" cy="220690"/>
            <a:chOff x="9347534" y="127448"/>
            <a:chExt cx="2401514" cy="220690"/>
          </a:xfrm>
        </p:grpSpPr>
        <p:sp>
          <p:nvSpPr>
            <p:cNvPr id="12" name="Rectangle 11">
              <a:extLst>
                <a:ext uri="{FF2B5EF4-FFF2-40B4-BE49-F238E27FC236}">
                  <a16:creationId xmlns:a16="http://schemas.microsoft.com/office/drawing/2014/main" id="{15FDC97C-D638-92D9-AD68-2E46A3644755}"/>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F0A65A1F-E8D0-5730-6E72-F6FFC2566A90}"/>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5" name="Rectangle 14">
              <a:extLst>
                <a:ext uri="{FF2B5EF4-FFF2-40B4-BE49-F238E27FC236}">
                  <a16:creationId xmlns:a16="http://schemas.microsoft.com/office/drawing/2014/main" id="{AC2162F6-FAA5-AF58-22B9-96285E0171F9}"/>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B52B13BE-EC74-7D1A-CC85-444AB84DFCF8}"/>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20" name="Rectangle 19">
              <a:extLst>
                <a:ext uri="{FF2B5EF4-FFF2-40B4-BE49-F238E27FC236}">
                  <a16:creationId xmlns:a16="http://schemas.microsoft.com/office/drawing/2014/main" id="{B7B9FD5B-B44E-760F-4D56-5A44F7C3BEE8}"/>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BB8209BB-91D2-4916-A4D9-B29C53529057}"/>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6" name="Rectangle 25">
            <a:extLst>
              <a:ext uri="{FF2B5EF4-FFF2-40B4-BE49-F238E27FC236}">
                <a16:creationId xmlns:a16="http://schemas.microsoft.com/office/drawing/2014/main" id="{63A28258-EFFA-C4A1-1F75-24C0E03553D9}"/>
              </a:ext>
            </a:extLst>
          </p:cNvPr>
          <p:cNvSpPr/>
          <p:nvPr/>
        </p:nvSpPr>
        <p:spPr>
          <a:xfrm>
            <a:off x="442912" y="6341400"/>
            <a:ext cx="3373714"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7" name="Freeform 50">
            <a:extLst>
              <a:ext uri="{FF2B5EF4-FFF2-40B4-BE49-F238E27FC236}">
                <a16:creationId xmlns:a16="http://schemas.microsoft.com/office/drawing/2014/main" id="{65E4C235-9070-DCDB-4F52-32CB7FE60EBC}"/>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a:p>
        </p:txBody>
      </p:sp>
      <p:sp>
        <p:nvSpPr>
          <p:cNvPr id="30" name="Google Shape;2685;p25">
            <a:extLst>
              <a:ext uri="{FF2B5EF4-FFF2-40B4-BE49-F238E27FC236}">
                <a16:creationId xmlns:a16="http://schemas.microsoft.com/office/drawing/2014/main" id="{8D962113-5767-BC1F-1204-A71C9A6F057A}"/>
              </a:ext>
            </a:extLst>
          </p:cNvPr>
          <p:cNvSpPr txBox="1"/>
          <p:nvPr/>
        </p:nvSpPr>
        <p:spPr>
          <a:xfrm>
            <a:off x="950594" y="6444456"/>
            <a:ext cx="2770615" cy="153888"/>
          </a:xfrm>
          <a:prstGeom prst="rect">
            <a:avLst/>
          </a:prstGeom>
          <a:noFill/>
          <a:ln>
            <a:noFill/>
          </a:ln>
        </p:spPr>
        <p:txBody>
          <a:bodyPr spcFirstLastPara="1" wrap="square" lIns="0" tIns="0" rIns="72000" bIns="0" rtlCol="0" anchor="ctr" anchorCtr="0">
            <a:spAutoFit/>
          </a:bodyPr>
          <a:lstStyle/>
          <a:p>
            <a:pPr rtl="0"/>
            <a:r>
              <a:rPr lang="en-US" sz="1000" i="0" dirty="0">
                <a:effectLst/>
                <a:latin typeface="Arial" panose="020B0604020202020204" pitchFamily="34" charset="0"/>
                <a:hlinkClick r:id="rId3">
                  <a:extLst>
                    <a:ext uri="{A12FA001-AC4F-418D-AE19-62706E023703}">
                      <ahyp:hlinkClr xmlns:ahyp="http://schemas.microsoft.com/office/drawing/2018/hyperlinkcolor" val="tx"/>
                    </a:ext>
                  </a:extLst>
                </a:hlinkClick>
              </a:rPr>
              <a:t>On Emergency Situation and State of Exception</a:t>
            </a:r>
            <a:endParaRPr lang="en-GB" sz="1000" dirty="0"/>
          </a:p>
        </p:txBody>
      </p:sp>
    </p:spTree>
    <p:extLst>
      <p:ext uri="{BB962C8B-B14F-4D97-AF65-F5344CB8AC3E}">
        <p14:creationId xmlns:p14="http://schemas.microsoft.com/office/powerpoint/2010/main" val="2494049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dirty="0"/>
              <a:t>Table of </a:t>
            </a:r>
            <a:r>
              <a:rPr lang="lv-LV" dirty="0"/>
              <a:t>C</a:t>
            </a:r>
            <a:r>
              <a:rPr lang="en-gb" dirty="0" err="1"/>
              <a:t>ontents</a:t>
            </a:r>
            <a:endParaRPr lang="en-gb" dirty="0"/>
          </a:p>
        </p:txBody>
      </p:sp>
      <p:sp>
        <p:nvSpPr>
          <p:cNvPr id="14" name="Rectangle 13">
            <a:extLst>
              <a:ext uri="{FF2B5EF4-FFF2-40B4-BE49-F238E27FC236}">
                <a16:creationId xmlns:a16="http://schemas.microsoft.com/office/drawing/2014/main" id="{59636C67-B850-5B1A-8125-2D4FF2708A42}"/>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lv-LV" smtClean="0"/>
              <a:pPr rtl="0"/>
              <a:t>3</a:t>
            </a:fld>
            <a:endParaRPr lang="lv-LV"/>
          </a:p>
        </p:txBody>
      </p:sp>
      <p:sp>
        <p:nvSpPr>
          <p:cNvPr id="12" name="Freeform 106">
            <a:extLst>
              <a:ext uri="{FF2B5EF4-FFF2-40B4-BE49-F238E27FC236}">
                <a16:creationId xmlns:a16="http://schemas.microsoft.com/office/drawing/2014/main" id="{15CA2F5B-A3B7-ED25-E1DA-6A0E2C10A241}"/>
              </a:ext>
            </a:extLst>
          </p:cNvPr>
          <p:cNvSpPr/>
          <p:nvPr/>
        </p:nvSpPr>
        <p:spPr>
          <a:xfrm>
            <a:off x="519578"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3" name="TextBox 2">
            <a:extLst>
              <a:ext uri="{FF2B5EF4-FFF2-40B4-BE49-F238E27FC236}">
                <a16:creationId xmlns:a16="http://schemas.microsoft.com/office/drawing/2014/main" id="{6A355E03-E3D4-57E7-8E5C-EA6D87D67D07}"/>
              </a:ext>
            </a:extLst>
          </p:cNvPr>
          <p:cNvSpPr txBox="1"/>
          <p:nvPr/>
        </p:nvSpPr>
        <p:spPr>
          <a:xfrm>
            <a:off x="442912" y="1819275"/>
            <a:ext cx="11306174" cy="287823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400" dirty="0">
                <a:cs typeface="Arial"/>
              </a:rPr>
              <a:t>2.1. Structure and </a:t>
            </a:r>
            <a:r>
              <a:rPr lang="lv-LV" sz="1400" dirty="0">
                <a:cs typeface="Arial"/>
              </a:rPr>
              <a:t>R</a:t>
            </a:r>
            <a:r>
              <a:rPr lang="en-gb" sz="1400" dirty="0">
                <a:cs typeface="Arial"/>
              </a:rPr>
              <a:t>ole of </a:t>
            </a:r>
            <a:r>
              <a:rPr lang="en-US" sz="1400" dirty="0">
                <a:cs typeface="Arial"/>
              </a:rPr>
              <a:t>the </a:t>
            </a:r>
            <a:r>
              <a:rPr lang="lv-LV" sz="1400" dirty="0">
                <a:cs typeface="Arial"/>
              </a:rPr>
              <a:t>S</a:t>
            </a:r>
            <a:r>
              <a:rPr lang="en-US" sz="1400" dirty="0" err="1">
                <a:cs typeface="Arial"/>
              </a:rPr>
              <a:t>ystem</a:t>
            </a:r>
            <a:r>
              <a:rPr lang="en-US" sz="1400" dirty="0">
                <a:cs typeface="Arial"/>
              </a:rPr>
              <a:t> of </a:t>
            </a:r>
            <a:r>
              <a:rPr lang="lv-LV" sz="1400" dirty="0">
                <a:cs typeface="Arial"/>
              </a:rPr>
              <a:t>C</a:t>
            </a:r>
            <a:r>
              <a:rPr lang="en-US" sz="1400" dirty="0" err="1">
                <a:cs typeface="Arial"/>
              </a:rPr>
              <a:t>ivil</a:t>
            </a:r>
            <a:r>
              <a:rPr lang="en-US" sz="1400" dirty="0">
                <a:cs typeface="Arial"/>
              </a:rPr>
              <a:t> </a:t>
            </a:r>
            <a:r>
              <a:rPr lang="lv-LV" sz="1400" dirty="0">
                <a:cs typeface="Arial"/>
              </a:rPr>
              <a:t>P</a:t>
            </a:r>
            <a:r>
              <a:rPr lang="en-US" sz="1400" dirty="0" err="1">
                <a:cs typeface="Arial"/>
              </a:rPr>
              <a:t>rotection</a:t>
            </a:r>
            <a:r>
              <a:rPr lang="lv-LV" sz="1400" dirty="0">
                <a:cs typeface="Arial"/>
              </a:rPr>
              <a:t> </a:t>
            </a:r>
            <a:r>
              <a:rPr lang="en-gb" sz="1400" dirty="0">
                <a:cs typeface="Arial"/>
              </a:rPr>
              <a:t>in the </a:t>
            </a:r>
            <a:r>
              <a:rPr lang="lv-LV" sz="1400" dirty="0">
                <a:cs typeface="Arial"/>
              </a:rPr>
              <a:t>N</a:t>
            </a:r>
            <a:r>
              <a:rPr lang="en-gb" sz="1400" dirty="0" err="1">
                <a:cs typeface="Arial"/>
              </a:rPr>
              <a:t>ational</a:t>
            </a:r>
            <a:r>
              <a:rPr lang="en-gb" sz="1400" dirty="0">
                <a:cs typeface="Arial"/>
              </a:rPr>
              <a:t> </a:t>
            </a:r>
            <a:r>
              <a:rPr lang="lv-LV" sz="1400" dirty="0">
                <a:cs typeface="Arial"/>
              </a:rPr>
              <a:t>S</a:t>
            </a:r>
            <a:r>
              <a:rPr lang="en-gb" sz="1400" dirty="0" err="1">
                <a:cs typeface="Arial"/>
              </a:rPr>
              <a:t>ecurity</a:t>
            </a:r>
            <a:r>
              <a:rPr lang="en-gb" sz="1400" dirty="0">
                <a:cs typeface="Arial"/>
              </a:rPr>
              <a:t> </a:t>
            </a:r>
            <a:r>
              <a:rPr lang="lv-LV" sz="1400" dirty="0">
                <a:cs typeface="Arial"/>
              </a:rPr>
              <a:t>S</a:t>
            </a:r>
            <a:r>
              <a:rPr lang="en-gb" sz="1400" dirty="0" err="1">
                <a:cs typeface="Arial"/>
              </a:rPr>
              <a:t>ystem</a:t>
            </a:r>
            <a:endParaRPr lang="en-gb" sz="1400" dirty="0">
              <a:cs typeface="Arial"/>
            </a:endParaRPr>
          </a:p>
          <a:p>
            <a:pPr rtl="0">
              <a:spcAft>
                <a:spcPts val="600"/>
              </a:spcAft>
            </a:pPr>
            <a:r>
              <a:rPr lang="en-gb" sz="1400" dirty="0">
                <a:cs typeface="Arial"/>
              </a:rPr>
              <a:t>2.2. The </a:t>
            </a:r>
            <a:r>
              <a:rPr lang="lv-LV" sz="1400" dirty="0">
                <a:cs typeface="Arial"/>
              </a:rPr>
              <a:t>L</a:t>
            </a:r>
            <a:r>
              <a:rPr lang="en-gb" sz="1400" dirty="0">
                <a:cs typeface="Arial"/>
              </a:rPr>
              <a:t>egal </a:t>
            </a:r>
            <a:r>
              <a:rPr lang="lv-LV" sz="1400" dirty="0">
                <a:cs typeface="Arial"/>
              </a:rPr>
              <a:t>F</a:t>
            </a:r>
            <a:r>
              <a:rPr lang="en-gb" sz="1400" dirty="0" err="1">
                <a:cs typeface="Arial"/>
              </a:rPr>
              <a:t>ramework</a:t>
            </a:r>
            <a:r>
              <a:rPr lang="en-gb" sz="1400" dirty="0">
                <a:cs typeface="Arial"/>
              </a:rPr>
              <a:t> for </a:t>
            </a:r>
            <a:r>
              <a:rPr lang="lv-LV" sz="1400" dirty="0">
                <a:cs typeface="Arial"/>
              </a:rPr>
              <a:t>E</a:t>
            </a:r>
            <a:r>
              <a:rPr lang="en-GB" sz="1400" dirty="0" err="1">
                <a:cs typeface="Arial"/>
              </a:rPr>
              <a:t>nsuring</a:t>
            </a:r>
            <a:r>
              <a:rPr lang="en-GB" sz="1400" dirty="0">
                <a:cs typeface="Arial"/>
              </a:rPr>
              <a:t> the </a:t>
            </a:r>
            <a:r>
              <a:rPr lang="lv-LV" sz="1400" dirty="0">
                <a:cs typeface="Arial"/>
              </a:rPr>
              <a:t>O</a:t>
            </a:r>
            <a:r>
              <a:rPr lang="en-GB" sz="1400" dirty="0" err="1">
                <a:cs typeface="Arial"/>
              </a:rPr>
              <a:t>peration</a:t>
            </a:r>
            <a:r>
              <a:rPr lang="lv-LV" sz="1400" dirty="0">
                <a:cs typeface="Arial"/>
              </a:rPr>
              <a:t> </a:t>
            </a:r>
            <a:r>
              <a:rPr lang="lv-LV" sz="1400" dirty="0" err="1">
                <a:cs typeface="Arial"/>
              </a:rPr>
              <a:t>of</a:t>
            </a:r>
            <a:r>
              <a:rPr lang="lv-LV" sz="1400" dirty="0">
                <a:cs typeface="Arial"/>
              </a:rPr>
              <a:t> </a:t>
            </a:r>
            <a:r>
              <a:rPr lang="lv-LV" sz="1400" dirty="0" err="1">
                <a:cs typeface="Arial"/>
              </a:rPr>
              <a:t>the</a:t>
            </a:r>
            <a:r>
              <a:rPr lang="lv-LV" sz="1400" dirty="0">
                <a:cs typeface="Arial"/>
              </a:rPr>
              <a:t> </a:t>
            </a:r>
            <a:r>
              <a:rPr lang="lv-LV" sz="1400" dirty="0" err="1">
                <a:cs typeface="Arial"/>
              </a:rPr>
              <a:t>System</a:t>
            </a:r>
            <a:r>
              <a:rPr lang="lv-LV" sz="1400" dirty="0">
                <a:cs typeface="Arial"/>
              </a:rPr>
              <a:t> </a:t>
            </a:r>
            <a:r>
              <a:rPr lang="lv-LV" sz="1400" dirty="0" err="1">
                <a:cs typeface="Arial"/>
              </a:rPr>
              <a:t>of</a:t>
            </a:r>
            <a:r>
              <a:rPr lang="lv-LV" sz="1400" dirty="0">
                <a:cs typeface="Arial"/>
              </a:rPr>
              <a:t> </a:t>
            </a:r>
            <a:r>
              <a:rPr lang="lv-LV" sz="1400" dirty="0" err="1">
                <a:cs typeface="Arial"/>
              </a:rPr>
              <a:t>Civil</a:t>
            </a:r>
            <a:r>
              <a:rPr lang="lv-LV" sz="1400" dirty="0">
                <a:cs typeface="Arial"/>
              </a:rPr>
              <a:t> </a:t>
            </a:r>
            <a:r>
              <a:rPr lang="lv-LV" sz="1400" dirty="0" err="1">
                <a:cs typeface="Arial"/>
              </a:rPr>
              <a:t>Protection</a:t>
            </a:r>
            <a:r>
              <a:rPr lang="lv-LV" sz="1400" dirty="0">
                <a:cs typeface="Arial"/>
              </a:rPr>
              <a:t> </a:t>
            </a:r>
          </a:p>
          <a:p>
            <a:pPr rtl="0">
              <a:spcAft>
                <a:spcPts val="600"/>
              </a:spcAft>
            </a:pPr>
            <a:r>
              <a:rPr lang="en-gb" sz="1400" dirty="0">
                <a:cs typeface="Arial"/>
              </a:rPr>
              <a:t>2.3. Organisation and </a:t>
            </a:r>
            <a:r>
              <a:rPr lang="lv-LV" sz="1400" dirty="0">
                <a:cs typeface="Arial"/>
              </a:rPr>
              <a:t>M</a:t>
            </a:r>
            <a:r>
              <a:rPr lang="en-gb" sz="1400" dirty="0" err="1">
                <a:cs typeface="Arial"/>
              </a:rPr>
              <a:t>anagement</a:t>
            </a:r>
            <a:r>
              <a:rPr lang="en-gb" sz="1400" dirty="0">
                <a:cs typeface="Arial"/>
              </a:rPr>
              <a:t> of </a:t>
            </a:r>
            <a:r>
              <a:rPr lang="en-US" sz="1400" dirty="0">
                <a:cs typeface="Arial"/>
              </a:rPr>
              <a:t>the </a:t>
            </a:r>
            <a:r>
              <a:rPr lang="lv-LV" sz="1400" dirty="0">
                <a:cs typeface="Arial"/>
              </a:rPr>
              <a:t>S</a:t>
            </a:r>
            <a:r>
              <a:rPr lang="en-US" sz="1400" dirty="0" err="1">
                <a:cs typeface="Arial"/>
              </a:rPr>
              <a:t>ystem</a:t>
            </a:r>
            <a:r>
              <a:rPr lang="en-US" sz="1400" dirty="0">
                <a:cs typeface="Arial"/>
              </a:rPr>
              <a:t> of </a:t>
            </a:r>
            <a:r>
              <a:rPr lang="lv-LV" sz="1400" dirty="0">
                <a:cs typeface="Arial"/>
              </a:rPr>
              <a:t>C</a:t>
            </a:r>
            <a:r>
              <a:rPr lang="en-US" sz="1400" dirty="0" err="1">
                <a:cs typeface="Arial"/>
              </a:rPr>
              <a:t>ivil</a:t>
            </a:r>
            <a:r>
              <a:rPr lang="en-US" sz="1400" dirty="0">
                <a:cs typeface="Arial"/>
              </a:rPr>
              <a:t> </a:t>
            </a:r>
            <a:r>
              <a:rPr lang="lv-LV" sz="1400" dirty="0">
                <a:cs typeface="Arial"/>
              </a:rPr>
              <a:t>P</a:t>
            </a:r>
            <a:r>
              <a:rPr lang="en-US" sz="1400" dirty="0" err="1">
                <a:cs typeface="Arial"/>
              </a:rPr>
              <a:t>rotection</a:t>
            </a:r>
            <a:r>
              <a:rPr lang="en-US" sz="1400" dirty="0">
                <a:cs typeface="Arial"/>
              </a:rPr>
              <a:t> </a:t>
            </a:r>
            <a:endParaRPr lang="lv-LV" sz="1400" dirty="0">
              <a:cs typeface="Arial"/>
            </a:endParaRPr>
          </a:p>
          <a:p>
            <a:pPr rtl="0">
              <a:spcAft>
                <a:spcPts val="600"/>
              </a:spcAft>
            </a:pPr>
            <a:r>
              <a:rPr lang="en-gb" sz="1400" dirty="0">
                <a:cs typeface="Arial"/>
              </a:rPr>
              <a:t>2.4. Civil </a:t>
            </a:r>
            <a:r>
              <a:rPr lang="lv-LV" sz="1400" dirty="0">
                <a:cs typeface="Arial"/>
              </a:rPr>
              <a:t>P</a:t>
            </a:r>
            <a:r>
              <a:rPr lang="en-gb" sz="1400" dirty="0" err="1">
                <a:cs typeface="Arial"/>
              </a:rPr>
              <a:t>rotection</a:t>
            </a:r>
            <a:r>
              <a:rPr lang="en-gb" sz="1400" dirty="0">
                <a:cs typeface="Arial"/>
              </a:rPr>
              <a:t> </a:t>
            </a:r>
            <a:r>
              <a:rPr lang="lv-LV" sz="1400" dirty="0" err="1">
                <a:cs typeface="Arial"/>
              </a:rPr>
              <a:t>Measure</a:t>
            </a:r>
            <a:r>
              <a:rPr lang="lv-LV" sz="1400" dirty="0">
                <a:cs typeface="Arial"/>
              </a:rPr>
              <a:t> P</a:t>
            </a:r>
            <a:r>
              <a:rPr lang="en-gb" sz="1400" dirty="0" err="1">
                <a:cs typeface="Arial"/>
              </a:rPr>
              <a:t>lanning</a:t>
            </a:r>
            <a:r>
              <a:rPr lang="en-gb" sz="1400" dirty="0">
                <a:cs typeface="Arial"/>
              </a:rPr>
              <a:t> </a:t>
            </a:r>
          </a:p>
          <a:p>
            <a:pPr rtl="0">
              <a:spcAft>
                <a:spcPts val="600"/>
              </a:spcAft>
            </a:pPr>
            <a:r>
              <a:rPr lang="en-gb" sz="1400" dirty="0">
                <a:cs typeface="Arial"/>
              </a:rPr>
              <a:t>2.5. Special </a:t>
            </a:r>
            <a:r>
              <a:rPr lang="lv-LV" sz="1400" dirty="0">
                <a:cs typeface="Arial"/>
              </a:rPr>
              <a:t>L</a:t>
            </a:r>
            <a:r>
              <a:rPr lang="en-gb" sz="1400" dirty="0">
                <a:cs typeface="Arial"/>
              </a:rPr>
              <a:t>egal </a:t>
            </a:r>
            <a:r>
              <a:rPr lang="lv-LV" sz="1400" dirty="0">
                <a:cs typeface="Arial"/>
              </a:rPr>
              <a:t>R</a:t>
            </a:r>
            <a:r>
              <a:rPr lang="en-gb" sz="1400" dirty="0" err="1">
                <a:cs typeface="Arial"/>
              </a:rPr>
              <a:t>egimes</a:t>
            </a:r>
            <a:r>
              <a:rPr lang="en-gb" sz="1400" dirty="0">
                <a:cs typeface="Arial"/>
              </a:rPr>
              <a:t> </a:t>
            </a:r>
            <a:endParaRPr lang="en-US" sz="1400" dirty="0">
              <a:cs typeface="Arial"/>
            </a:endParaRPr>
          </a:p>
        </p:txBody>
      </p:sp>
      <p:pic>
        <p:nvPicPr>
          <p:cNvPr id="9" name="Picture 8">
            <a:extLst>
              <a:ext uri="{FF2B5EF4-FFF2-40B4-BE49-F238E27FC236}">
                <a16:creationId xmlns:a16="http://schemas.microsoft.com/office/drawing/2014/main" id="{07AB9A9E-8F8D-8F87-4358-87E23AF3C102}"/>
              </a:ext>
            </a:extLst>
          </p:cNvPr>
          <p:cNvPicPr>
            <a:picLocks noChangeAspect="1"/>
          </p:cNvPicPr>
          <p:nvPr/>
        </p:nvPicPr>
        <p:blipFill rotWithShape="1">
          <a:blip r:embed="rId3"/>
          <a:srcRect l="56" t="33926" r="-56" b="50336"/>
          <a:stretch/>
        </p:blipFill>
        <p:spPr>
          <a:xfrm>
            <a:off x="442913" y="4985245"/>
            <a:ext cx="11312524" cy="1186955"/>
          </a:xfrm>
          <a:prstGeom prst="rect">
            <a:avLst/>
          </a:prstGeom>
        </p:spPr>
      </p:pic>
      <p:sp>
        <p:nvSpPr>
          <p:cNvPr id="4" name="Rectangle 3">
            <a:extLst>
              <a:ext uri="{FF2B5EF4-FFF2-40B4-BE49-F238E27FC236}">
                <a16:creationId xmlns:a16="http://schemas.microsoft.com/office/drawing/2014/main" id="{E3DC18C2-2997-9ABE-5ED0-6D8C4B0749E2}"/>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pPr rtl="0"/>
            <a:r>
              <a:rPr lang="en-GB" dirty="0"/>
              <a:t>Depending on the </a:t>
            </a:r>
            <a:r>
              <a:rPr lang="lv-LV" dirty="0"/>
              <a:t>T</a:t>
            </a:r>
            <a:r>
              <a:rPr lang="en-GB" dirty="0" err="1"/>
              <a:t>ype</a:t>
            </a:r>
            <a:r>
              <a:rPr lang="en-GB" dirty="0"/>
              <a:t>, </a:t>
            </a:r>
            <a:r>
              <a:rPr lang="lv-LV" dirty="0"/>
              <a:t>I</a:t>
            </a:r>
            <a:r>
              <a:rPr lang="en-GB" dirty="0" err="1"/>
              <a:t>ntensity</a:t>
            </a:r>
            <a:r>
              <a:rPr lang="en-GB" dirty="0"/>
              <a:t> and </a:t>
            </a:r>
            <a:r>
              <a:rPr lang="lv-LV" dirty="0"/>
              <a:t>N</a:t>
            </a:r>
            <a:r>
              <a:rPr lang="en-GB" dirty="0" err="1"/>
              <a:t>ature</a:t>
            </a:r>
            <a:r>
              <a:rPr lang="en-GB" dirty="0"/>
              <a:t> of </a:t>
            </a:r>
            <a:r>
              <a:rPr lang="lv-LV" dirty="0"/>
              <a:t>T</a:t>
            </a:r>
            <a:r>
              <a:rPr lang="en-GB" dirty="0" err="1"/>
              <a:t>hreat</a:t>
            </a:r>
            <a:r>
              <a:rPr lang="en-GB" dirty="0"/>
              <a:t> to </a:t>
            </a:r>
            <a:r>
              <a:rPr lang="lv-LV" dirty="0"/>
              <a:t>N</a:t>
            </a:r>
            <a:r>
              <a:rPr lang="en-GB" dirty="0" err="1"/>
              <a:t>ational</a:t>
            </a:r>
            <a:r>
              <a:rPr lang="en-GB" dirty="0"/>
              <a:t> </a:t>
            </a:r>
            <a:r>
              <a:rPr lang="lv-LV" dirty="0"/>
              <a:t>S</a:t>
            </a:r>
            <a:r>
              <a:rPr lang="en-GB" dirty="0" err="1"/>
              <a:t>ecurity</a:t>
            </a:r>
            <a:r>
              <a:rPr lang="en-GB" dirty="0"/>
              <a:t> the Cabinet may </a:t>
            </a:r>
            <a:r>
              <a:rPr lang="lv-LV" dirty="0"/>
              <a:t>D</a:t>
            </a:r>
            <a:r>
              <a:rPr lang="en-GB" dirty="0" err="1"/>
              <a:t>etermine</a:t>
            </a:r>
            <a:r>
              <a:rPr lang="en-GB" dirty="0"/>
              <a:t>: </a:t>
            </a:r>
            <a:br>
              <a:rPr lang="en-GB" dirty="0"/>
            </a:br>
            <a:r>
              <a:rPr lang="en-GB" dirty="0"/>
              <a:t>(2/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b="1">
                <a:solidFill>
                  <a:schemeClr val="tx1"/>
                </a:solidFill>
              </a:rPr>
              <a:t>Partial or complete suspending of carrying out of the liabilities </a:t>
            </a:r>
            <a:r>
              <a:rPr lang="en-GB" sz="1200">
                <a:solidFill>
                  <a:schemeClr val="tx1"/>
                </a:solidFill>
              </a:rPr>
              <a:t>laid down in international agreements, if their carrying out may have a negative impact on the capacity to prevent or overcome the threat to national security</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701556"/>
            <a:ext cx="4772372" cy="6406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The </a:t>
            </a:r>
            <a:r>
              <a:rPr lang="en-GB" sz="1200" b="1">
                <a:solidFill>
                  <a:schemeClr val="tx1"/>
                </a:solidFill>
              </a:rPr>
              <a:t>provision of aid functions of the host country </a:t>
            </a:r>
            <a:r>
              <a:rPr lang="en-GB" sz="1200">
                <a:solidFill>
                  <a:schemeClr val="tx1"/>
                </a:solidFill>
              </a:rPr>
              <a:t>in hosting armed forces of the NATO or the EU, </a:t>
            </a:r>
            <a:r>
              <a:rPr lang="lv-LV" sz="1200">
                <a:solidFill>
                  <a:schemeClr val="tx1"/>
                </a:solidFill>
              </a:rPr>
              <a:t>and </a:t>
            </a:r>
            <a:r>
              <a:rPr lang="en-GB" sz="1200">
                <a:solidFill>
                  <a:schemeClr val="tx1"/>
                </a:solidFill>
              </a:rPr>
              <a:t>non-application of laws to measures for provision of the aid necessary for national defence</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701599"/>
            <a:ext cx="576000" cy="6406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06901"/>
            <a:ext cx="4772372" cy="91096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An authorisation for the Minister for Foreign Affairs to propose for international organisations, the EU and NATO to take the decision on </a:t>
            </a:r>
            <a:r>
              <a:rPr lang="en-GB" sz="1200" b="1">
                <a:solidFill>
                  <a:schemeClr val="tx1"/>
                </a:solidFill>
              </a:rPr>
              <a:t>sanctions against external enemy or country </a:t>
            </a:r>
            <a:r>
              <a:rPr lang="en-GB" sz="1200">
                <a:solidFill>
                  <a:schemeClr val="tx1"/>
                </a:solidFill>
              </a:rPr>
              <a:t>which is responsible for causing the threat to national security, and also its natural and legal persons</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06987"/>
            <a:ext cx="576000" cy="91130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3</a:t>
            </a:r>
          </a:p>
        </p:txBody>
      </p:sp>
      <p:sp>
        <p:nvSpPr>
          <p:cNvPr id="23" name="Rectangle 22">
            <a:extLst>
              <a:ext uri="{FF2B5EF4-FFF2-40B4-BE49-F238E27FC236}">
                <a16:creationId xmlns:a16="http://schemas.microsoft.com/office/drawing/2014/main" id="{B285B1A9-5FD7-D286-0263-BDDA47CD84FC}"/>
              </a:ext>
            </a:extLst>
          </p:cNvPr>
          <p:cNvSpPr/>
          <p:nvPr/>
        </p:nvSpPr>
        <p:spPr>
          <a:xfrm>
            <a:off x="1144242" y="4582598"/>
            <a:ext cx="4772372" cy="70723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b="1">
                <a:solidFill>
                  <a:schemeClr val="tx1"/>
                </a:solidFill>
              </a:rPr>
              <a:t>Commencement of operation of courts martial</a:t>
            </a:r>
            <a:r>
              <a:rPr lang="en-GB" sz="1200">
                <a:solidFill>
                  <a:schemeClr val="tx1"/>
                </a:solidFill>
              </a:rPr>
              <a:t>, as well as special procedures and time periods for the performance of </a:t>
            </a:r>
            <a:r>
              <a:rPr lang="en-GB" sz="1200" b="1">
                <a:solidFill>
                  <a:schemeClr val="tx1"/>
                </a:solidFill>
              </a:rPr>
              <a:t>operational activities and criminal procedural actions</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583061"/>
            <a:ext cx="576000" cy="70723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4</a:t>
            </a:r>
          </a:p>
        </p:txBody>
      </p:sp>
      <p:sp>
        <p:nvSpPr>
          <p:cNvPr id="24" name="Rectangle 23">
            <a:extLst>
              <a:ext uri="{FF2B5EF4-FFF2-40B4-BE49-F238E27FC236}">
                <a16:creationId xmlns:a16="http://schemas.microsoft.com/office/drawing/2014/main" id="{85A647CD-F728-A196-CBAF-3E4BB87AD2EB}"/>
              </a:ext>
            </a:extLst>
          </p:cNvPr>
          <p:cNvSpPr/>
          <p:nvPr/>
        </p:nvSpPr>
        <p:spPr>
          <a:xfrm>
            <a:off x="1144242" y="5454564"/>
            <a:ext cx="4772372" cy="71755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200">
                <a:solidFill>
                  <a:schemeClr val="tx1"/>
                </a:solidFill>
              </a:rPr>
              <a:t>A special regulation for the </a:t>
            </a:r>
            <a:r>
              <a:rPr lang="en-GB" sz="1200" b="1">
                <a:solidFill>
                  <a:schemeClr val="tx1"/>
                </a:solidFill>
              </a:rPr>
              <a:t>performance of disbursements </a:t>
            </a:r>
            <a:r>
              <a:rPr lang="en-GB" sz="1200">
                <a:solidFill>
                  <a:schemeClr val="tx1"/>
                </a:solidFill>
              </a:rPr>
              <a:t>of pensions, benefits, and considerations, and also </a:t>
            </a:r>
            <a:r>
              <a:rPr lang="en-GB" sz="1200" b="1">
                <a:solidFill>
                  <a:schemeClr val="tx1"/>
                </a:solidFill>
              </a:rPr>
              <a:t>for ensuring social assistance</a:t>
            </a:r>
            <a:r>
              <a:rPr lang="en-GB" sz="1200">
                <a:solidFill>
                  <a:schemeClr val="tx1"/>
                </a:solidFill>
              </a:rPr>
              <a:t>, as well as special type and procedures for the payment of taxes and refund of overpaid taxes</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455069"/>
            <a:ext cx="576000" cy="71704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rtl="0">
              <a:lnSpc>
                <a:spcPct val="100000"/>
              </a:lnSpc>
            </a:pPr>
            <a:r>
              <a:rPr lang="en-GB" sz="2000" b="1"/>
              <a:t>15</a:t>
            </a:r>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rtl="0"/>
            <a:fld id="{81D60167-4931-47E6-BA6A-407CBD079E47}" type="slidenum">
              <a:rPr lang="en-GB" smtClean="0"/>
              <a:pPr rtl="0"/>
              <a:t>30</a:t>
            </a:fld>
            <a:endParaRPr lang="en-GB"/>
          </a:p>
        </p:txBody>
      </p:sp>
      <p:sp>
        <p:nvSpPr>
          <p:cNvPr id="2" name="Rectangle 1">
            <a:extLst>
              <a:ext uri="{FF2B5EF4-FFF2-40B4-BE49-F238E27FC236}">
                <a16:creationId xmlns:a16="http://schemas.microsoft.com/office/drawing/2014/main" id="{55F28B99-E68D-1546-7DDE-E49FDAF4A7EA}"/>
              </a:ext>
            </a:extLst>
          </p:cNvPr>
          <p:cNvSpPr/>
          <p:nvPr/>
        </p:nvSpPr>
        <p:spPr>
          <a:xfrm>
            <a:off x="6275389" y="1820863"/>
            <a:ext cx="5468564" cy="435125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endParaRPr lang="en-GB" sz="1200" b="1">
              <a:solidFill>
                <a:schemeClr val="tx1"/>
              </a:solidFill>
            </a:endParaRPr>
          </a:p>
        </p:txBody>
      </p:sp>
      <p:sp>
        <p:nvSpPr>
          <p:cNvPr id="25" name="Rectangle 24">
            <a:extLst>
              <a:ext uri="{FF2B5EF4-FFF2-40B4-BE49-F238E27FC236}">
                <a16:creationId xmlns:a16="http://schemas.microsoft.com/office/drawing/2014/main" id="{8263F4B8-DB9A-0390-0ECF-685526E04FB3}"/>
              </a:ext>
            </a:extLst>
          </p:cNvPr>
          <p:cNvSpPr/>
          <p:nvPr/>
        </p:nvSpPr>
        <p:spPr>
          <a:xfrm>
            <a:off x="442912" y="6341400"/>
            <a:ext cx="3373714"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Freeform 50">
            <a:extLst>
              <a:ext uri="{FF2B5EF4-FFF2-40B4-BE49-F238E27FC236}">
                <a16:creationId xmlns:a16="http://schemas.microsoft.com/office/drawing/2014/main" id="{1F1E8CAE-0601-F0E1-1011-65537AC625DE}"/>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GB" sz="983"/>
          </a:p>
        </p:txBody>
      </p:sp>
      <p:sp>
        <p:nvSpPr>
          <p:cNvPr id="27" name="Google Shape;2685;p25">
            <a:extLst>
              <a:ext uri="{FF2B5EF4-FFF2-40B4-BE49-F238E27FC236}">
                <a16:creationId xmlns:a16="http://schemas.microsoft.com/office/drawing/2014/main" id="{8D2DE23E-069C-E84C-3D1F-DC6A7ABF8E13}"/>
              </a:ext>
            </a:extLst>
          </p:cNvPr>
          <p:cNvSpPr txBox="1"/>
          <p:nvPr/>
        </p:nvSpPr>
        <p:spPr>
          <a:xfrm>
            <a:off x="950594" y="6444456"/>
            <a:ext cx="2770615" cy="153888"/>
          </a:xfrm>
          <a:prstGeom prst="rect">
            <a:avLst/>
          </a:prstGeom>
          <a:noFill/>
          <a:ln>
            <a:noFill/>
          </a:ln>
        </p:spPr>
        <p:txBody>
          <a:bodyPr spcFirstLastPara="1" wrap="square" lIns="0" tIns="0" rIns="72000" bIns="0" rtlCol="0" anchor="ctr" anchorCtr="0">
            <a:spAutoFit/>
          </a:bodyPr>
          <a:lstStyle/>
          <a:p>
            <a:pPr rtl="0"/>
            <a:r>
              <a:rPr lang="en-US" sz="1000" i="0" dirty="0">
                <a:effectLst/>
                <a:latin typeface="Arial" panose="020B0604020202020204" pitchFamily="34" charset="0"/>
                <a:hlinkClick r:id="rId4">
                  <a:extLst>
                    <a:ext uri="{A12FA001-AC4F-418D-AE19-62706E023703}">
                      <ahyp:hlinkClr xmlns:ahyp="http://schemas.microsoft.com/office/drawing/2018/hyperlinkcolor" val="tx"/>
                    </a:ext>
                  </a:extLst>
                </a:hlinkClick>
              </a:rPr>
              <a:t>On Emergency Situation and State of Exception</a:t>
            </a:r>
            <a:endParaRPr lang="en-GB" sz="1000" dirty="0"/>
          </a:p>
        </p:txBody>
      </p:sp>
      <p:sp>
        <p:nvSpPr>
          <p:cNvPr id="12" name="Rectangle 11">
            <a:extLst>
              <a:ext uri="{FF2B5EF4-FFF2-40B4-BE49-F238E27FC236}">
                <a16:creationId xmlns:a16="http://schemas.microsoft.com/office/drawing/2014/main" id="{121C3322-2CDE-FBBC-CAC7-EAC434258C95}"/>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3" name="Group 2">
            <a:extLst>
              <a:ext uri="{FF2B5EF4-FFF2-40B4-BE49-F238E27FC236}">
                <a16:creationId xmlns:a16="http://schemas.microsoft.com/office/drawing/2014/main" id="{55F35D32-EFA9-7F77-63E8-A64CAA7B9CC0}"/>
              </a:ext>
            </a:extLst>
          </p:cNvPr>
          <p:cNvGrpSpPr/>
          <p:nvPr/>
        </p:nvGrpSpPr>
        <p:grpSpPr>
          <a:xfrm>
            <a:off x="9347534" y="127448"/>
            <a:ext cx="2401514" cy="220690"/>
            <a:chOff x="9347534" y="127448"/>
            <a:chExt cx="2401514" cy="220690"/>
          </a:xfrm>
        </p:grpSpPr>
        <p:sp>
          <p:nvSpPr>
            <p:cNvPr id="13" name="Rectangle 12">
              <a:extLst>
                <a:ext uri="{FF2B5EF4-FFF2-40B4-BE49-F238E27FC236}">
                  <a16:creationId xmlns:a16="http://schemas.microsoft.com/office/drawing/2014/main" id="{8C6C3D3C-2812-B499-6F0C-DF6DB67E3A9F}"/>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5E9711FA-3C54-B156-2D2F-6BBF2202D092}"/>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5" name="Rectangle 14">
              <a:extLst>
                <a:ext uri="{FF2B5EF4-FFF2-40B4-BE49-F238E27FC236}">
                  <a16:creationId xmlns:a16="http://schemas.microsoft.com/office/drawing/2014/main" id="{70F3A529-B9C2-E566-2ECD-E11468AAFE0F}"/>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C5189704-03E5-66C0-508A-B51C1784BCBF}"/>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17" name="Rectangle 16">
              <a:extLst>
                <a:ext uri="{FF2B5EF4-FFF2-40B4-BE49-F238E27FC236}">
                  <a16:creationId xmlns:a16="http://schemas.microsoft.com/office/drawing/2014/main" id="{70BE4181-A681-AEB2-ED49-51110BBD2C56}"/>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FC236838-809D-A7F5-5F84-87E19152CA19}"/>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225792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87EF67C0-7330-616E-8FCD-B17893860951}"/>
              </a:ext>
            </a:extLst>
          </p:cNvPr>
          <p:cNvGraphicFramePr>
            <a:graphicFrameLocks noChangeAspect="1"/>
          </p:cNvGraphicFramePr>
          <p:nvPr>
            <p:custDataLst>
              <p:tags r:id="rId1"/>
            </p:custDataLst>
            <p:extLst>
              <p:ext uri="{D42A27DB-BD31-4B8C-83A1-F6EECF244321}">
                <p14:modId xmlns:p14="http://schemas.microsoft.com/office/powerpoint/2010/main" val="2518759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6" name="think-cell data - do not delete" hidden="1">
                        <a:extLst>
                          <a:ext uri="{FF2B5EF4-FFF2-40B4-BE49-F238E27FC236}">
                            <a16:creationId xmlns:a16="http://schemas.microsoft.com/office/drawing/2014/main" id="{87EF67C0-7330-616E-8FCD-B178938609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9" name="Straight Connector 28">
            <a:extLst>
              <a:ext uri="{FF2B5EF4-FFF2-40B4-BE49-F238E27FC236}">
                <a16:creationId xmlns:a16="http://schemas.microsoft.com/office/drawing/2014/main" id="{605453FF-65C6-B8C2-3CA2-CA5F5E13A29C}"/>
              </a:ext>
            </a:extLst>
          </p:cNvPr>
          <p:cNvCxnSpPr>
            <a:cxnSpLocks/>
          </p:cNvCxnSpPr>
          <p:nvPr/>
        </p:nvCxnSpPr>
        <p:spPr>
          <a:xfrm>
            <a:off x="442913" y="3914286"/>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Straight Connector 30">
            <a:extLst>
              <a:ext uri="{FF2B5EF4-FFF2-40B4-BE49-F238E27FC236}">
                <a16:creationId xmlns:a16="http://schemas.microsoft.com/office/drawing/2014/main" id="{E77C4D18-AC05-FF4F-948B-D8BFF9D05621}"/>
              </a:ext>
            </a:extLst>
          </p:cNvPr>
          <p:cNvCxnSpPr>
            <a:cxnSpLocks/>
          </p:cNvCxnSpPr>
          <p:nvPr/>
        </p:nvCxnSpPr>
        <p:spPr>
          <a:xfrm>
            <a:off x="442913" y="3071327"/>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B671A0D1-39AE-0EBE-61C1-EA92162060F3}"/>
              </a:ext>
            </a:extLst>
          </p:cNvPr>
          <p:cNvCxnSpPr>
            <a:cxnSpLocks/>
          </p:cNvCxnSpPr>
          <p:nvPr/>
        </p:nvCxnSpPr>
        <p:spPr>
          <a:xfrm flipV="1">
            <a:off x="442913" y="3467223"/>
            <a:ext cx="4338317" cy="25584"/>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7D5E653D-1CB6-B545-AECA-B6524FA9ED2E}"/>
              </a:ext>
            </a:extLst>
          </p:cNvPr>
          <p:cNvCxnSpPr>
            <a:cxnSpLocks/>
          </p:cNvCxnSpPr>
          <p:nvPr/>
        </p:nvCxnSpPr>
        <p:spPr>
          <a:xfrm>
            <a:off x="442913" y="2649848"/>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atura vietturis 2">
            <a:extLst>
              <a:ext uri="{FF2B5EF4-FFF2-40B4-BE49-F238E27FC236}">
                <a16:creationId xmlns:a16="http://schemas.microsoft.com/office/drawing/2014/main" id="{C621D0D4-EFB9-941F-BBD0-AEE7AF7C6F7A}"/>
              </a:ext>
            </a:extLst>
          </p:cNvPr>
          <p:cNvSpPr txBox="1">
            <a:spLocks/>
          </p:cNvSpPr>
          <p:nvPr/>
        </p:nvSpPr>
        <p:spPr>
          <a:xfrm>
            <a:off x="442914" y="2268186"/>
            <a:ext cx="2435581" cy="34520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US" sz="800" b="0">
                <a:solidFill>
                  <a:schemeClr val="tx1"/>
                </a:solidFill>
              </a:rPr>
              <a:t>The Constitution establishes fundamental human rights (Articles 89-116)</a:t>
            </a:r>
          </a:p>
        </p:txBody>
      </p:sp>
      <p:sp>
        <p:nvSpPr>
          <p:cNvPr id="55" name="Satura vietturis 2">
            <a:extLst>
              <a:ext uri="{FF2B5EF4-FFF2-40B4-BE49-F238E27FC236}">
                <a16:creationId xmlns:a16="http://schemas.microsoft.com/office/drawing/2014/main" id="{9B3F9703-6E55-E8A0-2A0D-7A1DFB1BA252}"/>
              </a:ext>
            </a:extLst>
          </p:cNvPr>
          <p:cNvSpPr txBox="1">
            <a:spLocks/>
          </p:cNvSpPr>
          <p:nvPr/>
        </p:nvSpPr>
        <p:spPr>
          <a:xfrm>
            <a:off x="442915" y="3056762"/>
            <a:ext cx="2056442" cy="436045"/>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US" sz="800" b="0">
                <a:solidFill>
                  <a:schemeClr val="tx1"/>
                </a:solidFill>
              </a:rPr>
              <a:t>The Civil Protection and Disaster Management Law sets out what to do in the event of a disaster or threat of disaster</a:t>
            </a:r>
          </a:p>
        </p:txBody>
      </p:sp>
      <p:sp>
        <p:nvSpPr>
          <p:cNvPr id="56" name="Satura vietturis 2">
            <a:extLst>
              <a:ext uri="{FF2B5EF4-FFF2-40B4-BE49-F238E27FC236}">
                <a16:creationId xmlns:a16="http://schemas.microsoft.com/office/drawing/2014/main" id="{0BB3A2EE-1FC8-B319-5738-B068DDF3BEF7}"/>
              </a:ext>
            </a:extLst>
          </p:cNvPr>
          <p:cNvSpPr txBox="1">
            <a:spLocks/>
          </p:cNvSpPr>
          <p:nvPr/>
        </p:nvSpPr>
        <p:spPr>
          <a:xfrm>
            <a:off x="442913" y="3570680"/>
            <a:ext cx="1866875" cy="29986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US" sz="800" b="0">
                <a:solidFill>
                  <a:schemeClr val="tx1"/>
                </a:solidFill>
              </a:rPr>
              <a:t>Cabinet regulations are issued to ensure the functioning of the system of civil protection</a:t>
            </a:r>
          </a:p>
        </p:txBody>
      </p:sp>
      <p:grpSp>
        <p:nvGrpSpPr>
          <p:cNvPr id="77" name="Group 76">
            <a:extLst>
              <a:ext uri="{FF2B5EF4-FFF2-40B4-BE49-F238E27FC236}">
                <a16:creationId xmlns:a16="http://schemas.microsoft.com/office/drawing/2014/main" id="{9AAE2C80-8C84-4FF4-AAD5-BEE113F692E5}"/>
              </a:ext>
            </a:extLst>
          </p:cNvPr>
          <p:cNvGrpSpPr/>
          <p:nvPr/>
        </p:nvGrpSpPr>
        <p:grpSpPr>
          <a:xfrm>
            <a:off x="2120220" y="2228368"/>
            <a:ext cx="1895692" cy="2107398"/>
            <a:chOff x="1537767" y="1819276"/>
            <a:chExt cx="2119833" cy="2107398"/>
          </a:xfrm>
        </p:grpSpPr>
        <p:sp>
          <p:nvSpPr>
            <p:cNvPr id="47" name="Freeform: Shape 46">
              <a:extLst>
                <a:ext uri="{FF2B5EF4-FFF2-40B4-BE49-F238E27FC236}">
                  <a16:creationId xmlns:a16="http://schemas.microsoft.com/office/drawing/2014/main" id="{7E9CE438-CF22-6BD2-077B-3CDB4C77B189}"/>
                </a:ext>
              </a:extLst>
            </p:cNvPr>
            <p:cNvSpPr/>
            <p:nvPr/>
          </p:nvSpPr>
          <p:spPr>
            <a:xfrm>
              <a:off x="1537767" y="3505194"/>
              <a:ext cx="2119833" cy="421480"/>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rtlCol="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58" name="Freeform: Shape 57">
              <a:extLst>
                <a:ext uri="{FF2B5EF4-FFF2-40B4-BE49-F238E27FC236}">
                  <a16:creationId xmlns:a16="http://schemas.microsoft.com/office/drawing/2014/main" id="{74C6CD5F-6322-0B67-0351-57B3E2BC0B49}"/>
                </a:ext>
              </a:extLst>
            </p:cNvPr>
            <p:cNvSpPr/>
            <p:nvPr/>
          </p:nvSpPr>
          <p:spPr>
            <a:xfrm>
              <a:off x="2385700" y="1819276"/>
              <a:ext cx="423967" cy="421480"/>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rtlCol="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59" name="Freeform: Shape 58">
              <a:extLst>
                <a:ext uri="{FF2B5EF4-FFF2-40B4-BE49-F238E27FC236}">
                  <a16:creationId xmlns:a16="http://schemas.microsoft.com/office/drawing/2014/main" id="{B0F2CBDC-D0F4-DF1E-9A92-F9B27405180E}"/>
                </a:ext>
              </a:extLst>
            </p:cNvPr>
            <p:cNvSpPr/>
            <p:nvPr/>
          </p:nvSpPr>
          <p:spPr>
            <a:xfrm>
              <a:off x="2173717" y="2240756"/>
              <a:ext cx="847933" cy="421480"/>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rtlCol="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60" name="Freeform: Shape 59">
              <a:extLst>
                <a:ext uri="{FF2B5EF4-FFF2-40B4-BE49-F238E27FC236}">
                  <a16:creationId xmlns:a16="http://schemas.microsoft.com/office/drawing/2014/main" id="{F4CE42FC-2872-E7F9-E307-7D19F0AE3D86}"/>
                </a:ext>
              </a:extLst>
            </p:cNvPr>
            <p:cNvSpPr/>
            <p:nvPr/>
          </p:nvSpPr>
          <p:spPr>
            <a:xfrm>
              <a:off x="1961733" y="2662235"/>
              <a:ext cx="1271900" cy="421480"/>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rtlCol="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61" name="Freeform: Shape 60">
              <a:extLst>
                <a:ext uri="{FF2B5EF4-FFF2-40B4-BE49-F238E27FC236}">
                  <a16:creationId xmlns:a16="http://schemas.microsoft.com/office/drawing/2014/main" id="{CFEE0D06-9762-7D25-BED6-E9F2BFB26E44}"/>
                </a:ext>
              </a:extLst>
            </p:cNvPr>
            <p:cNvSpPr/>
            <p:nvPr/>
          </p:nvSpPr>
          <p:spPr>
            <a:xfrm>
              <a:off x="1749750" y="3083715"/>
              <a:ext cx="1695866" cy="421480"/>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rtlCol="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grpSp>
      <p:sp>
        <p:nvSpPr>
          <p:cNvPr id="3" name="Slide Number Placeholder 2">
            <a:extLst>
              <a:ext uri="{FF2B5EF4-FFF2-40B4-BE49-F238E27FC236}">
                <a16:creationId xmlns:a16="http://schemas.microsoft.com/office/drawing/2014/main" id="{87027341-4259-0198-5A17-15CA72401BE4}"/>
              </a:ext>
            </a:extLst>
          </p:cNvPr>
          <p:cNvSpPr>
            <a:spLocks noGrp="1"/>
          </p:cNvSpPr>
          <p:nvPr>
            <p:ph type="sldNum" sz="quarter" idx="12"/>
          </p:nvPr>
        </p:nvSpPr>
        <p:spPr/>
        <p:txBody>
          <a:bodyPr rtlCol="0"/>
          <a:lstStyle/>
          <a:p>
            <a:pPr rtl="0"/>
            <a:fld id="{3EC6AC87-B589-456E-9CA9-7CF796F27D61}" type="slidenum">
              <a:rPr lang="en-GB" smtClean="0"/>
              <a:pPr rtl="0"/>
              <a:t>31</a:t>
            </a:fld>
            <a:endParaRPr lang="en-GB"/>
          </a:p>
        </p:txBody>
      </p:sp>
      <p:sp>
        <p:nvSpPr>
          <p:cNvPr id="7" name="Title 6">
            <a:extLst>
              <a:ext uri="{FF2B5EF4-FFF2-40B4-BE49-F238E27FC236}">
                <a16:creationId xmlns:a16="http://schemas.microsoft.com/office/drawing/2014/main" id="{39A2BCF4-A012-B3B7-B096-6BC32E5F8F1C}"/>
              </a:ext>
            </a:extLst>
          </p:cNvPr>
          <p:cNvSpPr>
            <a:spLocks noGrp="1"/>
          </p:cNvSpPr>
          <p:nvPr>
            <p:ph type="title"/>
          </p:nvPr>
        </p:nvSpPr>
        <p:spPr>
          <a:xfrm>
            <a:off x="442913" y="432001"/>
            <a:ext cx="11306175" cy="1387274"/>
          </a:xfrm>
        </p:spPr>
        <p:txBody>
          <a:bodyPr vert="horz" rtlCol="0"/>
          <a:lstStyle/>
          <a:p>
            <a:pPr rtl="0"/>
            <a:r>
              <a:rPr lang="lv-LV"/>
              <a:t>S</a:t>
            </a:r>
            <a:r>
              <a:rPr lang="en-GB" err="1"/>
              <a:t>ummary</a:t>
            </a:r>
            <a:endParaRPr lang="en-GB"/>
          </a:p>
        </p:txBody>
      </p:sp>
      <p:sp>
        <p:nvSpPr>
          <p:cNvPr id="8" name="TextBox 7">
            <a:extLst>
              <a:ext uri="{FF2B5EF4-FFF2-40B4-BE49-F238E27FC236}">
                <a16:creationId xmlns:a16="http://schemas.microsoft.com/office/drawing/2014/main" id="{9714DF9C-D08D-B0FB-D2FA-7190468C2C79}"/>
              </a:ext>
            </a:extLst>
          </p:cNvPr>
          <p:cNvSpPr txBox="1"/>
          <p:nvPr/>
        </p:nvSpPr>
        <p:spPr>
          <a:xfrm>
            <a:off x="5092511" y="1820863"/>
            <a:ext cx="6656576" cy="360000"/>
          </a:xfrm>
          <a:prstGeom prst="rect">
            <a:avLst/>
          </a:prstGeom>
          <a:solidFill>
            <a:srgbClr val="A8192D"/>
          </a:solidFill>
        </p:spPr>
        <p:txBody>
          <a:bodyPr wrap="square" lIns="144000" tIns="36000" rIns="72000" bIns="36000" rtlCol="0" anchor="ctr" anchorCtr="0">
            <a:noAutofit/>
          </a:bodyPr>
          <a:lstStyle/>
          <a:p>
            <a:pPr defTabSz="822960" rtl="0">
              <a:spcAft>
                <a:spcPts val="270"/>
              </a:spcAft>
              <a:defRPr/>
            </a:pPr>
            <a:r>
              <a:rPr lang="en-gb" sz="1200" b="1">
                <a:solidFill>
                  <a:schemeClr val="bg1"/>
                </a:solidFill>
                <a:ea typeface="Times New Roman" panose="02020603050405020304" pitchFamily="18" charset="0"/>
                <a:cs typeface="Times New Roman" panose="02020603050405020304" pitchFamily="18" charset="0"/>
              </a:rPr>
              <a:t>Civil protection and disaster management authorities</a:t>
            </a:r>
          </a:p>
        </p:txBody>
      </p:sp>
      <p:sp>
        <p:nvSpPr>
          <p:cNvPr id="24" name="TextBox 23">
            <a:extLst>
              <a:ext uri="{FF2B5EF4-FFF2-40B4-BE49-F238E27FC236}">
                <a16:creationId xmlns:a16="http://schemas.microsoft.com/office/drawing/2014/main" id="{904D61B0-40FB-F63F-BBE1-6604E9AD18E8}"/>
              </a:ext>
            </a:extLst>
          </p:cNvPr>
          <p:cNvSpPr txBox="1"/>
          <p:nvPr/>
        </p:nvSpPr>
        <p:spPr>
          <a:xfrm>
            <a:off x="442909" y="4415263"/>
            <a:ext cx="4354555" cy="360000"/>
          </a:xfrm>
          <a:prstGeom prst="rect">
            <a:avLst/>
          </a:prstGeom>
          <a:solidFill>
            <a:srgbClr val="A8192D"/>
          </a:solidFill>
        </p:spPr>
        <p:txBody>
          <a:bodyPr wrap="square" lIns="144000" tIns="36000" rIns="72000" bIns="36000" rtlCol="0" anchor="ctr" anchorCtr="0">
            <a:noAutofit/>
          </a:bodyPr>
          <a:lstStyle/>
          <a:p>
            <a:pPr defTabSz="822960" rtl="0">
              <a:lnSpc>
                <a:spcPts val="1200"/>
              </a:lnSpc>
              <a:defRPr/>
            </a:pPr>
            <a:r>
              <a:rPr lang="en-gb" sz="1200" b="1">
                <a:solidFill>
                  <a:schemeClr val="bg1"/>
                </a:solidFill>
                <a:ea typeface="Times New Roman" panose="02020603050405020304" pitchFamily="18" charset="0"/>
                <a:cs typeface="Times New Roman" panose="02020603050405020304" pitchFamily="18" charset="0"/>
              </a:rPr>
              <a:t>Disaster management planning in 3-tier civil protection plans </a:t>
            </a:r>
          </a:p>
        </p:txBody>
      </p:sp>
      <p:sp>
        <p:nvSpPr>
          <p:cNvPr id="25" name="Rectangle 24">
            <a:extLst>
              <a:ext uri="{FF2B5EF4-FFF2-40B4-BE49-F238E27FC236}">
                <a16:creationId xmlns:a16="http://schemas.microsoft.com/office/drawing/2014/main" id="{7E5F78A1-C54A-50B0-C78C-EC04E6CA6075}"/>
              </a:ext>
            </a:extLst>
          </p:cNvPr>
          <p:cNvSpPr/>
          <p:nvPr/>
        </p:nvSpPr>
        <p:spPr>
          <a:xfrm rot="5400000">
            <a:off x="298912" y="4559264"/>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63" name="TextBox 62">
            <a:extLst>
              <a:ext uri="{FF2B5EF4-FFF2-40B4-BE49-F238E27FC236}">
                <a16:creationId xmlns:a16="http://schemas.microsoft.com/office/drawing/2014/main" id="{361A3FCC-9B97-5E0E-E074-414EEDBE255D}"/>
              </a:ext>
            </a:extLst>
          </p:cNvPr>
          <p:cNvSpPr txBox="1"/>
          <p:nvPr/>
        </p:nvSpPr>
        <p:spPr>
          <a:xfrm>
            <a:off x="442913" y="5732145"/>
            <a:ext cx="4338313" cy="440246"/>
          </a:xfrm>
          <a:prstGeom prst="rect">
            <a:avLst/>
          </a:prstGeom>
          <a:noFill/>
          <a:ln w="3175">
            <a:solidFill>
              <a:schemeClr val="bg1">
                <a:lumMod val="75000"/>
              </a:schemeClr>
            </a:solidFill>
          </a:ln>
        </p:spPr>
        <p:txBody>
          <a:bodyPr wrap="square" lIns="72000" tIns="0" rIns="72000" bIns="0" rtlCol="0" anchor="ctr">
            <a:noAutofit/>
          </a:bodyPr>
          <a:lstStyle/>
          <a:p>
            <a:pPr defTabSz="822960" rtl="0">
              <a:spcAft>
                <a:spcPts val="270"/>
              </a:spcAft>
              <a:defRPr/>
            </a:pPr>
            <a:r>
              <a:rPr lang="en-US" sz="1000" b="1">
                <a:solidFill>
                  <a:srgbClr val="A8192D"/>
                </a:solidFill>
                <a:ea typeface="Times New Roman" panose="02020603050405020304" pitchFamily="18" charset="0"/>
                <a:cs typeface="Times New Roman" panose="02020603050405020304" pitchFamily="18" charset="0"/>
              </a:rPr>
              <a:t>Civil protection plans are prepared on the basis of a risk assessment and determining disaster management measures </a:t>
            </a:r>
            <a:endParaRPr lang="en-gb" sz="1000" b="1">
              <a:solidFill>
                <a:srgbClr val="A8192D"/>
              </a:solidFill>
              <a:ea typeface="Times New Roman" panose="02020603050405020304" pitchFamily="18" charset="0"/>
              <a:cs typeface="Times New Roman" panose="02020603050405020304" pitchFamily="18" charset="0"/>
            </a:endParaRPr>
          </a:p>
        </p:txBody>
      </p:sp>
      <p:sp>
        <p:nvSpPr>
          <p:cNvPr id="49" name="Rectangle 48">
            <a:extLst>
              <a:ext uri="{FF2B5EF4-FFF2-40B4-BE49-F238E27FC236}">
                <a16:creationId xmlns:a16="http://schemas.microsoft.com/office/drawing/2014/main" id="{FC4B741B-2210-6530-619A-B168E7439628}"/>
              </a:ext>
            </a:extLst>
          </p:cNvPr>
          <p:cNvSpPr/>
          <p:nvPr/>
        </p:nvSpPr>
        <p:spPr>
          <a:xfrm>
            <a:off x="442915" y="4999230"/>
            <a:ext cx="1358465"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chorCtr="0">
            <a:noAutofit/>
          </a:bodyPr>
          <a:lstStyle/>
          <a:p>
            <a:pPr rtl="0">
              <a:buClrTx/>
              <a:defRPr/>
            </a:pPr>
            <a:r>
              <a:rPr lang="en-GB" sz="1000"/>
              <a:t>State Civil Protection Plan</a:t>
            </a:r>
          </a:p>
        </p:txBody>
      </p:sp>
      <p:sp>
        <p:nvSpPr>
          <p:cNvPr id="57" name="Rectangle 56">
            <a:extLst>
              <a:ext uri="{FF2B5EF4-FFF2-40B4-BE49-F238E27FC236}">
                <a16:creationId xmlns:a16="http://schemas.microsoft.com/office/drawing/2014/main" id="{04CBD17C-1CBD-4BBD-9C60-EB0200D42275}"/>
              </a:ext>
            </a:extLst>
          </p:cNvPr>
          <p:cNvSpPr/>
          <p:nvPr/>
        </p:nvSpPr>
        <p:spPr>
          <a:xfrm>
            <a:off x="442913" y="4819230"/>
            <a:ext cx="1358465" cy="179999"/>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rPr>
              <a:t>1</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6F9B345C-A2B7-D774-AC43-B7970F38456E}"/>
              </a:ext>
            </a:extLst>
          </p:cNvPr>
          <p:cNvSpPr/>
          <p:nvPr/>
        </p:nvSpPr>
        <p:spPr>
          <a:xfrm>
            <a:off x="1919778" y="4999230"/>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chorCtr="0">
            <a:noAutofit/>
          </a:bodyPr>
          <a:lstStyle/>
          <a:p>
            <a:pPr rtl="0">
              <a:buClrTx/>
              <a:defRPr/>
            </a:pPr>
            <a:r>
              <a:rPr lang="en-US" sz="1000" dirty="0"/>
              <a:t>Civil Protection Plan of the Local Government Cooperation Territory</a:t>
            </a:r>
          </a:p>
        </p:txBody>
      </p:sp>
      <p:sp>
        <p:nvSpPr>
          <p:cNvPr id="72" name="Rectangle 71">
            <a:extLst>
              <a:ext uri="{FF2B5EF4-FFF2-40B4-BE49-F238E27FC236}">
                <a16:creationId xmlns:a16="http://schemas.microsoft.com/office/drawing/2014/main" id="{090235C5-8ECF-7D19-C2F5-24EE8DE914F1}"/>
              </a:ext>
            </a:extLst>
          </p:cNvPr>
          <p:cNvSpPr/>
          <p:nvPr/>
        </p:nvSpPr>
        <p:spPr>
          <a:xfrm>
            <a:off x="1920264" y="4819230"/>
            <a:ext cx="137956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rPr>
              <a:t>2</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9C68CBB0-CF71-B2A5-D79C-AC689A0C74FB}"/>
              </a:ext>
            </a:extLst>
          </p:cNvPr>
          <p:cNvSpPr/>
          <p:nvPr/>
        </p:nvSpPr>
        <p:spPr>
          <a:xfrm>
            <a:off x="3417973" y="4999230"/>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chorCtr="0">
            <a:noAutofit/>
          </a:bodyPr>
          <a:lstStyle/>
          <a:p>
            <a:pPr rtl="0">
              <a:buClrTx/>
              <a:defRPr/>
            </a:pPr>
            <a:r>
              <a:rPr lang="en-US" sz="1000"/>
              <a:t>Civil Protection Plan for the Object* or Object of Increased Danger</a:t>
            </a:r>
          </a:p>
        </p:txBody>
      </p:sp>
      <p:sp>
        <p:nvSpPr>
          <p:cNvPr id="74" name="Rectangle 73">
            <a:extLst>
              <a:ext uri="{FF2B5EF4-FFF2-40B4-BE49-F238E27FC236}">
                <a16:creationId xmlns:a16="http://schemas.microsoft.com/office/drawing/2014/main" id="{37E92157-3265-D2DA-B2B2-F593C370D1E7}"/>
              </a:ext>
            </a:extLst>
          </p:cNvPr>
          <p:cNvSpPr/>
          <p:nvPr/>
        </p:nvSpPr>
        <p:spPr>
          <a:xfrm>
            <a:off x="3418134" y="4819230"/>
            <a:ext cx="137953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rPr>
              <a:t>3</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9" name="TextBox 78">
            <a:extLst>
              <a:ext uri="{FF2B5EF4-FFF2-40B4-BE49-F238E27FC236}">
                <a16:creationId xmlns:a16="http://schemas.microsoft.com/office/drawing/2014/main" id="{4A81787E-5AC3-6613-53E6-49E6F0A57B40}"/>
              </a:ext>
            </a:extLst>
          </p:cNvPr>
          <p:cNvSpPr txBox="1"/>
          <p:nvPr/>
        </p:nvSpPr>
        <p:spPr>
          <a:xfrm>
            <a:off x="5099594" y="5731957"/>
            <a:ext cx="6656576" cy="440243"/>
          </a:xfrm>
          <a:prstGeom prst="rect">
            <a:avLst/>
          </a:prstGeom>
          <a:noFill/>
          <a:ln w="3175">
            <a:solidFill>
              <a:schemeClr val="bg1">
                <a:lumMod val="75000"/>
              </a:schemeClr>
            </a:solidFill>
          </a:ln>
        </p:spPr>
        <p:txBody>
          <a:bodyPr wrap="square" lIns="72000" tIns="0" rIns="72000" bIns="0" rtlCol="0" anchor="ctr">
            <a:noAutofit/>
          </a:bodyPr>
          <a:lstStyle/>
          <a:p>
            <a:pPr defTabSz="822960" rtl="0">
              <a:spcAft>
                <a:spcPts val="270"/>
              </a:spcAft>
              <a:defRPr/>
            </a:pPr>
            <a:r>
              <a:rPr lang="en-US" sz="1000" b="1">
                <a:solidFill>
                  <a:srgbClr val="A8192D"/>
                </a:solidFill>
                <a:ea typeface="Times New Roman" panose="02020603050405020304" pitchFamily="18" charset="0"/>
                <a:cs typeface="Times New Roman" panose="02020603050405020304" pitchFamily="18" charset="0"/>
              </a:rPr>
              <a:t>Disaster management subject – sectoral ministries and municipalities – coordinate the management of a given disaster in cooperation with other institutions</a:t>
            </a:r>
          </a:p>
        </p:txBody>
      </p:sp>
      <p:sp>
        <p:nvSpPr>
          <p:cNvPr id="12" name="Rectangle 11">
            <a:extLst>
              <a:ext uri="{FF2B5EF4-FFF2-40B4-BE49-F238E27FC236}">
                <a16:creationId xmlns:a16="http://schemas.microsoft.com/office/drawing/2014/main" id="{E70C782A-F528-799D-40E4-C3BAF9A720A7}"/>
              </a:ext>
            </a:extLst>
          </p:cNvPr>
          <p:cNvSpPr/>
          <p:nvPr/>
        </p:nvSpPr>
        <p:spPr>
          <a:xfrm>
            <a:off x="5092512" y="511867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a:t>Ministry of the Interior</a:t>
            </a:r>
            <a:endParaRPr kumimoji="0" lang="lv-LV" sz="1000" b="1" i="0" u="none" strike="noStrike" kern="0" cap="none" spc="0" normalizeH="0" baseline="0">
              <a:ln>
                <a:noFill/>
              </a:ln>
              <a:effectLst/>
              <a:uLnTx/>
              <a:uFillTx/>
              <a:latin typeface="Arial"/>
              <a:ea typeface="+mn-ea"/>
              <a:cs typeface="+mn-cs"/>
            </a:endParaRPr>
          </a:p>
        </p:txBody>
      </p:sp>
      <p:sp>
        <p:nvSpPr>
          <p:cNvPr id="13" name="Rectangle 12">
            <a:extLst>
              <a:ext uri="{FF2B5EF4-FFF2-40B4-BE49-F238E27FC236}">
                <a16:creationId xmlns:a16="http://schemas.microsoft.com/office/drawing/2014/main" id="{AC869997-F622-4670-534B-C7DC156104CF}"/>
              </a:ext>
            </a:extLst>
          </p:cNvPr>
          <p:cNvSpPr/>
          <p:nvPr/>
        </p:nvSpPr>
        <p:spPr>
          <a:xfrm>
            <a:off x="5092512" y="5304673"/>
            <a:ext cx="3258000" cy="360000"/>
          </a:xfrm>
          <a:prstGeom prst="rect">
            <a:avLst/>
          </a:prstGeom>
          <a:solidFill>
            <a:schemeClr val="bg1">
              <a:lumMod val="95000"/>
            </a:schemeClr>
          </a:solidFill>
          <a:ln w="25400" cap="flat" cmpd="sng" algn="ctr">
            <a:noFill/>
            <a:prstDash val="solid"/>
          </a:ln>
          <a:effectLst/>
        </p:spPr>
        <p:txBody>
          <a:bodyPr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supervises the operation of the system of civil protection and implementation of the tasks thereof</a:t>
            </a:r>
          </a:p>
        </p:txBody>
      </p:sp>
      <p:sp>
        <p:nvSpPr>
          <p:cNvPr id="10" name="Rectangle 9">
            <a:extLst>
              <a:ext uri="{FF2B5EF4-FFF2-40B4-BE49-F238E27FC236}">
                <a16:creationId xmlns:a16="http://schemas.microsoft.com/office/drawing/2014/main" id="{51736780-48E5-CD96-3DD5-A086D5E626DF}"/>
              </a:ext>
            </a:extLst>
          </p:cNvPr>
          <p:cNvSpPr/>
          <p:nvPr/>
        </p:nvSpPr>
        <p:spPr>
          <a:xfrm>
            <a:off x="5092512" y="231981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a:t>Prime Minister</a:t>
            </a:r>
            <a:endParaRPr kumimoji="0" lang="lv-LV" sz="1000" b="1" i="0" u="none" strike="noStrike" kern="0" cap="none" spc="0" normalizeH="0" baseline="0">
              <a:ln>
                <a:noFill/>
              </a:ln>
              <a:effectLst/>
              <a:uLnTx/>
              <a:uFillTx/>
              <a:latin typeface="Arial"/>
              <a:ea typeface="+mn-ea"/>
              <a:cs typeface="+mn-cs"/>
            </a:endParaRPr>
          </a:p>
        </p:txBody>
      </p:sp>
      <p:sp>
        <p:nvSpPr>
          <p:cNvPr id="11" name="Rectangle 10">
            <a:extLst>
              <a:ext uri="{FF2B5EF4-FFF2-40B4-BE49-F238E27FC236}">
                <a16:creationId xmlns:a16="http://schemas.microsoft.com/office/drawing/2014/main" id="{779C3953-F620-10DF-7822-3768BDF2DA4B}"/>
              </a:ext>
            </a:extLst>
          </p:cNvPr>
          <p:cNvSpPr/>
          <p:nvPr/>
        </p:nvSpPr>
        <p:spPr>
          <a:xfrm>
            <a:off x="5092512" y="2509606"/>
            <a:ext cx="325800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supervises the operation of the system of civil protection and implementation of the tasks thereof</a:t>
            </a:r>
          </a:p>
        </p:txBody>
      </p:sp>
      <p:sp>
        <p:nvSpPr>
          <p:cNvPr id="16" name="Rectangle 15">
            <a:extLst>
              <a:ext uri="{FF2B5EF4-FFF2-40B4-BE49-F238E27FC236}">
                <a16:creationId xmlns:a16="http://schemas.microsoft.com/office/drawing/2014/main" id="{AD5B92B8-3EA9-48C2-705B-B64D44A68B97}"/>
              </a:ext>
            </a:extLst>
          </p:cNvPr>
          <p:cNvSpPr/>
          <p:nvPr/>
        </p:nvSpPr>
        <p:spPr>
          <a:xfrm>
            <a:off x="5092512" y="3008804"/>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a:t>Sectoral ministries</a:t>
            </a:r>
            <a:endParaRPr kumimoji="0" lang="lv-LV" sz="1000" b="1" i="0" u="none" strike="noStrike" kern="0" cap="none" spc="0" normalizeH="0" baseline="0">
              <a:ln>
                <a:noFill/>
              </a:ln>
              <a:effectLst/>
              <a:uLnTx/>
              <a:uFillTx/>
              <a:latin typeface="Arial"/>
              <a:ea typeface="+mn-ea"/>
              <a:cs typeface="+mn-cs"/>
            </a:endParaRPr>
          </a:p>
        </p:txBody>
      </p:sp>
      <p:sp>
        <p:nvSpPr>
          <p:cNvPr id="17" name="Rectangle 16">
            <a:extLst>
              <a:ext uri="{FF2B5EF4-FFF2-40B4-BE49-F238E27FC236}">
                <a16:creationId xmlns:a16="http://schemas.microsoft.com/office/drawing/2014/main" id="{96E82AC1-C604-8D07-A614-F71829B19185}"/>
              </a:ext>
            </a:extLst>
          </p:cNvPr>
          <p:cNvSpPr/>
          <p:nvPr/>
        </p:nvSpPr>
        <p:spPr>
          <a:xfrm>
            <a:off x="5092512" y="3197282"/>
            <a:ext cx="3258000" cy="68239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spc="-20"/>
              <a:t>ensure the implementation of civil protection tasks, development of draft laws and regulations necessary in the field and disaster management coordination at a national, regional and local level</a:t>
            </a:r>
          </a:p>
        </p:txBody>
      </p:sp>
      <p:sp>
        <p:nvSpPr>
          <p:cNvPr id="22" name="Rectangle 21">
            <a:extLst>
              <a:ext uri="{FF2B5EF4-FFF2-40B4-BE49-F238E27FC236}">
                <a16:creationId xmlns:a16="http://schemas.microsoft.com/office/drawing/2014/main" id="{47BD51AB-1F0A-C017-C90C-F68A981EDE96}"/>
              </a:ext>
            </a:extLst>
          </p:cNvPr>
          <p:cNvSpPr/>
          <p:nvPr/>
        </p:nvSpPr>
        <p:spPr>
          <a:xfrm>
            <a:off x="5092512" y="4023820"/>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t>Head of state and local government</a:t>
            </a:r>
            <a:endParaRPr kumimoji="0" lang="lv-LV" sz="1000" b="1" i="0" u="none" strike="noStrike" kern="0" cap="none" spc="0" normalizeH="0" baseline="0" dirty="0">
              <a:ln>
                <a:noFill/>
              </a:ln>
              <a:effectLst/>
              <a:uLnTx/>
              <a:uFillTx/>
              <a:latin typeface="Arial"/>
              <a:ea typeface="+mn-ea"/>
              <a:cs typeface="+mn-cs"/>
            </a:endParaRPr>
          </a:p>
        </p:txBody>
      </p:sp>
      <p:sp>
        <p:nvSpPr>
          <p:cNvPr id="23" name="Rectangle 22">
            <a:extLst>
              <a:ext uri="{FF2B5EF4-FFF2-40B4-BE49-F238E27FC236}">
                <a16:creationId xmlns:a16="http://schemas.microsoft.com/office/drawing/2014/main" id="{865A5097-EE5D-ABF9-3E1C-21456B2CD454}"/>
              </a:ext>
            </a:extLst>
          </p:cNvPr>
          <p:cNvSpPr/>
          <p:nvPr/>
        </p:nvSpPr>
        <p:spPr>
          <a:xfrm>
            <a:off x="5092511" y="4210280"/>
            <a:ext cx="3258000" cy="77690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spc="-20" dirty="0"/>
              <a:t>plans and implements the necessary action to ensure uninterrupted operation of the State authority in case of a disaster or threats thereof, ensure accurate and timely fulfilment of the measures determined in the civil protection plans</a:t>
            </a:r>
          </a:p>
        </p:txBody>
      </p:sp>
      <p:sp>
        <p:nvSpPr>
          <p:cNvPr id="36" name="Rectangle 35">
            <a:extLst>
              <a:ext uri="{FF2B5EF4-FFF2-40B4-BE49-F238E27FC236}">
                <a16:creationId xmlns:a16="http://schemas.microsoft.com/office/drawing/2014/main" id="{0E8CC5B0-4FA5-2BE8-F743-005DF962D7C9}"/>
              </a:ext>
            </a:extLst>
          </p:cNvPr>
          <p:cNvSpPr/>
          <p:nvPr/>
        </p:nvSpPr>
        <p:spPr>
          <a:xfrm>
            <a:off x="8414798" y="2321622"/>
            <a:ext cx="3331469" cy="1864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Chairperson of the Local Government Council</a:t>
            </a:r>
          </a:p>
        </p:txBody>
      </p:sp>
      <p:sp>
        <p:nvSpPr>
          <p:cNvPr id="37" name="Rectangle 36">
            <a:extLst>
              <a:ext uri="{FF2B5EF4-FFF2-40B4-BE49-F238E27FC236}">
                <a16:creationId xmlns:a16="http://schemas.microsoft.com/office/drawing/2014/main" id="{32162E6B-2E36-0CFA-B3AF-A60D2D9C580A}"/>
              </a:ext>
            </a:extLst>
          </p:cNvPr>
          <p:cNvSpPr/>
          <p:nvPr/>
        </p:nvSpPr>
        <p:spPr>
          <a:xfrm>
            <a:off x="8417617" y="2509606"/>
            <a:ext cx="333147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manages the implementation of the civil protection tasks in the local government </a:t>
            </a:r>
          </a:p>
        </p:txBody>
      </p:sp>
      <p:sp>
        <p:nvSpPr>
          <p:cNvPr id="39" name="Rectangle 38">
            <a:extLst>
              <a:ext uri="{FF2B5EF4-FFF2-40B4-BE49-F238E27FC236}">
                <a16:creationId xmlns:a16="http://schemas.microsoft.com/office/drawing/2014/main" id="{71F33C03-5033-9CBD-E45B-E91812DECF9C}"/>
              </a:ext>
            </a:extLst>
          </p:cNvPr>
          <p:cNvSpPr/>
          <p:nvPr/>
        </p:nvSpPr>
        <p:spPr>
          <a:xfrm>
            <a:off x="8417617" y="3008804"/>
            <a:ext cx="3331469"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a:t>Local Government</a:t>
            </a:r>
          </a:p>
        </p:txBody>
      </p:sp>
      <p:sp>
        <p:nvSpPr>
          <p:cNvPr id="40" name="Rectangle 39">
            <a:extLst>
              <a:ext uri="{FF2B5EF4-FFF2-40B4-BE49-F238E27FC236}">
                <a16:creationId xmlns:a16="http://schemas.microsoft.com/office/drawing/2014/main" id="{4416A52D-7C1D-1DAF-84A8-DDC8D9A30B48}"/>
              </a:ext>
            </a:extLst>
          </p:cNvPr>
          <p:cNvSpPr/>
          <p:nvPr/>
        </p:nvSpPr>
        <p:spPr>
          <a:xfrm>
            <a:off x="8417617" y="3197281"/>
            <a:ext cx="3331470" cy="682407"/>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spc="-20"/>
              <a:t>coordinates disaster management for local disasters in its administrative area – collapse of buildings and structures, heating, water supply, wastewater and sewerage system emergencies</a:t>
            </a:r>
          </a:p>
        </p:txBody>
      </p:sp>
      <p:sp>
        <p:nvSpPr>
          <p:cNvPr id="42" name="Rectangle 41">
            <a:extLst>
              <a:ext uri="{FF2B5EF4-FFF2-40B4-BE49-F238E27FC236}">
                <a16:creationId xmlns:a16="http://schemas.microsoft.com/office/drawing/2014/main" id="{3D9A8B35-A1F5-CDCF-A6F7-9A79D765C66D}"/>
              </a:ext>
            </a:extLst>
          </p:cNvPr>
          <p:cNvSpPr/>
          <p:nvPr/>
        </p:nvSpPr>
        <p:spPr>
          <a:xfrm>
            <a:off x="8417617" y="4023820"/>
            <a:ext cx="3331470" cy="1759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State Fire and Rescue Service</a:t>
            </a:r>
          </a:p>
        </p:txBody>
      </p:sp>
      <p:sp>
        <p:nvSpPr>
          <p:cNvPr id="43" name="Rectangle 42">
            <a:extLst>
              <a:ext uri="{FF2B5EF4-FFF2-40B4-BE49-F238E27FC236}">
                <a16:creationId xmlns:a16="http://schemas.microsoft.com/office/drawing/2014/main" id="{B248A7D2-F961-B7C1-6F32-6F141F3D8D30}"/>
              </a:ext>
            </a:extLst>
          </p:cNvPr>
          <p:cNvSpPr/>
          <p:nvPr/>
        </p:nvSpPr>
        <p:spPr>
          <a:xfrm>
            <a:off x="8417617" y="4210229"/>
            <a:ext cx="3331470" cy="609002"/>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a:t>coordinates measures in the event of a disaster or its threat</a:t>
            </a:r>
          </a:p>
        </p:txBody>
      </p:sp>
      <p:sp>
        <p:nvSpPr>
          <p:cNvPr id="45" name="Rectangle 44">
            <a:extLst>
              <a:ext uri="{FF2B5EF4-FFF2-40B4-BE49-F238E27FC236}">
                <a16:creationId xmlns:a16="http://schemas.microsoft.com/office/drawing/2014/main" id="{FD973CC9-7E88-EA3B-D55D-552350DB11DC}"/>
              </a:ext>
            </a:extLst>
          </p:cNvPr>
          <p:cNvSpPr/>
          <p:nvPr/>
        </p:nvSpPr>
        <p:spPr>
          <a:xfrm>
            <a:off x="8417617" y="4961996"/>
            <a:ext cx="3331470" cy="341687"/>
          </a:xfrm>
          <a:prstGeom prst="rect">
            <a:avLst/>
          </a:prstGeom>
          <a:solidFill>
            <a:srgbClr val="A4A3B2"/>
          </a:solidFill>
          <a:ln w="25400" cap="flat" cmpd="sng" algn="ctr">
            <a:noFill/>
            <a:prstDash val="solid"/>
          </a:ln>
          <a:effectLst/>
        </p:spPr>
        <p:txBody>
          <a:bodyPr lIns="144000" tIns="36000" rIns="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t>Civil Protection Commission for Local Government Cooperation Territory</a:t>
            </a:r>
          </a:p>
        </p:txBody>
      </p:sp>
      <p:sp>
        <p:nvSpPr>
          <p:cNvPr id="46" name="Rectangle 45">
            <a:extLst>
              <a:ext uri="{FF2B5EF4-FFF2-40B4-BE49-F238E27FC236}">
                <a16:creationId xmlns:a16="http://schemas.microsoft.com/office/drawing/2014/main" id="{E1B5312D-1B4F-6A17-4790-28066D72CBD0}"/>
              </a:ext>
            </a:extLst>
          </p:cNvPr>
          <p:cNvSpPr/>
          <p:nvPr/>
        </p:nvSpPr>
        <p:spPr>
          <a:xfrm>
            <a:off x="8417617" y="5304673"/>
            <a:ext cx="333147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t>manage</a:t>
            </a:r>
            <a:r>
              <a:rPr lang="lv-LV" sz="1000" dirty="0"/>
              <a:t>s</a:t>
            </a:r>
            <a:r>
              <a:rPr lang="en-US" sz="1000" dirty="0"/>
              <a:t>, coordinate</a:t>
            </a:r>
            <a:r>
              <a:rPr lang="lv-LV" sz="1000" dirty="0"/>
              <a:t>s</a:t>
            </a:r>
            <a:r>
              <a:rPr lang="en-US" sz="1000" dirty="0"/>
              <a:t> and control</a:t>
            </a:r>
            <a:r>
              <a:rPr lang="lv-LV" sz="1000" dirty="0"/>
              <a:t>s</a:t>
            </a:r>
            <a:r>
              <a:rPr lang="en-US" sz="1000" dirty="0"/>
              <a:t> the operation of the system of civil protection</a:t>
            </a:r>
          </a:p>
        </p:txBody>
      </p:sp>
      <p:sp>
        <p:nvSpPr>
          <p:cNvPr id="14" name="TextBox 13">
            <a:extLst>
              <a:ext uri="{FF2B5EF4-FFF2-40B4-BE49-F238E27FC236}">
                <a16:creationId xmlns:a16="http://schemas.microsoft.com/office/drawing/2014/main" id="{7B305E7B-403F-80F3-6F83-74CB68DC6B17}"/>
              </a:ext>
            </a:extLst>
          </p:cNvPr>
          <p:cNvSpPr txBox="1"/>
          <p:nvPr/>
        </p:nvSpPr>
        <p:spPr>
          <a:xfrm>
            <a:off x="442912" y="1820863"/>
            <a:ext cx="4354760" cy="360000"/>
          </a:xfrm>
          <a:prstGeom prst="rect">
            <a:avLst/>
          </a:prstGeom>
          <a:solidFill>
            <a:srgbClr val="A8192D"/>
          </a:solidFill>
        </p:spPr>
        <p:txBody>
          <a:bodyPr wrap="square" lIns="144000" tIns="36000" rIns="72000" bIns="36000" rtlCol="0" anchor="ctr" anchorCtr="0">
            <a:noAutofit/>
          </a:bodyPr>
          <a:lstStyle/>
          <a:p>
            <a:pPr defTabSz="822960" rtl="0">
              <a:lnSpc>
                <a:spcPts val="1200"/>
              </a:lnSpc>
              <a:defRPr/>
            </a:pPr>
            <a:r>
              <a:rPr lang="en-gb" sz="1200" b="1">
                <a:solidFill>
                  <a:schemeClr val="bg1"/>
                </a:solidFill>
                <a:ea typeface="Times New Roman" panose="02020603050405020304" pitchFamily="18" charset="0"/>
                <a:cs typeface="Times New Roman" panose="02020603050405020304" pitchFamily="18" charset="0"/>
              </a:rPr>
              <a:t>Regulatory framework for civil protection and disaster planning</a:t>
            </a:r>
          </a:p>
        </p:txBody>
      </p:sp>
      <p:sp>
        <p:nvSpPr>
          <p:cNvPr id="15" name="Rectangle 14">
            <a:extLst>
              <a:ext uri="{FF2B5EF4-FFF2-40B4-BE49-F238E27FC236}">
                <a16:creationId xmlns:a16="http://schemas.microsoft.com/office/drawing/2014/main" id="{78EF67C5-9D8B-DE8D-5FDF-D5F991680E96}"/>
              </a:ext>
            </a:extLst>
          </p:cNvPr>
          <p:cNvSpPr/>
          <p:nvPr/>
        </p:nvSpPr>
        <p:spPr>
          <a:xfrm rot="5400000">
            <a:off x="298912" y="1964863"/>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48" name="Rectangle 47">
            <a:extLst>
              <a:ext uri="{FF2B5EF4-FFF2-40B4-BE49-F238E27FC236}">
                <a16:creationId xmlns:a16="http://schemas.microsoft.com/office/drawing/2014/main" id="{5AB3B4DE-DD78-393C-3B85-80B8A6F92339}"/>
              </a:ext>
            </a:extLst>
          </p:cNvPr>
          <p:cNvSpPr/>
          <p:nvPr/>
        </p:nvSpPr>
        <p:spPr>
          <a:xfrm>
            <a:off x="3858406" y="2435045"/>
            <a:ext cx="939059"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000" b="1" kern="1200">
                <a:solidFill>
                  <a:schemeClr val="tx1"/>
                </a:solidFill>
              </a:rPr>
              <a:t>Constitution</a:t>
            </a:r>
          </a:p>
        </p:txBody>
      </p:sp>
      <p:sp>
        <p:nvSpPr>
          <p:cNvPr id="50" name="Rectangle 49">
            <a:extLst>
              <a:ext uri="{FF2B5EF4-FFF2-40B4-BE49-F238E27FC236}">
                <a16:creationId xmlns:a16="http://schemas.microsoft.com/office/drawing/2014/main" id="{B2AB80B2-B64E-F2FF-6D33-1EFDC27F4C04}"/>
              </a:ext>
            </a:extLst>
          </p:cNvPr>
          <p:cNvSpPr/>
          <p:nvPr/>
        </p:nvSpPr>
        <p:spPr>
          <a:xfrm>
            <a:off x="3752997" y="2722088"/>
            <a:ext cx="1044468" cy="2769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000" b="1" kern="1200">
                <a:solidFill>
                  <a:schemeClr val="tx1"/>
                </a:solidFill>
              </a:rPr>
              <a:t>International law</a:t>
            </a:r>
          </a:p>
        </p:txBody>
      </p:sp>
      <p:sp>
        <p:nvSpPr>
          <p:cNvPr id="51" name="Rectangle 50">
            <a:extLst>
              <a:ext uri="{FF2B5EF4-FFF2-40B4-BE49-F238E27FC236}">
                <a16:creationId xmlns:a16="http://schemas.microsoft.com/office/drawing/2014/main" id="{B3E24090-FF27-C20C-E802-2B85A13287F3}"/>
              </a:ext>
            </a:extLst>
          </p:cNvPr>
          <p:cNvSpPr/>
          <p:nvPr/>
        </p:nvSpPr>
        <p:spPr>
          <a:xfrm>
            <a:off x="3959239" y="3183316"/>
            <a:ext cx="821992"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000" b="1" kern="1200">
                <a:solidFill>
                  <a:schemeClr val="tx1"/>
                </a:solidFill>
              </a:rPr>
              <a:t>Laws</a:t>
            </a:r>
          </a:p>
        </p:txBody>
      </p:sp>
      <p:sp>
        <p:nvSpPr>
          <p:cNvPr id="52" name="Rectangle 51">
            <a:extLst>
              <a:ext uri="{FF2B5EF4-FFF2-40B4-BE49-F238E27FC236}">
                <a16:creationId xmlns:a16="http://schemas.microsoft.com/office/drawing/2014/main" id="{2423F577-58D5-58EB-AC14-97089F55CEE4}"/>
              </a:ext>
            </a:extLst>
          </p:cNvPr>
          <p:cNvSpPr/>
          <p:nvPr/>
        </p:nvSpPr>
        <p:spPr>
          <a:xfrm>
            <a:off x="3776557" y="3476748"/>
            <a:ext cx="1004674"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000" b="1" kern="1200">
                <a:solidFill>
                  <a:schemeClr val="tx1"/>
                </a:solidFill>
              </a:rPr>
              <a:t>Cabinet Regulations</a:t>
            </a:r>
          </a:p>
        </p:txBody>
      </p:sp>
      <p:sp>
        <p:nvSpPr>
          <p:cNvPr id="53" name="Rectangle 52">
            <a:extLst>
              <a:ext uri="{FF2B5EF4-FFF2-40B4-BE49-F238E27FC236}">
                <a16:creationId xmlns:a16="http://schemas.microsoft.com/office/drawing/2014/main" id="{834C3B73-A477-BE88-E7A3-AF671AABF70D}"/>
              </a:ext>
            </a:extLst>
          </p:cNvPr>
          <p:cNvSpPr/>
          <p:nvPr/>
        </p:nvSpPr>
        <p:spPr>
          <a:xfrm>
            <a:off x="3776557" y="3946623"/>
            <a:ext cx="1004673"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000" b="1" kern="1200">
                <a:solidFill>
                  <a:schemeClr val="tx1"/>
                </a:solidFill>
              </a:rPr>
              <a:t>Municipal binding rules</a:t>
            </a:r>
          </a:p>
        </p:txBody>
      </p:sp>
      <p:sp>
        <p:nvSpPr>
          <p:cNvPr id="62" name="Google Shape;1488;p91">
            <a:extLst>
              <a:ext uri="{FF2B5EF4-FFF2-40B4-BE49-F238E27FC236}">
                <a16:creationId xmlns:a16="http://schemas.microsoft.com/office/drawing/2014/main" id="{5A2B5532-E522-46B2-D477-DC94164963C7}"/>
              </a:ext>
            </a:extLst>
          </p:cNvPr>
          <p:cNvSpPr/>
          <p:nvPr/>
        </p:nvSpPr>
        <p:spPr>
          <a:xfrm>
            <a:off x="3000980" y="2459166"/>
            <a:ext cx="134172" cy="134172"/>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4" name="Google Shape;1490;p91">
            <a:extLst>
              <a:ext uri="{FF2B5EF4-FFF2-40B4-BE49-F238E27FC236}">
                <a16:creationId xmlns:a16="http://schemas.microsoft.com/office/drawing/2014/main" id="{F40020BD-5A15-494A-C9E7-F67F0B36DEF1}"/>
              </a:ext>
            </a:extLst>
          </p:cNvPr>
          <p:cNvSpPr/>
          <p:nvPr/>
        </p:nvSpPr>
        <p:spPr>
          <a:xfrm>
            <a:off x="3000980" y="2793501"/>
            <a:ext cx="134172" cy="134172"/>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5" name="Google Shape;1984;p97">
            <a:extLst>
              <a:ext uri="{FF2B5EF4-FFF2-40B4-BE49-F238E27FC236}">
                <a16:creationId xmlns:a16="http://schemas.microsoft.com/office/drawing/2014/main" id="{6A43E101-74E8-935D-6E62-C6B3E954F37E}"/>
              </a:ext>
            </a:extLst>
          </p:cNvPr>
          <p:cNvSpPr/>
          <p:nvPr/>
        </p:nvSpPr>
        <p:spPr>
          <a:xfrm>
            <a:off x="3000980" y="3214981"/>
            <a:ext cx="134172" cy="134172"/>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800">
              <a:solidFill>
                <a:schemeClr val="dk1"/>
              </a:solidFill>
              <a:ea typeface="Arial"/>
              <a:cs typeface="Arial"/>
              <a:sym typeface="Arial"/>
            </a:endParaRPr>
          </a:p>
        </p:txBody>
      </p:sp>
      <p:sp>
        <p:nvSpPr>
          <p:cNvPr id="67" name="Google Shape;1973;p97">
            <a:extLst>
              <a:ext uri="{FF2B5EF4-FFF2-40B4-BE49-F238E27FC236}">
                <a16:creationId xmlns:a16="http://schemas.microsoft.com/office/drawing/2014/main" id="{7766A145-7EF5-FEA8-31B6-45CC4BB68912}"/>
              </a:ext>
            </a:extLst>
          </p:cNvPr>
          <p:cNvSpPr/>
          <p:nvPr/>
        </p:nvSpPr>
        <p:spPr>
          <a:xfrm>
            <a:off x="3000980" y="3636460"/>
            <a:ext cx="134172" cy="134172"/>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8" name="Google Shape;1978;p97">
            <a:extLst>
              <a:ext uri="{FF2B5EF4-FFF2-40B4-BE49-F238E27FC236}">
                <a16:creationId xmlns:a16="http://schemas.microsoft.com/office/drawing/2014/main" id="{B1805F90-5520-9FAD-C674-DA70DC9656FD}"/>
              </a:ext>
            </a:extLst>
          </p:cNvPr>
          <p:cNvSpPr/>
          <p:nvPr/>
        </p:nvSpPr>
        <p:spPr>
          <a:xfrm>
            <a:off x="3000980" y="4057940"/>
            <a:ext cx="134172" cy="134172"/>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800">
              <a:solidFill>
                <a:schemeClr val="dk1"/>
              </a:solidFill>
              <a:ea typeface="Arial"/>
              <a:cs typeface="Arial"/>
              <a:sym typeface="Arial"/>
            </a:endParaRPr>
          </a:p>
        </p:txBody>
      </p:sp>
      <p:sp>
        <p:nvSpPr>
          <p:cNvPr id="87" name="Rectangle 86">
            <a:extLst>
              <a:ext uri="{FF2B5EF4-FFF2-40B4-BE49-F238E27FC236}">
                <a16:creationId xmlns:a16="http://schemas.microsoft.com/office/drawing/2014/main" id="{0305232F-9841-2B71-6A7A-C468BABA8396}"/>
              </a:ext>
            </a:extLst>
          </p:cNvPr>
          <p:cNvSpPr/>
          <p:nvPr/>
        </p:nvSpPr>
        <p:spPr>
          <a:xfrm rot="5400000">
            <a:off x="4948514" y="1964863"/>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88" name="Rectangle 87">
            <a:extLst>
              <a:ext uri="{FF2B5EF4-FFF2-40B4-BE49-F238E27FC236}">
                <a16:creationId xmlns:a16="http://schemas.microsoft.com/office/drawing/2014/main" id="{182C93B2-7760-B936-47FD-9013FF4C21A8}"/>
              </a:ext>
            </a:extLst>
          </p:cNvPr>
          <p:cNvSpPr/>
          <p:nvPr/>
        </p:nvSpPr>
        <p:spPr>
          <a:xfrm rot="5400000">
            <a:off x="5038514" y="237381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89" name="Rectangle 88">
            <a:extLst>
              <a:ext uri="{FF2B5EF4-FFF2-40B4-BE49-F238E27FC236}">
                <a16:creationId xmlns:a16="http://schemas.microsoft.com/office/drawing/2014/main" id="{640C7315-7ED3-BBE3-D766-31C72E253DEC}"/>
              </a:ext>
            </a:extLst>
          </p:cNvPr>
          <p:cNvSpPr/>
          <p:nvPr/>
        </p:nvSpPr>
        <p:spPr>
          <a:xfrm rot="5400000">
            <a:off x="5038514"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0" name="Rectangle 89">
            <a:extLst>
              <a:ext uri="{FF2B5EF4-FFF2-40B4-BE49-F238E27FC236}">
                <a16:creationId xmlns:a16="http://schemas.microsoft.com/office/drawing/2014/main" id="{C170A0BD-7B65-11DA-B979-9C629CFF2983}"/>
              </a:ext>
            </a:extLst>
          </p:cNvPr>
          <p:cNvSpPr/>
          <p:nvPr/>
        </p:nvSpPr>
        <p:spPr>
          <a:xfrm rot="5400000">
            <a:off x="5038514" y="4077820"/>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1" name="Rectangle 90">
            <a:extLst>
              <a:ext uri="{FF2B5EF4-FFF2-40B4-BE49-F238E27FC236}">
                <a16:creationId xmlns:a16="http://schemas.microsoft.com/office/drawing/2014/main" id="{8806A0DB-EA05-711A-F693-A7F6CD008A65}"/>
              </a:ext>
            </a:extLst>
          </p:cNvPr>
          <p:cNvSpPr/>
          <p:nvPr/>
        </p:nvSpPr>
        <p:spPr>
          <a:xfrm rot="5400000">
            <a:off x="5038514" y="517267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3" name="Rectangle 92">
            <a:extLst>
              <a:ext uri="{FF2B5EF4-FFF2-40B4-BE49-F238E27FC236}">
                <a16:creationId xmlns:a16="http://schemas.microsoft.com/office/drawing/2014/main" id="{43C4590C-01C0-631E-8EF9-095C17B37506}"/>
              </a:ext>
            </a:extLst>
          </p:cNvPr>
          <p:cNvSpPr/>
          <p:nvPr/>
        </p:nvSpPr>
        <p:spPr>
          <a:xfrm rot="5400000">
            <a:off x="8357198" y="2378826"/>
            <a:ext cx="1872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4" name="Rectangle 93">
            <a:extLst>
              <a:ext uri="{FF2B5EF4-FFF2-40B4-BE49-F238E27FC236}">
                <a16:creationId xmlns:a16="http://schemas.microsoft.com/office/drawing/2014/main" id="{B8C5853B-84E3-0DE4-84D1-470F7DBF6DE3}"/>
              </a:ext>
            </a:extLst>
          </p:cNvPr>
          <p:cNvSpPr/>
          <p:nvPr/>
        </p:nvSpPr>
        <p:spPr>
          <a:xfrm rot="5400000">
            <a:off x="8363617"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5" name="Rectangle 94">
            <a:extLst>
              <a:ext uri="{FF2B5EF4-FFF2-40B4-BE49-F238E27FC236}">
                <a16:creationId xmlns:a16="http://schemas.microsoft.com/office/drawing/2014/main" id="{4D674C72-B2C7-8C09-C0B0-640D68164E73}"/>
              </a:ext>
            </a:extLst>
          </p:cNvPr>
          <p:cNvSpPr/>
          <p:nvPr/>
        </p:nvSpPr>
        <p:spPr>
          <a:xfrm rot="5400000">
            <a:off x="8365417" y="4075528"/>
            <a:ext cx="1764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96" name="Rectangle 95">
            <a:extLst>
              <a:ext uri="{FF2B5EF4-FFF2-40B4-BE49-F238E27FC236}">
                <a16:creationId xmlns:a16="http://schemas.microsoft.com/office/drawing/2014/main" id="{B5E80ACD-DBCD-5187-562C-41AB9660CC77}"/>
              </a:ext>
            </a:extLst>
          </p:cNvPr>
          <p:cNvSpPr/>
          <p:nvPr/>
        </p:nvSpPr>
        <p:spPr>
          <a:xfrm rot="5400000">
            <a:off x="8282617" y="5096839"/>
            <a:ext cx="342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rtl="0">
              <a:lnSpc>
                <a:spcPct val="100000"/>
              </a:lnSpc>
            </a:pPr>
            <a:endParaRPr lang="en-GB" sz="1600"/>
          </a:p>
        </p:txBody>
      </p:sp>
      <p:sp>
        <p:nvSpPr>
          <p:cNvPr id="41" name="Rectangle 40">
            <a:extLst>
              <a:ext uri="{FF2B5EF4-FFF2-40B4-BE49-F238E27FC236}">
                <a16:creationId xmlns:a16="http://schemas.microsoft.com/office/drawing/2014/main" id="{7F51333A-570F-899F-A62F-A1F7C6B1390B}"/>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4" name="Group 3">
            <a:extLst>
              <a:ext uri="{FF2B5EF4-FFF2-40B4-BE49-F238E27FC236}">
                <a16:creationId xmlns:a16="http://schemas.microsoft.com/office/drawing/2014/main" id="{9F870685-959B-2F52-BE5D-BB019CA6270F}"/>
              </a:ext>
            </a:extLst>
          </p:cNvPr>
          <p:cNvGrpSpPr/>
          <p:nvPr/>
        </p:nvGrpSpPr>
        <p:grpSpPr>
          <a:xfrm>
            <a:off x="9347534" y="127448"/>
            <a:ext cx="2401514" cy="220690"/>
            <a:chOff x="9347534" y="127448"/>
            <a:chExt cx="2401514" cy="220690"/>
          </a:xfrm>
        </p:grpSpPr>
        <p:sp>
          <p:nvSpPr>
            <p:cNvPr id="5" name="Rectangle 4">
              <a:extLst>
                <a:ext uri="{FF2B5EF4-FFF2-40B4-BE49-F238E27FC236}">
                  <a16:creationId xmlns:a16="http://schemas.microsoft.com/office/drawing/2014/main" id="{564CD646-CAED-8E65-316E-6698540A261C}"/>
                </a:ext>
              </a:extLst>
            </p:cNvPr>
            <p:cNvSpPr/>
            <p:nvPr/>
          </p:nvSpPr>
          <p:spPr>
            <a:xfrm>
              <a:off x="9347534"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DD64AF55-760E-F2B4-F8D3-38D349A5EDF9}"/>
                </a:ext>
              </a:extLst>
            </p:cNvPr>
            <p:cNvSpPr/>
            <p:nvPr/>
          </p:nvSpPr>
          <p:spPr>
            <a:xfrm>
              <a:off x="9589361"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9" name="Rectangle 8">
              <a:extLst>
                <a:ext uri="{FF2B5EF4-FFF2-40B4-BE49-F238E27FC236}">
                  <a16:creationId xmlns:a16="http://schemas.microsoft.com/office/drawing/2014/main" id="{059FC09A-98A2-95C9-C691-1D9D5EA4FDD4}"/>
                </a:ext>
              </a:extLst>
            </p:cNvPr>
            <p:cNvSpPr/>
            <p:nvPr/>
          </p:nvSpPr>
          <p:spPr>
            <a:xfrm>
              <a:off x="9831188" y="130650"/>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C1F70528-36C2-CCA8-1C98-0BE82E9AEC6D}"/>
                </a:ext>
              </a:extLst>
            </p:cNvPr>
            <p:cNvSpPr/>
            <p:nvPr/>
          </p:nvSpPr>
          <p:spPr>
            <a:xfrm>
              <a:off x="10541000" y="127593"/>
              <a:ext cx="1208048"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gb" sz="800" b="1" dirty="0"/>
                <a:t>Special legal regimes</a:t>
              </a:r>
            </a:p>
          </p:txBody>
        </p:sp>
        <p:sp>
          <p:nvSpPr>
            <p:cNvPr id="19" name="Rectangle 18">
              <a:extLst>
                <a:ext uri="{FF2B5EF4-FFF2-40B4-BE49-F238E27FC236}">
                  <a16:creationId xmlns:a16="http://schemas.microsoft.com/office/drawing/2014/main" id="{A302BBC1-C1E5-8E92-C198-371C9A03C149}"/>
                </a:ext>
              </a:extLst>
            </p:cNvPr>
            <p:cNvSpPr/>
            <p:nvPr/>
          </p:nvSpPr>
          <p:spPr>
            <a:xfrm>
              <a:off x="10307878" y="127448"/>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A3AE26B6-68C9-6B64-F285-966F9EB13CBC}"/>
                </a:ext>
              </a:extLst>
            </p:cNvPr>
            <p:cNvSpPr/>
            <p:nvPr/>
          </p:nvSpPr>
          <p:spPr>
            <a:xfrm>
              <a:off x="10073015" y="130650"/>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016510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1/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2</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 Civilā aizsardzība. </a:t>
            </a:r>
            <a:r>
              <a:rPr lang="lv-LV" sz="900" b="0" dirty="0">
                <a:solidFill>
                  <a:srgbClr val="A8192D"/>
                </a:solidFill>
                <a:ea typeface="Open Sans"/>
                <a:cs typeface="Open Sans"/>
              </a:rPr>
              <a:t>https://www.mod.gov.lv/lv/nozares-politika/visaptverosa-valsts-aizsardziba/civila-aizsardziba</a:t>
            </a:r>
          </a:p>
          <a:p>
            <a:pPr marL="172800" indent="-172800">
              <a:spcBef>
                <a:spcPts val="300"/>
              </a:spcBef>
              <a:spcAft>
                <a:spcPts val="300"/>
              </a:spcAft>
              <a:buBlip>
                <a:blip r:embed="rId3"/>
              </a:buBlip>
            </a:pPr>
            <a:r>
              <a:rPr lang="lv-LV" sz="900" b="0" dirty="0">
                <a:solidFill>
                  <a:schemeClr val="tx1"/>
                </a:solidFill>
                <a:ea typeface="Open Sans"/>
                <a:cs typeface="Open Sans"/>
              </a:rPr>
              <a:t>Ārstniecības likums. </a:t>
            </a:r>
            <a:r>
              <a:rPr lang="lv-LV" sz="900" b="0" dirty="0">
                <a:solidFill>
                  <a:srgbClr val="A8192D"/>
                </a:solidFill>
                <a:ea typeface="Open Sans"/>
                <a:cs typeface="Open Sans"/>
              </a:rPr>
              <a:t>https://likumi.lv/ta/id/44108</a:t>
            </a:r>
          </a:p>
          <a:p>
            <a:pPr marL="172800" indent="-172800">
              <a:spcBef>
                <a:spcPts val="300"/>
              </a:spcBef>
              <a:spcAft>
                <a:spcPts val="300"/>
              </a:spcAft>
              <a:buBlip>
                <a:blip r:embed="rId3"/>
              </a:buBlip>
            </a:pPr>
            <a:r>
              <a:rPr lang="lv-LV" sz="900" b="0" dirty="0">
                <a:solidFill>
                  <a:schemeClr val="tx1"/>
                </a:solidFill>
                <a:ea typeface="Open Sans"/>
                <a:cs typeface="Open Sans"/>
              </a:rPr>
              <a:t>Bīstamo kravu aprites likums. </a:t>
            </a:r>
            <a:r>
              <a:rPr lang="lv-LV" sz="900" b="0" dirty="0">
                <a:solidFill>
                  <a:srgbClr val="A8192D"/>
                </a:solidFill>
                <a:ea typeface="Open Sans"/>
                <a:cs typeface="Open Sans"/>
              </a:rPr>
              <a:t>https://likumi.lv/ta/id/220516</a:t>
            </a:r>
          </a:p>
          <a:p>
            <a:pPr marL="172800" indent="-172800">
              <a:spcBef>
                <a:spcPts val="300"/>
              </a:spcBef>
              <a:spcAft>
                <a:spcPts val="300"/>
              </a:spcAft>
              <a:buBlip>
                <a:blip r:embed="rId3"/>
              </a:buBlip>
            </a:pPr>
            <a:r>
              <a:rPr lang="lv-LV" sz="900" b="0" dirty="0">
                <a:solidFill>
                  <a:schemeClr val="tx1"/>
                </a:solidFill>
                <a:ea typeface="Open Sans"/>
                <a:cs typeface="Open Sans"/>
              </a:rPr>
              <a:t>Ceļā uz </a:t>
            </a:r>
            <a:r>
              <a:rPr lang="lv-LV" sz="900" b="0" dirty="0" err="1">
                <a:solidFill>
                  <a:schemeClr val="tx1"/>
                </a:solidFill>
                <a:ea typeface="Open Sans"/>
                <a:cs typeface="Open Sans"/>
              </a:rPr>
              <a:t>klimatnoturīgu</a:t>
            </a:r>
            <a:r>
              <a:rPr lang="lv-LV" sz="900" b="0" dirty="0">
                <a:solidFill>
                  <a:schemeClr val="tx1"/>
                </a:solidFill>
                <a:ea typeface="Open Sans"/>
                <a:cs typeface="Open Sans"/>
              </a:rPr>
              <a:t> Eiropu: jaunā ES </a:t>
            </a:r>
            <a:r>
              <a:rPr lang="lv-LV" sz="900" b="0" dirty="0" err="1">
                <a:solidFill>
                  <a:schemeClr val="tx1"/>
                </a:solidFill>
                <a:ea typeface="Open Sans"/>
                <a:cs typeface="Open Sans"/>
              </a:rPr>
              <a:t>Klimatadaptācijas</a:t>
            </a:r>
            <a:r>
              <a:rPr lang="lv-LV" sz="900" b="0" dirty="0">
                <a:solidFill>
                  <a:schemeClr val="tx1"/>
                </a:solidFill>
                <a:ea typeface="Open Sans"/>
                <a:cs typeface="Open Sans"/>
              </a:rPr>
              <a:t> stratēģija. </a:t>
            </a:r>
            <a:r>
              <a:rPr lang="lv-LV" sz="900" b="0" dirty="0">
                <a:solidFill>
                  <a:srgbClr val="A8192D"/>
                </a:solidFill>
                <a:ea typeface="Open Sans"/>
                <a:cs typeface="Open Sans"/>
              </a:rPr>
              <a:t>https://eur-lex.europa.eu/legal-content/LV/TXT/?uri=CELEX:52021DC0082</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Eiropas Parlamenta un Padomes Regula (ES) 2021/836 (2021. gada 20. maijs), ar ko groza Lēmumu Nr. 1313/2013/ES par Savienības civilās aizsardzības mehānismu (Dokuments attiecas uz EEZ). </a:t>
            </a:r>
            <a:r>
              <a:rPr lang="lv-LV" sz="900" b="0" dirty="0">
                <a:solidFill>
                  <a:srgbClr val="A8192D"/>
                </a:solidFill>
                <a:ea typeface="Open Sans"/>
                <a:cs typeface="Open Sans"/>
              </a:rPr>
              <a:t>https://eur-lex.europa.eu/eli/reg/2021/836/oj</a:t>
            </a:r>
          </a:p>
          <a:p>
            <a:pPr marL="172800" indent="-172800">
              <a:spcBef>
                <a:spcPts val="300"/>
              </a:spcBef>
              <a:spcAft>
                <a:spcPts val="300"/>
              </a:spcAft>
              <a:buBlip>
                <a:blip r:embed="rId3"/>
              </a:buBlip>
            </a:pPr>
            <a:r>
              <a:rPr lang="lv-LV" sz="900" b="0" dirty="0">
                <a:solidFill>
                  <a:schemeClr val="tx1"/>
                </a:solidFill>
                <a:ea typeface="Open Sans"/>
                <a:cs typeface="Open Sans"/>
              </a:rPr>
              <a:t>Eiropas Reģionu komitejas atzinums “Rīcības plāns par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ietvarprogrammu</a:t>
            </a:r>
            <a:r>
              <a:rPr lang="lv-LV" sz="900" b="0" dirty="0">
                <a:solidFill>
                  <a:schemeClr val="tx1"/>
                </a:solidFill>
                <a:ea typeface="Open Sans"/>
                <a:cs typeface="Open Sans"/>
              </a:rPr>
              <a:t> katastrofu riska mazināšanai 2015.–2030. gadam. Uz katastrofu riska novērtēšanu balstīta pieeja visās ES politikas jomās”. </a:t>
            </a:r>
            <a:r>
              <a:rPr lang="lv-LV" sz="900" b="0" dirty="0">
                <a:solidFill>
                  <a:srgbClr val="A8192D"/>
                </a:solidFill>
                <a:ea typeface="Open Sans"/>
                <a:cs typeface="Open Sans"/>
              </a:rPr>
              <a:t>https://eur-lex.europa.eu/legal-content/LV/ALL/?uri=CELEX:52016AR5035</a:t>
            </a:r>
          </a:p>
          <a:p>
            <a:pPr marL="172800" indent="-172800">
              <a:spcBef>
                <a:spcPts val="300"/>
              </a:spcBef>
              <a:spcAft>
                <a:spcPts val="300"/>
              </a:spcAft>
              <a:buBlip>
                <a:blip r:embed="rId3"/>
              </a:buBlip>
            </a:pPr>
            <a:r>
              <a:rPr lang="lv-LV" sz="900" b="0" dirty="0">
                <a:solidFill>
                  <a:schemeClr val="tx1"/>
                </a:solidFill>
                <a:ea typeface="Open Sans"/>
                <a:cs typeface="Open Sans"/>
              </a:rPr>
              <a:t>Eiropas Savienības Padomes un Padomē sanākušo dalībvalstu valdību pārstāvju rezolūcija par regulējumu Eiropas sadarbībai jaunatnes jomā: Eiropas Savienības jaunatnes stratēģija 2019.–2027. gadam. </a:t>
            </a:r>
            <a:r>
              <a:rPr lang="lv-LV" sz="900" b="0" dirty="0">
                <a:solidFill>
                  <a:srgbClr val="A8192D"/>
                </a:solidFill>
                <a:ea typeface="Open Sans"/>
                <a:cs typeface="Open Sans"/>
              </a:rPr>
              <a:t>https://eur-lex.europa.eu/legal-content/LV/TXT/?uri=CELEX%3A42018Y1218%2801%29</a:t>
            </a:r>
          </a:p>
          <a:p>
            <a:pPr marL="172800" indent="-172800">
              <a:spcBef>
                <a:spcPts val="300"/>
              </a:spcBef>
              <a:spcAft>
                <a:spcPts val="300"/>
              </a:spcAft>
              <a:buBlip>
                <a:blip r:embed="rId3"/>
              </a:buBlip>
            </a:pPr>
            <a:r>
              <a:rPr lang="lv-LV" sz="900" b="0" dirty="0">
                <a:solidFill>
                  <a:schemeClr val="tx1"/>
                </a:solidFill>
                <a:ea typeface="Open Sans"/>
                <a:cs typeface="Open Sans"/>
              </a:rPr>
              <a:t>Enerģētikas likums. </a:t>
            </a:r>
            <a:r>
              <a:rPr lang="lv-LV" sz="900" b="0" dirty="0">
                <a:solidFill>
                  <a:srgbClr val="A8192D"/>
                </a:solidFill>
                <a:ea typeface="Open Sans"/>
                <a:cs typeface="Open Sans"/>
              </a:rPr>
              <a:t>https://likumi.lv/ta/id/49833</a:t>
            </a:r>
          </a:p>
          <a:p>
            <a:pPr marL="172800" indent="-172800">
              <a:spcBef>
                <a:spcPts val="300"/>
              </a:spcBef>
              <a:spcAft>
                <a:spcPts val="300"/>
              </a:spcAft>
              <a:buBlip>
                <a:blip r:embed="rId3"/>
              </a:buBlip>
            </a:pPr>
            <a:r>
              <a:rPr lang="lv-LV" sz="900" b="0" dirty="0">
                <a:solidFill>
                  <a:schemeClr val="tx1"/>
                </a:solidFill>
                <a:ea typeface="Open Sans"/>
                <a:cs typeface="Open Sans"/>
              </a:rPr>
              <a:t>Epidemioloģiskās drošības likums. </a:t>
            </a:r>
            <a:r>
              <a:rPr lang="lv-LV" sz="900" b="0" dirty="0">
                <a:solidFill>
                  <a:srgbClr val="A8192D"/>
                </a:solidFill>
                <a:ea typeface="Open Sans"/>
                <a:cs typeface="Open Sans"/>
              </a:rPr>
              <a:t>https://likumi.lv/ta/id/52951</a:t>
            </a:r>
          </a:p>
          <a:p>
            <a:pPr marL="172800" indent="-172800">
              <a:spcBef>
                <a:spcPts val="300"/>
              </a:spcBef>
              <a:spcAft>
                <a:spcPts val="300"/>
              </a:spcAft>
              <a:buBlip>
                <a:blip r:embed="rId3"/>
              </a:buBlip>
            </a:pPr>
            <a:r>
              <a:rPr lang="lv-LV" sz="900" b="0" dirty="0">
                <a:solidFill>
                  <a:schemeClr val="tx1"/>
                </a:solidFill>
                <a:ea typeface="Open Sans"/>
                <a:cs typeface="Open Sans"/>
              </a:rPr>
              <a:t>EU </a:t>
            </a:r>
            <a:r>
              <a:rPr lang="lv-LV" sz="900" b="0" dirty="0" err="1">
                <a:solidFill>
                  <a:schemeClr val="tx1"/>
                </a:solidFill>
                <a:ea typeface="Open Sans"/>
                <a:cs typeface="Open Sans"/>
              </a:rPr>
              <a:t>Strategy</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a:t>
            </a:r>
            <a:r>
              <a:rPr lang="lv-LV" sz="900" b="0" dirty="0" err="1">
                <a:solidFill>
                  <a:schemeClr val="tx1"/>
                </a:solidFill>
                <a:ea typeface="Open Sans"/>
                <a:cs typeface="Open Sans"/>
              </a:rPr>
              <a:t>Baltic</a:t>
            </a:r>
            <a:r>
              <a:rPr lang="lv-LV" sz="900" b="0" dirty="0">
                <a:solidFill>
                  <a:schemeClr val="tx1"/>
                </a:solidFill>
                <a:ea typeface="Open Sans"/>
                <a:cs typeface="Open Sans"/>
              </a:rPr>
              <a:t> </a:t>
            </a:r>
            <a:r>
              <a:rPr lang="lv-LV" sz="900" b="0" dirty="0" err="1">
                <a:solidFill>
                  <a:schemeClr val="tx1"/>
                </a:solidFill>
                <a:ea typeface="Open Sans"/>
                <a:cs typeface="Open Sans"/>
              </a:rPr>
              <a:t>Sea</a:t>
            </a:r>
            <a:r>
              <a:rPr lang="lv-LV" sz="900" b="0" dirty="0">
                <a:solidFill>
                  <a:schemeClr val="tx1"/>
                </a:solidFill>
                <a:ea typeface="Open Sans"/>
                <a:cs typeface="Open Sans"/>
              </a:rPr>
              <a:t> </a:t>
            </a:r>
            <a:r>
              <a:rPr lang="lv-LV" sz="900" b="0" dirty="0" err="1">
                <a:solidFill>
                  <a:schemeClr val="tx1"/>
                </a:solidFill>
                <a:ea typeface="Open Sans"/>
                <a:cs typeface="Open Sans"/>
              </a:rPr>
              <a:t>Region</a:t>
            </a:r>
            <a:r>
              <a:rPr lang="lv-LV" sz="900" b="0" dirty="0">
                <a:solidFill>
                  <a:schemeClr val="tx1"/>
                </a:solidFill>
                <a:ea typeface="Open Sans"/>
                <a:cs typeface="Open Sans"/>
              </a:rPr>
              <a:t>. </a:t>
            </a:r>
            <a:r>
              <a:rPr lang="lv-LV" sz="900" b="0" dirty="0">
                <a:solidFill>
                  <a:srgbClr val="A8192D"/>
                </a:solidFill>
                <a:ea typeface="Open Sans"/>
                <a:cs typeface="Open Sans"/>
              </a:rPr>
              <a:t>https://www.eusbsr.eu/attachments/article/590824/Action%20Plan%202021.PDF</a:t>
            </a:r>
          </a:p>
          <a:p>
            <a:pPr marL="172800" indent="-172800">
              <a:spcBef>
                <a:spcPts val="300"/>
              </a:spcBef>
              <a:spcAft>
                <a:spcPts val="300"/>
              </a:spcAft>
              <a:buBlip>
                <a:blip r:embed="rId3"/>
              </a:buBlip>
            </a:pPr>
            <a:r>
              <a:rPr lang="lv-LV" sz="900" b="0" dirty="0">
                <a:solidFill>
                  <a:schemeClr val="tx1"/>
                </a:solidFill>
                <a:ea typeface="Open Sans"/>
                <a:cs typeface="Open Sans"/>
              </a:rPr>
              <a:t>Konvencija par personu ar invaliditāti tiesībām. </a:t>
            </a:r>
            <a:r>
              <a:rPr lang="lv-LV" sz="900" b="0" dirty="0">
                <a:solidFill>
                  <a:srgbClr val="A8192D"/>
                </a:solidFill>
                <a:ea typeface="Open Sans"/>
                <a:cs typeface="Open Sans"/>
              </a:rPr>
              <a:t>https://likumi.lv/ta/lv/starptautiskie-ligumi/id/1630</a:t>
            </a:r>
          </a:p>
          <a:p>
            <a:pPr marL="172800" indent="-172800">
              <a:spcBef>
                <a:spcPts val="300"/>
              </a:spcBef>
              <a:spcAft>
                <a:spcPts val="300"/>
              </a:spcAft>
              <a:buBlip>
                <a:blip r:embed="rId3"/>
              </a:buBlip>
            </a:pPr>
            <a:r>
              <a:rPr lang="lv-LV" sz="900" b="0" dirty="0">
                <a:solidFill>
                  <a:schemeClr val="tx1"/>
                </a:solidFill>
                <a:ea typeface="Open Sans"/>
                <a:cs typeface="Open Sans"/>
              </a:rPr>
              <a:t>Ķīmisko vielu likums. </a:t>
            </a:r>
            <a:r>
              <a:rPr lang="lv-LV" sz="900" b="0" dirty="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Satversme. </a:t>
            </a:r>
            <a:r>
              <a:rPr lang="lv-LV" sz="900" b="0" dirty="0">
                <a:solidFill>
                  <a:srgbClr val="A8192D"/>
                </a:solidFill>
                <a:ea typeface="Open Sans"/>
                <a:cs typeface="Open Sans"/>
              </a:rPr>
              <a:t>https://likumi.lv/ta/id/57980</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alsts kontrole. 2022. Valsts civilās aizsardzības sistēmas plānošana un gatavība. </a:t>
            </a:r>
            <a:r>
              <a:rPr lang="lv-LV" sz="900" b="0" dirty="0">
                <a:solidFill>
                  <a:srgbClr val="A8192D"/>
                </a:solidFill>
                <a:ea typeface="Open Sans"/>
                <a:cs typeface="Open Sans"/>
              </a:rPr>
              <a:t>https://lrvk.gov.lv/lv/getrevisionfile/29552-BEB0L79wVBRtl5z947s2p5lODAW3jqJh.pdf</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eselības ministrija. Valsts katastrofu medicīnas plāns. </a:t>
            </a:r>
            <a:r>
              <a:rPr lang="lv-LV" sz="900" b="0" dirty="0">
                <a:solidFill>
                  <a:srgbClr val="A8192D"/>
                </a:solidFill>
                <a:ea typeface="Open Sans"/>
                <a:cs typeface="Open Sans"/>
              </a:rPr>
              <a:t>https://www.nmpd.gov.lv/lv/media/769/download</a:t>
            </a:r>
          </a:p>
          <a:p>
            <a:pPr marL="172800" indent="-172800">
              <a:spcBef>
                <a:spcPts val="300"/>
              </a:spcBef>
              <a:spcAft>
                <a:spcPts val="300"/>
              </a:spcAft>
              <a:buBlip>
                <a:blip r:embed="rId3"/>
              </a:buBlip>
            </a:pPr>
            <a:r>
              <a:rPr lang="lv-LV" sz="900" b="0" dirty="0">
                <a:solidFill>
                  <a:schemeClr val="tx1"/>
                </a:solidFill>
                <a:ea typeface="Open Sans"/>
                <a:cs typeface="Open Sans"/>
              </a:rPr>
              <a:t>Likums "Par ārkārtējo situāciju un izņēmuma stāvokli". </a:t>
            </a:r>
            <a:r>
              <a:rPr lang="lv-LV" sz="900" b="0" dirty="0">
                <a:solidFill>
                  <a:srgbClr val="A8192D"/>
                </a:solidFill>
                <a:ea typeface="Open Sans"/>
                <a:cs typeface="Open Sans"/>
              </a:rPr>
              <a:t>https://likumi.lv/ta/id/255713</a:t>
            </a:r>
          </a:p>
        </p:txBody>
      </p:sp>
      <p:sp>
        <p:nvSpPr>
          <p:cNvPr id="4" name="Rectangle 3">
            <a:extLst>
              <a:ext uri="{FF2B5EF4-FFF2-40B4-BE49-F238E27FC236}">
                <a16:creationId xmlns:a16="http://schemas.microsoft.com/office/drawing/2014/main" id="{105587AA-FA0F-DDB0-8F03-3B49380D72FD}"/>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796361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2/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3</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Likums "Par piesārņojumu". </a:t>
            </a:r>
            <a:r>
              <a:rPr lang="lv-LV" sz="900" b="0" dirty="0">
                <a:solidFill>
                  <a:srgbClr val="A8192D"/>
                </a:solidFill>
                <a:ea typeface="Open Sans"/>
                <a:cs typeface="Open Sans"/>
              </a:rPr>
              <a:t>https://likumi.lv/ta/id/6075</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Likums "Par radiācijas drošību un kodoldrošību". </a:t>
            </a:r>
            <a:r>
              <a:rPr lang="lv-LV" sz="900" b="0" dirty="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9. janvāra noteikumi Nr. 40 "Valsts enerģētiskās krīzes centra nolikums". </a:t>
            </a:r>
            <a:r>
              <a:rPr lang="lv-LV" sz="900" b="0" dirty="0">
                <a:solidFill>
                  <a:srgbClr val="A8192D"/>
                </a:solidFill>
                <a:ea typeface="Open Sans"/>
                <a:cs typeface="Open Sans"/>
              </a:rPr>
              <a:t>https://likumi.lv/ta/id/5843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a:t>
            </a:r>
            <a:r>
              <a:rPr lang="lv-LV" sz="900" b="0" dirty="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1. gada 13. decembra noteikumi Nr. 948 "Katastrofu medicīnas sistēmas organizēšanas noteikumi". </a:t>
            </a:r>
            <a:r>
              <a:rPr lang="lv-LV" sz="900" b="0" dirty="0">
                <a:solidFill>
                  <a:srgbClr val="A8192D"/>
                </a:solidFill>
                <a:ea typeface="Open Sans"/>
                <a:cs typeface="Open Sans"/>
              </a:rPr>
              <a:t>https://likumi.lv/ta/id/24141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a:t>
            </a:r>
            <a:r>
              <a:rPr lang="lv-LV" sz="900" b="0" dirty="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26. septembra noteikumi Nr. 582 "Noteikumi par pašvaldību sadarbības teritorijas civilās aizsardzības komisijām". </a:t>
            </a:r>
            <a:r>
              <a:rPr lang="lv-LV" sz="900" b="0" dirty="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5. decembra noteikumi Nr. 716 "Minimālās prasības obligātā civilās aizsardzības kursa saturam un nodarbināto civilās aizsardzības apmācības saturam". </a:t>
            </a:r>
            <a:r>
              <a:rPr lang="lv-LV" sz="900" b="0" dirty="0">
                <a:solidFill>
                  <a:srgbClr val="A8192D"/>
                </a:solidFill>
                <a:ea typeface="Open Sans"/>
                <a:cs typeface="Open Sans"/>
              </a:rPr>
              <a:t>https://likumi.lv/ta/id/29589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1. gada 21. janvāra noteikumi Nr. 46 "Paaugstinātas bīstamības objektu saraksts". </a:t>
            </a:r>
            <a:r>
              <a:rPr lang="lv-LV" sz="900" b="0" dirty="0">
                <a:solidFill>
                  <a:srgbClr val="A8192D"/>
                </a:solidFill>
                <a:ea typeface="Open Sans"/>
                <a:cs typeface="Open Sans"/>
              </a:rPr>
              <a:t>https://likumi.lv/ta/id/320469</a:t>
            </a:r>
          </a:p>
          <a:p>
            <a:pPr marL="172800" indent="-172800">
              <a:spcBef>
                <a:spcPts val="300"/>
              </a:spcBef>
              <a:spcAft>
                <a:spcPts val="300"/>
              </a:spcAft>
              <a:buBlip>
                <a:blip r:embed="rId3"/>
              </a:buBlip>
            </a:pPr>
            <a:r>
              <a:rPr lang="lv-LV" sz="900" b="0" dirty="0">
                <a:solidFill>
                  <a:schemeClr val="tx1"/>
                </a:solidFill>
                <a:ea typeface="Open Sans"/>
                <a:cs typeface="Open Sans"/>
              </a:rPr>
              <a:t>Nacionālās drošības liku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Katastrofu medicīnas sistēma. </a:t>
            </a:r>
            <a:r>
              <a:rPr lang="lv-LV" sz="900" b="0" dirty="0">
                <a:solidFill>
                  <a:srgbClr val="A8192D"/>
                </a:solidFill>
                <a:ea typeface="Open Sans"/>
                <a:cs typeface="Open Sans"/>
              </a:rPr>
              <a:t>https://www.nmpd.gov.lv/lv/katastrofu-medicinas-sistema-0</a:t>
            </a:r>
          </a:p>
          <a:p>
            <a:pPr marL="172800" indent="-172800">
              <a:spcBef>
                <a:spcPts val="300"/>
              </a:spcBef>
              <a:spcAft>
                <a:spcPts val="300"/>
              </a:spcAft>
              <a:buBlip>
                <a:blip r:embed="rId3"/>
              </a:buBlip>
            </a:pPr>
            <a:r>
              <a:rPr lang="lv-LV" sz="900" b="0" dirty="0">
                <a:solidFill>
                  <a:schemeClr val="tx1"/>
                </a:solidFill>
                <a:ea typeface="Open Sans"/>
                <a:cs typeface="Open Sans"/>
              </a:rPr>
              <a:t>Parīzes nolīgums. 2016. </a:t>
            </a:r>
            <a:r>
              <a:rPr lang="lv-LV" sz="900" b="0" dirty="0">
                <a:solidFill>
                  <a:srgbClr val="A8192D"/>
                </a:solidFill>
                <a:ea typeface="Open Sans"/>
                <a:cs typeface="Open Sans"/>
              </a:rPr>
              <a:t>https://eur-lex.europa.eu/legal-content/LV/ALL/?uri=CELEX:22016A1019(01)</a:t>
            </a:r>
          </a:p>
          <a:p>
            <a:pPr marL="172800" indent="-172800">
              <a:spcBef>
                <a:spcPts val="300"/>
              </a:spcBef>
              <a:spcAft>
                <a:spcPts val="300"/>
              </a:spcAft>
              <a:buBlip>
                <a:blip r:embed="rId3"/>
              </a:buBlip>
            </a:pPr>
            <a:r>
              <a:rPr lang="lv-LV" sz="900" b="0" dirty="0">
                <a:solidFill>
                  <a:schemeClr val="tx1"/>
                </a:solidFill>
                <a:ea typeface="Open Sans"/>
                <a:cs typeface="Open Sans"/>
              </a:rPr>
              <a:t>Saeimas 2023. gada 11. maija paziņojums "Par Ministru kabineta 2023. gada 2. maija rīkojumu Nr. 252, ar kuru grozīts 2021. gada 10. augusta rīkojums Nr. 518 "Par ārkārtējās situācijas izsludināšanu"". </a:t>
            </a:r>
            <a:r>
              <a:rPr lang="lv-LV" sz="900" b="0" dirty="0">
                <a:solidFill>
                  <a:srgbClr val="A8192D"/>
                </a:solidFill>
                <a:ea typeface="Open Sans"/>
                <a:cs typeface="Open Sans"/>
              </a:rPr>
              <a:t>https://likumi.lv/ta/id/341834</a:t>
            </a:r>
          </a:p>
          <a:p>
            <a:pPr marL="172800" indent="-172800">
              <a:spcBef>
                <a:spcPts val="300"/>
              </a:spcBef>
              <a:spcAft>
                <a:spcPts val="300"/>
              </a:spcAft>
              <a:buBlip>
                <a:blip r:embed="rId3"/>
              </a:buBlip>
            </a:pPr>
            <a:r>
              <a:rPr lang="lv-LV" sz="900" b="0" dirty="0">
                <a:solidFill>
                  <a:schemeClr val="tx1"/>
                </a:solidFill>
                <a:ea typeface="Open Sans"/>
                <a:cs typeface="Open Sans"/>
              </a:rPr>
              <a:t>Saeimas 2023. gada 28. septembra paziņojums "Par Nacionālās drošības koncepcijas apstiprināšanu". </a:t>
            </a:r>
            <a:r>
              <a:rPr lang="lv-LV" sz="900" b="0" dirty="0">
                <a:solidFill>
                  <a:srgbClr val="A8192D"/>
                </a:solidFill>
                <a:ea typeface="Open Sans"/>
                <a:cs typeface="Open Sans"/>
              </a:rPr>
              <a:t>https://likumi.lv/ta/id/345911</a:t>
            </a:r>
          </a:p>
          <a:p>
            <a:pPr marL="172800" indent="-172800">
              <a:spcBef>
                <a:spcPts val="300"/>
              </a:spcBef>
              <a:spcAft>
                <a:spcPts val="300"/>
              </a:spcAft>
              <a:buBlip>
                <a:blip r:embed="rId3"/>
              </a:buBlip>
            </a:pPr>
            <a:r>
              <a:rPr lang="lv-LV" sz="900" b="0" dirty="0">
                <a:solidFill>
                  <a:schemeClr val="tx1"/>
                </a:solidFill>
                <a:ea typeface="Open Sans"/>
                <a:cs typeface="Open Sans"/>
              </a:rPr>
              <a:t>Starptautiskās palīdzības likums. </a:t>
            </a:r>
            <a:r>
              <a:rPr lang="lv-LV" sz="900" b="0" dirty="0">
                <a:solidFill>
                  <a:srgbClr val="A8192D"/>
                </a:solidFill>
                <a:ea typeface="Open Sans"/>
                <a:cs typeface="Open Sans"/>
              </a:rPr>
              <a:t>https://likumi.lv/ta/id/175254</a:t>
            </a:r>
          </a:p>
          <a:p>
            <a:pPr marL="172800" indent="-172800">
              <a:spcBef>
                <a:spcPts val="300"/>
              </a:spcBef>
              <a:spcAft>
                <a:spcPts val="300"/>
              </a:spcAft>
              <a:buBlip>
                <a:blip r:embed="rId3"/>
              </a:buBlip>
            </a:pPr>
            <a:r>
              <a:rPr lang="lv-LV" sz="900" b="0" dirty="0">
                <a:solidFill>
                  <a:schemeClr val="tx1"/>
                </a:solidFill>
                <a:ea typeface="Open Sans"/>
                <a:cs typeface="Open Sans"/>
              </a:rPr>
              <a:t>Ugunsdrošības un ugunsdzēsības likums. </a:t>
            </a:r>
            <a:r>
              <a:rPr lang="lv-LV" sz="900" b="0" dirty="0">
                <a:solidFill>
                  <a:srgbClr val="A8192D"/>
                </a:solidFill>
                <a:ea typeface="Open Sans"/>
                <a:cs typeface="Open Sans"/>
              </a:rPr>
              <a:t>https://likumi.lv/ta/id/68293</a:t>
            </a:r>
          </a:p>
        </p:txBody>
      </p:sp>
      <p:sp>
        <p:nvSpPr>
          <p:cNvPr id="4" name="Rectangle 3">
            <a:extLst>
              <a:ext uri="{FF2B5EF4-FFF2-40B4-BE49-F238E27FC236}">
                <a16:creationId xmlns:a16="http://schemas.microsoft.com/office/drawing/2014/main" id="{98C84147-9168-8D75-2941-0234E6F2685C}"/>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1527880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err="1"/>
              <a:t>Sources</a:t>
            </a:r>
            <a:r>
              <a:rPr lang="lv-LV" dirty="0"/>
              <a:t> </a:t>
            </a:r>
            <a:r>
              <a:rPr lang="lv-LV" dirty="0" err="1"/>
              <a:t>of</a:t>
            </a:r>
            <a:r>
              <a:rPr lang="lv-LV" dirty="0"/>
              <a:t> </a:t>
            </a:r>
            <a:r>
              <a:rPr lang="lv-LV" dirty="0" err="1"/>
              <a:t>information</a:t>
            </a:r>
            <a:r>
              <a:rPr lang="lv-LV" dirty="0"/>
              <a:t> (3/3)</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a:t>
            </a:r>
            <a:r>
              <a:rPr lang="lv-LV" sz="900" b="0" dirty="0" err="1">
                <a:solidFill>
                  <a:schemeClr val="tx1"/>
                </a:solidFill>
                <a:ea typeface="Open Sans"/>
                <a:cs typeface="Open Sans"/>
              </a:rPr>
              <a:t>Nations</a:t>
            </a:r>
            <a:r>
              <a:rPr lang="lv-LV" sz="900" b="0" dirty="0">
                <a:solidFill>
                  <a:schemeClr val="tx1"/>
                </a:solidFill>
                <a:ea typeface="Open Sans"/>
                <a:cs typeface="Open Sans"/>
              </a:rPr>
              <a:t> Office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Framework</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2015-2030. </a:t>
            </a:r>
            <a:r>
              <a:rPr lang="lv-LV" sz="900" b="0" dirty="0">
                <a:solidFill>
                  <a:srgbClr val="A8192D"/>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a:t>
            </a:r>
            <a:r>
              <a:rPr lang="lv-LV" sz="900" b="0" dirty="0" err="1">
                <a:solidFill>
                  <a:schemeClr val="tx1"/>
                </a:solidFill>
                <a:ea typeface="Open Sans"/>
                <a:cs typeface="Open Sans"/>
              </a:rPr>
              <a:t>Nations</a:t>
            </a:r>
            <a:r>
              <a:rPr lang="lv-LV" sz="900" b="0" dirty="0">
                <a:solidFill>
                  <a:schemeClr val="tx1"/>
                </a:solidFill>
                <a:ea typeface="Open Sans"/>
                <a:cs typeface="Open Sans"/>
              </a:rPr>
              <a:t>. </a:t>
            </a:r>
            <a:r>
              <a:rPr lang="lv-LV" sz="900" b="0" dirty="0" err="1">
                <a:solidFill>
                  <a:schemeClr val="tx1"/>
                </a:solidFill>
                <a:ea typeface="Open Sans"/>
                <a:cs typeface="Open Sans"/>
              </a:rPr>
              <a:t>Transforming</a:t>
            </a:r>
            <a:r>
              <a:rPr lang="lv-LV" sz="900" b="0" dirty="0">
                <a:solidFill>
                  <a:schemeClr val="tx1"/>
                </a:solidFill>
                <a:ea typeface="Open Sans"/>
                <a:cs typeface="Open Sans"/>
              </a:rPr>
              <a:t> </a:t>
            </a:r>
            <a:r>
              <a:rPr lang="lv-LV" sz="900" b="0" dirty="0" err="1">
                <a:solidFill>
                  <a:schemeClr val="tx1"/>
                </a:solidFill>
                <a:ea typeface="Open Sans"/>
                <a:cs typeface="Open Sans"/>
              </a:rPr>
              <a:t>our</a:t>
            </a:r>
            <a:r>
              <a:rPr lang="lv-LV" sz="900" b="0" dirty="0">
                <a:solidFill>
                  <a:schemeClr val="tx1"/>
                </a:solidFill>
                <a:ea typeface="Open Sans"/>
                <a:cs typeface="Open Sans"/>
              </a:rPr>
              <a:t> </a:t>
            </a:r>
            <a:r>
              <a:rPr lang="lv-LV" sz="900" b="0" dirty="0" err="1">
                <a:solidFill>
                  <a:schemeClr val="tx1"/>
                </a:solidFill>
                <a:ea typeface="Open Sans"/>
                <a:cs typeface="Open Sans"/>
              </a:rPr>
              <a:t>world</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2030 </a:t>
            </a:r>
            <a:r>
              <a:rPr lang="lv-LV" sz="900" b="0" dirty="0" err="1">
                <a:solidFill>
                  <a:schemeClr val="tx1"/>
                </a:solidFill>
                <a:ea typeface="Open Sans"/>
                <a:cs typeface="Open Sans"/>
              </a:rPr>
              <a:t>Agenda</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Sustainable</a:t>
            </a:r>
            <a:r>
              <a:rPr lang="lv-LV" sz="900" b="0" dirty="0">
                <a:solidFill>
                  <a:schemeClr val="tx1"/>
                </a:solidFill>
                <a:ea typeface="Open Sans"/>
                <a:cs typeface="Open Sans"/>
              </a:rPr>
              <a:t> </a:t>
            </a:r>
            <a:r>
              <a:rPr lang="lv-LV" sz="900" b="0" dirty="0" err="1">
                <a:solidFill>
                  <a:schemeClr val="tx1"/>
                </a:solidFill>
                <a:ea typeface="Open Sans"/>
                <a:cs typeface="Open Sans"/>
              </a:rPr>
              <a:t>Development</a:t>
            </a:r>
            <a:r>
              <a:rPr lang="lv-LV" sz="900" b="0" dirty="0">
                <a:solidFill>
                  <a:schemeClr val="tx1"/>
                </a:solidFill>
                <a:ea typeface="Open Sans"/>
                <a:cs typeface="Open Sans"/>
              </a:rPr>
              <a:t>. </a:t>
            </a:r>
            <a:r>
              <a:rPr lang="lv-LV" sz="900" b="0" dirty="0">
                <a:solidFill>
                  <a:srgbClr val="A8192D"/>
                </a:solidFill>
                <a:ea typeface="Open Sans"/>
                <a:cs typeface="Open Sans"/>
              </a:rPr>
              <a:t>https://sdgs.un.org/2030agenda</a:t>
            </a:r>
          </a:p>
          <a:p>
            <a:pPr marL="172800" indent="-172800">
              <a:spcBef>
                <a:spcPts val="300"/>
              </a:spcBef>
              <a:spcAft>
                <a:spcPts val="300"/>
              </a:spcAft>
              <a:buBlip>
                <a:blip r:embed="rId3"/>
              </a:buBlip>
            </a:pPr>
            <a:r>
              <a:rPr lang="lv-LV" sz="900" b="0" dirty="0">
                <a:solidFill>
                  <a:schemeClr val="tx1"/>
                </a:solidFill>
                <a:ea typeface="Open Sans"/>
                <a:cs typeface="Open Sans"/>
              </a:rPr>
              <a:t>Valsts materiālo rezervju likums. </a:t>
            </a:r>
            <a:r>
              <a:rPr lang="lv-LV" sz="900" b="0" dirty="0">
                <a:solidFill>
                  <a:srgbClr val="A8192D"/>
                </a:solidFill>
                <a:ea typeface="Open Sans"/>
                <a:cs typeface="Open Sans"/>
              </a:rPr>
              <a:t>https://likumi.lv/ta/id/302995</a:t>
            </a:r>
          </a:p>
          <a:p>
            <a:pPr marL="172800" indent="-172800">
              <a:spcBef>
                <a:spcPts val="300"/>
              </a:spcBef>
              <a:spcAft>
                <a:spcPts val="300"/>
              </a:spcAft>
              <a:buBlip>
                <a:blip r:embed="rId3"/>
              </a:buBlip>
            </a:pPr>
            <a:r>
              <a:rPr lang="lv-LV" sz="900" b="0" dirty="0">
                <a:solidFill>
                  <a:schemeClr val="tx1"/>
                </a:solidFill>
                <a:ea typeface="Open Sans"/>
                <a:cs typeface="Open Sans"/>
              </a:rPr>
              <a:t>Zemkopības ministrija. 2023. 32 novados Latvijā no 1. aprīļa līdz 30. jūnijam izsludināta ārkārtējā situācija egļu mežaudzēm ļoti bīstamā egļu </a:t>
            </a:r>
            <a:r>
              <a:rPr lang="lv-LV" sz="900" b="0" dirty="0" err="1">
                <a:solidFill>
                  <a:schemeClr val="tx1"/>
                </a:solidFill>
                <a:ea typeface="Open Sans"/>
                <a:cs typeface="Open Sans"/>
              </a:rPr>
              <a:t>astoņzobu</a:t>
            </a:r>
            <a:r>
              <a:rPr lang="lv-LV" sz="900" b="0" dirty="0">
                <a:solidFill>
                  <a:schemeClr val="tx1"/>
                </a:solidFill>
                <a:ea typeface="Open Sans"/>
                <a:cs typeface="Open Sans"/>
              </a:rPr>
              <a:t> mizgrauža ierobežošanai. </a:t>
            </a:r>
            <a:r>
              <a:rPr lang="lv-LV" sz="900" b="0" dirty="0">
                <a:solidFill>
                  <a:srgbClr val="A8192D"/>
                </a:solidFill>
                <a:ea typeface="Open Sans"/>
                <a:cs typeface="Open Sans"/>
              </a:rPr>
              <a:t>https://www.zm.gov.lv/lv/jaunums/32-novados-latvija-no-1-aprila-lidz-30-junijam-izsludinata-arkarteja-situacija-eglu-mezaudzem-loti-bistama-eglu-astonzobu-mizgrauza-ierobezosanai</a:t>
            </a:r>
          </a:p>
          <a:p>
            <a:pPr marL="172800" indent="-172800">
              <a:spcBef>
                <a:spcPts val="300"/>
              </a:spcBef>
              <a:spcAft>
                <a:spcPts val="300"/>
              </a:spcAft>
              <a:buBlip>
                <a:blip r:embed="rId3"/>
              </a:buBlip>
            </a:pPr>
            <a:endParaRPr lang="lv-LV" sz="900" b="0" dirty="0">
              <a:solidFill>
                <a:schemeClr val="tx1"/>
              </a:solidFill>
              <a:ea typeface="Open Sans"/>
              <a:cs typeface="Open Sans"/>
            </a:endParaRPr>
          </a:p>
        </p:txBody>
      </p:sp>
      <p:sp>
        <p:nvSpPr>
          <p:cNvPr id="4" name="Rectangle 3">
            <a:extLst>
              <a:ext uri="{FF2B5EF4-FFF2-40B4-BE49-F238E27FC236}">
                <a16:creationId xmlns:a16="http://schemas.microsoft.com/office/drawing/2014/main" id="{494C7222-AE98-0AC7-435A-C552BE73C91E}"/>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3140329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448A3B5-3EE2-FA0B-8381-A23067061EC1}"/>
              </a:ext>
            </a:extLst>
          </p:cNvPr>
          <p:cNvPicPr>
            <a:picLocks noChangeAspect="1"/>
          </p:cNvPicPr>
          <p:nvPr/>
        </p:nvPicPr>
        <p:blipFill rotWithShape="1">
          <a:blip r:embed="rId3"/>
          <a:srcRect b="23131"/>
          <a:stretch/>
        </p:blipFill>
        <p:spPr>
          <a:xfrm>
            <a:off x="442911" y="3460253"/>
            <a:ext cx="5463617" cy="2638717"/>
          </a:xfrm>
          <a:prstGeom prst="rect">
            <a:avLst/>
          </a:prstGeom>
        </p:spPr>
      </p:pic>
      <p:pic>
        <p:nvPicPr>
          <p:cNvPr id="14" name="Picture 13">
            <a:extLst>
              <a:ext uri="{FF2B5EF4-FFF2-40B4-BE49-F238E27FC236}">
                <a16:creationId xmlns:a16="http://schemas.microsoft.com/office/drawing/2014/main" id="{5F50378F-4442-C830-0F6D-C21B955A2DF0}"/>
              </a:ext>
            </a:extLst>
          </p:cNvPr>
          <p:cNvPicPr>
            <a:picLocks noChangeAspect="1"/>
          </p:cNvPicPr>
          <p:nvPr/>
        </p:nvPicPr>
        <p:blipFill rotWithShape="1">
          <a:blip r:embed="rId4"/>
          <a:srcRect b="26801"/>
          <a:stretch/>
        </p:blipFill>
        <p:spPr>
          <a:xfrm>
            <a:off x="6265299" y="3460253"/>
            <a:ext cx="5483785" cy="2676065"/>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p:txBody>
          <a:bodyPr vert="horz" rtlCol="0"/>
          <a:lstStyle/>
          <a:p>
            <a:pPr rtl="0"/>
            <a:r>
              <a:rPr lang="en-gb" noProof="0" dirty="0"/>
              <a:t>Introductory </a:t>
            </a:r>
            <a:r>
              <a:rPr lang="lv-LV" noProof="0" dirty="0"/>
              <a:t>D</a:t>
            </a:r>
            <a:r>
              <a:rPr lang="en-gb" noProof="0" dirty="0" err="1"/>
              <a:t>iscussion</a:t>
            </a:r>
            <a:r>
              <a:rPr lang="en-gb" noProof="0" dirty="0"/>
              <a:t> with </a:t>
            </a:r>
            <a:r>
              <a:rPr lang="lv-LV" dirty="0"/>
              <a:t>E</a:t>
            </a:r>
            <a:r>
              <a:rPr lang="en-GB" dirty="0" err="1"/>
              <a:t>ducatees</a:t>
            </a:r>
            <a:r>
              <a:rPr lang="en-GB" dirty="0"/>
              <a:t> </a:t>
            </a:r>
            <a:r>
              <a:rPr lang="en-gb" noProof="0" dirty="0"/>
              <a:t>on </a:t>
            </a:r>
            <a:r>
              <a:rPr lang="en-US" noProof="0" dirty="0"/>
              <a:t>the </a:t>
            </a:r>
            <a:r>
              <a:rPr lang="lv-LV" noProof="0" dirty="0"/>
              <a:t>S</a:t>
            </a:r>
            <a:r>
              <a:rPr lang="en-US" noProof="0" dirty="0" err="1"/>
              <a:t>ystem</a:t>
            </a:r>
            <a:r>
              <a:rPr lang="en-US" noProof="0" dirty="0"/>
              <a:t> of </a:t>
            </a:r>
            <a:r>
              <a:rPr lang="lv-LV" noProof="0" dirty="0"/>
              <a:t>C</a:t>
            </a:r>
            <a:r>
              <a:rPr lang="en-US" noProof="0" dirty="0" err="1"/>
              <a:t>ivil</a:t>
            </a:r>
            <a:r>
              <a:rPr lang="en-US" noProof="0" dirty="0"/>
              <a:t> </a:t>
            </a:r>
            <a:r>
              <a:rPr lang="lv-LV" dirty="0"/>
              <a:t>P</a:t>
            </a:r>
            <a:r>
              <a:rPr lang="en-US" noProof="0" dirty="0" err="1"/>
              <a:t>rotection</a:t>
            </a:r>
            <a:r>
              <a:rPr lang="lv-LV" noProof="0" dirty="0"/>
              <a:t> </a:t>
            </a:r>
            <a:r>
              <a:rPr lang="en-gb" dirty="0"/>
              <a:t>in Latvia</a:t>
            </a:r>
            <a:endParaRPr lang="lv-LV" noProof="0" dirty="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rtlCol="0"/>
          <a:lstStyle/>
          <a:p>
            <a:pPr rtl="0"/>
            <a:fld id="{7870704B-CE94-48CC-AF30-84932A1262A7}" type="slidenum">
              <a:rPr lang="en-GB" smtClean="0"/>
              <a:pPr rtl="0"/>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a:solidFill>
                  <a:schemeClr val="tx1"/>
                </a:solidFill>
              </a:rPr>
              <a:t>Can you name </a:t>
            </a:r>
            <a:r>
              <a:rPr lang="lv-LV" sz="1600" err="1">
                <a:solidFill>
                  <a:schemeClr val="tx1"/>
                </a:solidFill>
              </a:rPr>
              <a:t>any</a:t>
            </a:r>
            <a:r>
              <a:rPr lang="lv-LV" sz="1600">
                <a:solidFill>
                  <a:schemeClr val="tx1"/>
                </a:solidFill>
              </a:rPr>
              <a:t> </a:t>
            </a:r>
            <a:r>
              <a:rPr lang="en-gb" sz="1600">
                <a:solidFill>
                  <a:schemeClr val="tx1"/>
                </a:solidFill>
              </a:rPr>
              <a:t>civil protection-related legislation? </a:t>
            </a:r>
            <a:endParaRPr lang="en-US" altLang="lv-LV" sz="160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a:solidFill>
                  <a:schemeClr val="tx1"/>
                </a:solidFill>
              </a:rPr>
              <a:t>Do you know of any cases where </a:t>
            </a:r>
            <a:r>
              <a:rPr lang="lv-LV" sz="1600">
                <a:solidFill>
                  <a:schemeClr val="tx1"/>
                </a:solidFill>
              </a:rPr>
              <a:t>e</a:t>
            </a:r>
            <a:r>
              <a:rPr lang="en-GB" sz="1600" err="1">
                <a:solidFill>
                  <a:schemeClr val="tx1"/>
                </a:solidFill>
              </a:rPr>
              <a:t>mergency</a:t>
            </a:r>
            <a:r>
              <a:rPr lang="en-GB" sz="1600">
                <a:solidFill>
                  <a:schemeClr val="tx1"/>
                </a:solidFill>
              </a:rPr>
              <a:t> </a:t>
            </a:r>
            <a:r>
              <a:rPr lang="lv-LV" sz="1600">
                <a:solidFill>
                  <a:schemeClr val="tx1"/>
                </a:solidFill>
              </a:rPr>
              <a:t>s</a:t>
            </a:r>
            <a:r>
              <a:rPr lang="en-GB" sz="1600" err="1">
                <a:solidFill>
                  <a:schemeClr val="tx1"/>
                </a:solidFill>
              </a:rPr>
              <a:t>ituation</a:t>
            </a:r>
            <a:r>
              <a:rPr lang="en-gb" sz="1600">
                <a:solidFill>
                  <a:schemeClr val="tx1"/>
                </a:solidFill>
              </a:rPr>
              <a:t> has been declared in Latvia?</a:t>
            </a:r>
            <a:endParaRPr lang="lv-LV" altLang="lv-LV" sz="160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24" name="Freeform 20">
            <a:extLst>
              <a:ext uri="{FF2B5EF4-FFF2-40B4-BE49-F238E27FC236}">
                <a16:creationId xmlns:a16="http://schemas.microsoft.com/office/drawing/2014/main" id="{27E887F0-3432-3828-7003-D6E223AC187A}"/>
              </a:ext>
            </a:extLst>
          </p:cNvPr>
          <p:cNvSpPr>
            <a:spLocks noChangeAspect="1" noEditPoints="1"/>
          </p:cNvSpPr>
          <p:nvPr/>
        </p:nvSpPr>
        <p:spPr bwMode="auto">
          <a:xfrm>
            <a:off x="508506" y="2339163"/>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
        <p:nvSpPr>
          <p:cNvPr id="25" name="Freeform 65">
            <a:extLst>
              <a:ext uri="{FF2B5EF4-FFF2-40B4-BE49-F238E27FC236}">
                <a16:creationId xmlns:a16="http://schemas.microsoft.com/office/drawing/2014/main" id="{A6593E3D-0509-B640-EC4B-6292EFB8D3D1}"/>
              </a:ext>
            </a:extLst>
          </p:cNvPr>
          <p:cNvSpPr>
            <a:spLocks noChangeAspect="1" noEditPoints="1"/>
          </p:cNvSpPr>
          <p:nvPr/>
        </p:nvSpPr>
        <p:spPr bwMode="auto">
          <a:xfrm>
            <a:off x="6352094" y="2339163"/>
            <a:ext cx="455613" cy="45720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Rectangle 1">
            <a:extLst>
              <a:ext uri="{FF2B5EF4-FFF2-40B4-BE49-F238E27FC236}">
                <a16:creationId xmlns:a16="http://schemas.microsoft.com/office/drawing/2014/main" id="{9EBB1A10-B839-59E0-2CA7-70BDCBFE568A}"/>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1076096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917" r="32559"/>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dirty="0"/>
              <a:t>2</a:t>
            </a:r>
            <a:r>
              <a:rPr lang="en-gb" sz="4000" dirty="0">
                <a:latin typeface="+mj-lt"/>
              </a:rPr>
              <a:t>.1. </a:t>
            </a:r>
            <a:r>
              <a:rPr lang="en-US" sz="4000" dirty="0">
                <a:latin typeface="+mj-lt"/>
              </a:rPr>
              <a:t>Structure and Role of the System of Civil Protection in the National Security System</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895C67C0-8232-71F7-D5D4-B855F09A32F0}"/>
              </a:ext>
            </a:extLst>
          </p:cNvPr>
          <p:cNvGraphicFramePr>
            <a:graphicFrameLocks noChangeAspect="1"/>
          </p:cNvGraphicFramePr>
          <p:nvPr>
            <p:custDataLst>
              <p:tags r:id="rId1"/>
            </p:custDataLst>
            <p:extLst>
              <p:ext uri="{D42A27DB-BD31-4B8C-83A1-F6EECF244321}">
                <p14:modId xmlns:p14="http://schemas.microsoft.com/office/powerpoint/2010/main" val="80679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think-cell data - do not delete" hidden="1">
                        <a:extLst>
                          <a:ext uri="{FF2B5EF4-FFF2-40B4-BE49-F238E27FC236}">
                            <a16:creationId xmlns:a16="http://schemas.microsoft.com/office/drawing/2014/main" id="{895C67C0-8232-71F7-D5D4-B855F09A32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32BEDB9C-EB44-3430-B207-FA719672649E}"/>
              </a:ext>
            </a:extLst>
          </p:cNvPr>
          <p:cNvSpPr>
            <a:spLocks noGrp="1"/>
          </p:cNvSpPr>
          <p:nvPr>
            <p:ph type="title"/>
          </p:nvPr>
        </p:nvSpPr>
        <p:spPr>
          <a:xfrm>
            <a:off x="442913" y="431800"/>
            <a:ext cx="11306175" cy="1387475"/>
          </a:xfrm>
        </p:spPr>
        <p:txBody>
          <a:bodyPr vert="horz" rtlCol="0"/>
          <a:lstStyle/>
          <a:p>
            <a:pPr rtl="0"/>
            <a:r>
              <a:rPr lang="en-gb" dirty="0"/>
              <a:t>The </a:t>
            </a:r>
            <a:r>
              <a:rPr lang="lv-LV" dirty="0"/>
              <a:t>R</a:t>
            </a:r>
            <a:r>
              <a:rPr lang="en-gb" dirty="0"/>
              <a:t>ole of </a:t>
            </a:r>
            <a:r>
              <a:rPr lang="lv-LV" dirty="0"/>
              <a:t>C</a:t>
            </a:r>
            <a:r>
              <a:rPr lang="en-gb" dirty="0" err="1"/>
              <a:t>ivil</a:t>
            </a:r>
            <a:r>
              <a:rPr lang="en-gb" dirty="0"/>
              <a:t> </a:t>
            </a:r>
            <a:r>
              <a:rPr lang="lv-LV" dirty="0"/>
              <a:t>P</a:t>
            </a:r>
            <a:r>
              <a:rPr lang="en-gb" dirty="0" err="1"/>
              <a:t>rotection</a:t>
            </a:r>
            <a:r>
              <a:rPr lang="en-gb" dirty="0"/>
              <a:t> and </a:t>
            </a:r>
            <a:r>
              <a:rPr lang="lv-LV" dirty="0"/>
              <a:t>D</a:t>
            </a:r>
            <a:r>
              <a:rPr lang="en-gb" dirty="0" err="1"/>
              <a:t>isaster</a:t>
            </a:r>
            <a:r>
              <a:rPr lang="en-gb" dirty="0"/>
              <a:t> </a:t>
            </a:r>
            <a:r>
              <a:rPr lang="lv-LV" dirty="0"/>
              <a:t>M</a:t>
            </a:r>
            <a:r>
              <a:rPr lang="en-gb" dirty="0" err="1"/>
              <a:t>edicine</a:t>
            </a:r>
            <a:r>
              <a:rPr lang="en-gb" dirty="0"/>
              <a:t> in </a:t>
            </a:r>
            <a:r>
              <a:rPr lang="lv-LV" dirty="0"/>
              <a:t>N</a:t>
            </a:r>
            <a:r>
              <a:rPr lang="en-gb" dirty="0" err="1"/>
              <a:t>ational</a:t>
            </a:r>
            <a:r>
              <a:rPr lang="en-gb" dirty="0"/>
              <a:t> </a:t>
            </a:r>
            <a:r>
              <a:rPr lang="lv-LV" dirty="0"/>
              <a:t>S</a:t>
            </a:r>
            <a:r>
              <a:rPr lang="en-gb" dirty="0" err="1"/>
              <a:t>ecurity</a:t>
            </a:r>
            <a:endParaRPr lang="lv-LV" dirty="0"/>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A9DEB5B7-0CCF-447A-91D6-F7DB098D19F7}" type="slidenum">
              <a:rPr lang="lv-LV" altLang="en-US"/>
              <a:pPr lvl="0" rtl="0"/>
              <a:t>6</a:t>
            </a:fld>
            <a:endParaRPr lang="lv-LV" altLang="en-US"/>
          </a:p>
        </p:txBody>
      </p:sp>
      <p:sp>
        <p:nvSpPr>
          <p:cNvPr id="64" name="Rectangle 63">
            <a:extLst>
              <a:ext uri="{FF2B5EF4-FFF2-40B4-BE49-F238E27FC236}">
                <a16:creationId xmlns:a16="http://schemas.microsoft.com/office/drawing/2014/main" id="{67FBBA03-31E4-D7C8-090F-638F677E6A35}"/>
              </a:ext>
            </a:extLst>
          </p:cNvPr>
          <p:cNvSpPr/>
          <p:nvPr/>
        </p:nvSpPr>
        <p:spPr>
          <a:xfrm>
            <a:off x="4523217" y="5582721"/>
            <a:ext cx="3986029"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5" name="Freeform 50">
            <a:extLst>
              <a:ext uri="{FF2B5EF4-FFF2-40B4-BE49-F238E27FC236}">
                <a16:creationId xmlns:a16="http://schemas.microsoft.com/office/drawing/2014/main" id="{894E5700-E975-D8D2-5AD3-2E35DE8CE365}"/>
              </a:ext>
            </a:extLst>
          </p:cNvPr>
          <p:cNvSpPr>
            <a:spLocks noChangeAspect="1"/>
          </p:cNvSpPr>
          <p:nvPr/>
        </p:nvSpPr>
        <p:spPr bwMode="auto">
          <a:xfrm>
            <a:off x="4561805" y="57334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66" name="Google Shape;2685;p25">
            <a:extLst>
              <a:ext uri="{FF2B5EF4-FFF2-40B4-BE49-F238E27FC236}">
                <a16:creationId xmlns:a16="http://schemas.microsoft.com/office/drawing/2014/main" id="{8D4E5B49-05F7-6DC9-B647-FEF3369AD289}"/>
              </a:ext>
            </a:extLst>
          </p:cNvPr>
          <p:cNvSpPr txBox="1"/>
          <p:nvPr/>
        </p:nvSpPr>
        <p:spPr>
          <a:xfrm>
            <a:off x="4974785" y="5621101"/>
            <a:ext cx="3591374" cy="507831"/>
          </a:xfrm>
          <a:prstGeom prst="rect">
            <a:avLst/>
          </a:prstGeom>
          <a:noFill/>
          <a:ln>
            <a:noFill/>
          </a:ln>
        </p:spPr>
        <p:txBody>
          <a:bodyPr spcFirstLastPara="1" wrap="square" lIns="0" tIns="0" rIns="72000" bIns="0" rtlCol="0" anchor="ctr" anchorCtr="0">
            <a:spAutoFit/>
          </a:bodyPr>
          <a:lstStyle/>
          <a:p>
            <a:pPr rtl="0"/>
            <a:r>
              <a:rPr lang="en-US" sz="1100" i="0" dirty="0">
                <a:effectLst/>
                <a:hlinkClick r:id="rId6">
                  <a:extLst>
                    <a:ext uri="{A12FA001-AC4F-418D-AE19-62706E023703}">
                      <ahyp:hlinkClr xmlns:ahyp="http://schemas.microsoft.com/office/drawing/2018/hyperlinkcolor" val="tx"/>
                    </a:ext>
                  </a:extLst>
                </a:hlinkClick>
              </a:rPr>
              <a:t>Regulation for the </a:t>
            </a:r>
            <a:r>
              <a:rPr lang="en-US" sz="1100" i="0" dirty="0" err="1">
                <a:effectLst/>
                <a:hlinkClick r:id="rId6">
                  <a:extLst>
                    <a:ext uri="{A12FA001-AC4F-418D-AE19-62706E023703}">
                      <ahyp:hlinkClr xmlns:ahyp="http://schemas.microsoft.com/office/drawing/2018/hyperlinkcolor" val="tx"/>
                    </a:ext>
                  </a:extLst>
                </a:hlinkClick>
              </a:rPr>
              <a:t>Organisation</a:t>
            </a:r>
            <a:r>
              <a:rPr lang="en-US" sz="1100" i="0" dirty="0">
                <a:effectLst/>
                <a:hlinkClick r:id="rId6">
                  <a:extLst>
                    <a:ext uri="{A12FA001-AC4F-418D-AE19-62706E023703}">
                      <ahyp:hlinkClr xmlns:ahyp="http://schemas.microsoft.com/office/drawing/2018/hyperlinkcolor" val="tx"/>
                    </a:ext>
                  </a:extLst>
                </a:hlinkClick>
              </a:rPr>
              <a:t> of the Disaster Medical System</a:t>
            </a:r>
            <a:r>
              <a:rPr lang="en-gb" sz="1100" i="0" dirty="0">
                <a:effectLst/>
              </a:rPr>
              <a:t> </a:t>
            </a:r>
            <a:endParaRPr lang="lv-LV" sz="1100" i="0" dirty="0">
              <a:effectLst/>
            </a:endParaRPr>
          </a:p>
          <a:p>
            <a:pPr rtl="0"/>
            <a:r>
              <a:rPr lang="en-gb" sz="1100" dirty="0">
                <a:hlinkClick r:id="rId7">
                  <a:extLst>
                    <a:ext uri="{A12FA001-AC4F-418D-AE19-62706E023703}">
                      <ahyp:hlinkClr xmlns:ahyp="http://schemas.microsoft.com/office/drawing/2018/hyperlinkcolor" val="tx"/>
                    </a:ext>
                  </a:extLst>
                </a:hlinkClick>
              </a:rPr>
              <a:t>National Disaster Medical Plan</a:t>
            </a:r>
            <a:endParaRPr lang="lv-LV" sz="1100" dirty="0"/>
          </a:p>
        </p:txBody>
      </p:sp>
      <p:sp>
        <p:nvSpPr>
          <p:cNvPr id="2" name="TextBox 1">
            <a:extLst>
              <a:ext uri="{FF2B5EF4-FFF2-40B4-BE49-F238E27FC236}">
                <a16:creationId xmlns:a16="http://schemas.microsoft.com/office/drawing/2014/main" id="{B1F6A68B-1597-6DFC-9E7D-71CFDA319A8C}"/>
              </a:ext>
            </a:extLst>
          </p:cNvPr>
          <p:cNvSpPr txBox="1"/>
          <p:nvPr/>
        </p:nvSpPr>
        <p:spPr>
          <a:xfrm>
            <a:off x="442910" y="1822450"/>
            <a:ext cx="2370472" cy="900113"/>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rtl="0">
              <a:buSzPct val="100000"/>
            </a:pPr>
            <a:r>
              <a:rPr lang="en-gb" sz="1400" b="1">
                <a:cs typeface="Arial"/>
              </a:rPr>
              <a:t>National security system</a:t>
            </a:r>
          </a:p>
        </p:txBody>
      </p:sp>
      <p:sp>
        <p:nvSpPr>
          <p:cNvPr id="5" name="TextBox 4">
            <a:extLst>
              <a:ext uri="{FF2B5EF4-FFF2-40B4-BE49-F238E27FC236}">
                <a16:creationId xmlns:a16="http://schemas.microsoft.com/office/drawing/2014/main" id="{4698077E-5F06-B355-0606-A7F29A25D317}"/>
              </a:ext>
            </a:extLst>
          </p:cNvPr>
          <p:cNvSpPr txBox="1"/>
          <p:nvPr/>
        </p:nvSpPr>
        <p:spPr>
          <a:xfrm>
            <a:off x="442911" y="3214373"/>
            <a:ext cx="2370471" cy="900113"/>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rtl="0">
              <a:buSzPct val="100000"/>
            </a:pPr>
            <a:r>
              <a:rPr lang="lv-LV" sz="1400" b="1">
                <a:cs typeface="Arial"/>
              </a:rPr>
              <a:t>S</a:t>
            </a:r>
            <a:r>
              <a:rPr lang="en-US" sz="1400" b="1" err="1">
                <a:cs typeface="Arial"/>
              </a:rPr>
              <a:t>ystem</a:t>
            </a:r>
            <a:r>
              <a:rPr lang="en-US" sz="1400" b="1">
                <a:cs typeface="Arial"/>
              </a:rPr>
              <a:t> of civil protection</a:t>
            </a:r>
            <a:endParaRPr lang="en-gb" sz="1400" b="1">
              <a:cs typeface="Arial"/>
            </a:endParaRPr>
          </a:p>
        </p:txBody>
      </p:sp>
      <p:sp>
        <p:nvSpPr>
          <p:cNvPr id="33" name="TextBox 32">
            <a:extLst>
              <a:ext uri="{FF2B5EF4-FFF2-40B4-BE49-F238E27FC236}">
                <a16:creationId xmlns:a16="http://schemas.microsoft.com/office/drawing/2014/main" id="{5B2A4D2C-CD75-341E-580A-957F809C2018}"/>
              </a:ext>
            </a:extLst>
          </p:cNvPr>
          <p:cNvSpPr txBox="1"/>
          <p:nvPr/>
        </p:nvSpPr>
        <p:spPr>
          <a:xfrm>
            <a:off x="442911" y="4606297"/>
            <a:ext cx="2370471" cy="899999"/>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rtl="0">
              <a:buSzPct val="100000"/>
            </a:pPr>
            <a:r>
              <a:rPr lang="en-gb" sz="1400" b="1">
                <a:cs typeface="Arial"/>
              </a:rPr>
              <a:t>Disaster </a:t>
            </a:r>
            <a:r>
              <a:rPr lang="en-GB" sz="1400" b="1">
                <a:cs typeface="Arial"/>
              </a:rPr>
              <a:t>medical</a:t>
            </a:r>
            <a:r>
              <a:rPr lang="en-gb" sz="1400" b="1">
                <a:cs typeface="Arial"/>
              </a:rPr>
              <a:t> system</a:t>
            </a:r>
          </a:p>
        </p:txBody>
      </p:sp>
      <p:sp>
        <p:nvSpPr>
          <p:cNvPr id="37" name="TextBox 36">
            <a:extLst>
              <a:ext uri="{FF2B5EF4-FFF2-40B4-BE49-F238E27FC236}">
                <a16:creationId xmlns:a16="http://schemas.microsoft.com/office/drawing/2014/main" id="{16C10275-D1DB-BDFC-B1ED-A4402FA73250}"/>
              </a:ext>
            </a:extLst>
          </p:cNvPr>
          <p:cNvSpPr txBox="1"/>
          <p:nvPr/>
        </p:nvSpPr>
        <p:spPr>
          <a:xfrm>
            <a:off x="3014759" y="1816100"/>
            <a:ext cx="8756650" cy="900000"/>
          </a:xfrm>
          <a:prstGeom prst="rect">
            <a:avLst/>
          </a:prstGeom>
          <a:solidFill>
            <a:schemeClr val="bg1">
              <a:lumMod val="95000"/>
            </a:schemeClr>
          </a:solidFill>
        </p:spPr>
        <p:txBody>
          <a:bodyPr wrap="square" lIns="72000" tIns="72000" rIns="72000" bIns="72000" rtlCol="0" anchor="t">
            <a:noAutofit/>
          </a:bodyPr>
          <a:lstStyle/>
          <a:p>
            <a:pPr rtl="0"/>
            <a:r>
              <a:rPr lang="en-US" sz="1200" b="0" i="0">
                <a:effectLst/>
                <a:latin typeface="Arial" panose="020B0604020202020204" pitchFamily="34" charset="0"/>
              </a:rPr>
              <a:t>National security is a state, attained as a result of joint, purposeful measures implemented by the State and society, in which the independence of the State, its constitutional structure and territorial integrity, the prospect of free development of society, welfare and stability are guaranteed</a:t>
            </a:r>
            <a:r>
              <a:rPr lang="en-gb" sz="1200" b="0" i="0">
                <a:effectLst/>
                <a:latin typeface="Arial" panose="020B0604020202020204" pitchFamily="34" charset="0"/>
              </a:rPr>
              <a:t>. </a:t>
            </a:r>
            <a:r>
              <a:rPr lang="en-US" sz="1200" b="1" i="0">
                <a:effectLst/>
                <a:latin typeface="Arial" panose="020B0604020202020204" pitchFamily="34" charset="0"/>
              </a:rPr>
              <a:t>Guaranteeing of national security is a basic obligation of the State</a:t>
            </a:r>
            <a:r>
              <a:rPr lang="en-gb" sz="1200" b="1" i="0">
                <a:effectLst/>
                <a:latin typeface="Arial" panose="020B0604020202020204" pitchFamily="34" charset="0"/>
              </a:rPr>
              <a:t>.</a:t>
            </a:r>
            <a:endParaRPr lang="lv-LV" sz="1200" b="1"/>
          </a:p>
        </p:txBody>
      </p:sp>
      <p:sp>
        <p:nvSpPr>
          <p:cNvPr id="55" name="Rectangle 54">
            <a:extLst>
              <a:ext uri="{FF2B5EF4-FFF2-40B4-BE49-F238E27FC236}">
                <a16:creationId xmlns:a16="http://schemas.microsoft.com/office/drawing/2014/main" id="{01DEE395-A1D3-A782-B617-02A79709E740}"/>
              </a:ext>
            </a:extLst>
          </p:cNvPr>
          <p:cNvSpPr/>
          <p:nvPr/>
        </p:nvSpPr>
        <p:spPr>
          <a:xfrm>
            <a:off x="2880048" y="1820333"/>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grpSp>
        <p:nvGrpSpPr>
          <p:cNvPr id="3" name="Group 2">
            <a:extLst>
              <a:ext uri="{FF2B5EF4-FFF2-40B4-BE49-F238E27FC236}">
                <a16:creationId xmlns:a16="http://schemas.microsoft.com/office/drawing/2014/main" id="{098D06C8-BDF3-A3DA-7D2A-F811209F6DCE}"/>
              </a:ext>
            </a:extLst>
          </p:cNvPr>
          <p:cNvGrpSpPr/>
          <p:nvPr/>
        </p:nvGrpSpPr>
        <p:grpSpPr>
          <a:xfrm>
            <a:off x="6994519" y="147748"/>
            <a:ext cx="4754569" cy="217488"/>
            <a:chOff x="6752692" y="132067"/>
            <a:chExt cx="4754569" cy="217488"/>
          </a:xfrm>
        </p:grpSpPr>
        <p:sp>
          <p:nvSpPr>
            <p:cNvPr id="8" name="Rectangle 7">
              <a:extLst>
                <a:ext uri="{FF2B5EF4-FFF2-40B4-BE49-F238E27FC236}">
                  <a16:creationId xmlns:a16="http://schemas.microsoft.com/office/drawing/2014/main" id="{3DFFD00F-D0DF-7F84-FFD0-EF989C35F86B}"/>
                </a:ext>
              </a:extLst>
            </p:cNvPr>
            <p:cNvSpPr/>
            <p:nvPr/>
          </p:nvSpPr>
          <p:spPr>
            <a:xfrm>
              <a:off x="6752692"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1</a:t>
              </a:r>
            </a:p>
          </p:txBody>
        </p:sp>
        <p:sp>
          <p:nvSpPr>
            <p:cNvPr id="9" name="Rectangle 8">
              <a:extLst>
                <a:ext uri="{FF2B5EF4-FFF2-40B4-BE49-F238E27FC236}">
                  <a16:creationId xmlns:a16="http://schemas.microsoft.com/office/drawing/2014/main" id="{02D61EFE-3B80-47F6-5A47-078F49031281}"/>
                </a:ext>
              </a:extLst>
            </p:cNvPr>
            <p:cNvSpPr/>
            <p:nvPr/>
          </p:nvSpPr>
          <p:spPr>
            <a:xfrm>
              <a:off x="10565780"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2</a:t>
              </a:r>
            </a:p>
          </p:txBody>
        </p:sp>
        <p:sp>
          <p:nvSpPr>
            <p:cNvPr id="10" name="Rectangle 9">
              <a:extLst>
                <a:ext uri="{FF2B5EF4-FFF2-40B4-BE49-F238E27FC236}">
                  <a16:creationId xmlns:a16="http://schemas.microsoft.com/office/drawing/2014/main" id="{E7620417-CA25-4C85-685A-F9654D084E1A}"/>
                </a:ext>
              </a:extLst>
            </p:cNvPr>
            <p:cNvSpPr/>
            <p:nvPr/>
          </p:nvSpPr>
          <p:spPr>
            <a:xfrm>
              <a:off x="6994519" y="132067"/>
              <a:ext cx="3545434"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cs typeface="Arial"/>
                </a:rPr>
                <a:t>Structure and Role of the System of Civil Protection</a:t>
              </a:r>
              <a:endParaRPr lang="lv-LV" sz="800" b="1" dirty="0">
                <a:cs typeface="Arial"/>
              </a:endParaRPr>
            </a:p>
            <a:p>
              <a:pPr algn="ctr" rtl="0"/>
              <a:r>
                <a:rPr lang="en-US" sz="800" b="1" dirty="0">
                  <a:cs typeface="Arial"/>
                </a:rPr>
                <a:t>in the National Security System</a:t>
              </a:r>
            </a:p>
          </p:txBody>
        </p:sp>
        <p:sp>
          <p:nvSpPr>
            <p:cNvPr id="11" name="Rectangle 10">
              <a:extLst>
                <a:ext uri="{FF2B5EF4-FFF2-40B4-BE49-F238E27FC236}">
                  <a16:creationId xmlns:a16="http://schemas.microsoft.com/office/drawing/2014/main" id="{416EA174-AF69-E288-DE3A-FC6ADA020D52}"/>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D704CE20-9536-92A4-D490-043CA68244AE}"/>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p>
          </p:txBody>
        </p:sp>
        <p:sp>
          <p:nvSpPr>
            <p:cNvPr id="13" name="Rectangle 12">
              <a:extLst>
                <a:ext uri="{FF2B5EF4-FFF2-40B4-BE49-F238E27FC236}">
                  <a16:creationId xmlns:a16="http://schemas.microsoft.com/office/drawing/2014/main" id="{04A46851-83AA-438A-B9EC-DD1194BC5271}"/>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5" name="TextBox 14">
            <a:extLst>
              <a:ext uri="{FF2B5EF4-FFF2-40B4-BE49-F238E27FC236}">
                <a16:creationId xmlns:a16="http://schemas.microsoft.com/office/drawing/2014/main" id="{59122A1E-8BC3-09F4-97FB-705F528E5398}"/>
              </a:ext>
            </a:extLst>
          </p:cNvPr>
          <p:cNvSpPr txBox="1"/>
          <p:nvPr/>
        </p:nvSpPr>
        <p:spPr>
          <a:xfrm>
            <a:off x="3014759" y="3213318"/>
            <a:ext cx="8756650" cy="900000"/>
          </a:xfrm>
          <a:prstGeom prst="rect">
            <a:avLst/>
          </a:prstGeom>
          <a:solidFill>
            <a:schemeClr val="bg1">
              <a:lumMod val="95000"/>
            </a:schemeClr>
          </a:solidFill>
        </p:spPr>
        <p:txBody>
          <a:bodyPr wrap="square" lIns="72000" tIns="72000" rIns="72000" bIns="72000" rtlCol="0" anchor="t">
            <a:noAutofit/>
          </a:bodyPr>
          <a:lstStyle/>
          <a:p>
            <a:pPr rtl="0">
              <a:lnSpc>
                <a:spcPct val="100000"/>
              </a:lnSpc>
              <a:buSzPct val="100000"/>
            </a:pPr>
            <a:r>
              <a:rPr lang="en-US" sz="1200"/>
              <a:t>The system </a:t>
            </a:r>
            <a:r>
              <a:rPr lang="lv-LV" sz="1200" err="1"/>
              <a:t>of</a:t>
            </a:r>
            <a:r>
              <a:rPr lang="lv-LV" sz="1200"/>
              <a:t> </a:t>
            </a:r>
            <a:r>
              <a:rPr lang="en-US" sz="1200"/>
              <a:t>civil protection is an integral part of the national security system, which forms </a:t>
            </a:r>
            <a:r>
              <a:rPr lang="en-US" sz="1200" b="1"/>
              <a:t>the basis for an efficient and comprehensive functioning of the national protection system</a:t>
            </a:r>
            <a:r>
              <a:rPr lang="en-US" sz="1200"/>
              <a:t>, ensuring coordination between civil and military authorities, coordination of resources and capacity </a:t>
            </a:r>
            <a:r>
              <a:rPr lang="en-US" sz="1200" err="1"/>
              <a:t>harmonisation</a:t>
            </a:r>
            <a:r>
              <a:rPr lang="en-US" sz="1200"/>
              <a:t>.</a:t>
            </a:r>
            <a:endParaRPr lang="en-gb" sz="1200"/>
          </a:p>
        </p:txBody>
      </p:sp>
      <p:sp>
        <p:nvSpPr>
          <p:cNvPr id="16" name="Rectangle 15">
            <a:extLst>
              <a:ext uri="{FF2B5EF4-FFF2-40B4-BE49-F238E27FC236}">
                <a16:creationId xmlns:a16="http://schemas.microsoft.com/office/drawing/2014/main" id="{4C1489AC-C832-C969-96C3-5B7A4ED02FB3}"/>
              </a:ext>
            </a:extLst>
          </p:cNvPr>
          <p:cNvSpPr/>
          <p:nvPr/>
        </p:nvSpPr>
        <p:spPr>
          <a:xfrm>
            <a:off x="2880048" y="3213318"/>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7" name="TextBox 16">
            <a:extLst>
              <a:ext uri="{FF2B5EF4-FFF2-40B4-BE49-F238E27FC236}">
                <a16:creationId xmlns:a16="http://schemas.microsoft.com/office/drawing/2014/main" id="{D67163D0-AFF2-0F5B-BEF8-713B9C5550B9}"/>
              </a:ext>
            </a:extLst>
          </p:cNvPr>
          <p:cNvSpPr txBox="1"/>
          <p:nvPr/>
        </p:nvSpPr>
        <p:spPr>
          <a:xfrm>
            <a:off x="3013945" y="4606302"/>
            <a:ext cx="8757464" cy="900000"/>
          </a:xfrm>
          <a:prstGeom prst="rect">
            <a:avLst/>
          </a:prstGeom>
          <a:solidFill>
            <a:schemeClr val="bg1">
              <a:lumMod val="95000"/>
            </a:schemeClr>
          </a:solidFill>
        </p:spPr>
        <p:txBody>
          <a:bodyPr wrap="square" lIns="72000" tIns="72000" rIns="72000" bIns="72000" rtlCol="0" anchor="t">
            <a:noAutofit/>
          </a:bodyPr>
          <a:lstStyle/>
          <a:p>
            <a:pPr rtl="0"/>
            <a:r>
              <a:rPr lang="en-gb" sz="1200">
                <a:solidFill>
                  <a:schemeClr val="tx1"/>
                </a:solidFill>
              </a:rPr>
              <a:t>The </a:t>
            </a:r>
            <a:r>
              <a:rPr lang="lv-LV" sz="1200">
                <a:solidFill>
                  <a:schemeClr val="tx1"/>
                </a:solidFill>
              </a:rPr>
              <a:t>d</a:t>
            </a:r>
            <a:r>
              <a:rPr lang="en-gb" sz="1200" err="1">
                <a:solidFill>
                  <a:schemeClr val="tx1"/>
                </a:solidFill>
              </a:rPr>
              <a:t>isaster</a:t>
            </a:r>
            <a:r>
              <a:rPr lang="en-gb" sz="1200">
                <a:solidFill>
                  <a:schemeClr val="tx1"/>
                </a:solidFill>
              </a:rPr>
              <a:t> </a:t>
            </a:r>
            <a:r>
              <a:rPr lang="lv-LV" sz="1200"/>
              <a:t>m</a:t>
            </a:r>
            <a:r>
              <a:rPr lang="en-gb" sz="1200" err="1">
                <a:solidFill>
                  <a:schemeClr val="tx1"/>
                </a:solidFill>
              </a:rPr>
              <a:t>edical</a:t>
            </a:r>
            <a:r>
              <a:rPr lang="en-gb" sz="1200">
                <a:solidFill>
                  <a:schemeClr val="tx1"/>
                </a:solidFill>
              </a:rPr>
              <a:t> </a:t>
            </a:r>
            <a:r>
              <a:rPr lang="lv-LV" sz="1200"/>
              <a:t>s</a:t>
            </a:r>
            <a:r>
              <a:rPr lang="en-gb" sz="1200" err="1">
                <a:solidFill>
                  <a:schemeClr val="tx1"/>
                </a:solidFill>
              </a:rPr>
              <a:t>ystem</a:t>
            </a:r>
            <a:r>
              <a:rPr lang="en-gb" sz="1200">
                <a:solidFill>
                  <a:schemeClr val="tx1"/>
                </a:solidFill>
              </a:rPr>
              <a:t> is a component of the </a:t>
            </a:r>
            <a:r>
              <a:rPr lang="en-GB" sz="1200">
                <a:solidFill>
                  <a:schemeClr val="tx1"/>
                </a:solidFill>
              </a:rPr>
              <a:t>system of civil protection </a:t>
            </a:r>
            <a:r>
              <a:rPr lang="en-gb" sz="1200">
                <a:solidFill>
                  <a:schemeClr val="tx1"/>
                </a:solidFill>
              </a:rPr>
              <a:t>and national security system, </a:t>
            </a:r>
            <a:r>
              <a:rPr lang="en-gb" sz="1200" b="1">
                <a:solidFill>
                  <a:schemeClr val="tx1"/>
                </a:solidFill>
              </a:rPr>
              <a:t>activated in medical emergencies and public health emergencies. </a:t>
            </a:r>
            <a:r>
              <a:rPr lang="en-gb" sz="1200">
                <a:solidFill>
                  <a:schemeClr val="tx1"/>
                </a:solidFill>
              </a:rPr>
              <a:t>A disaster medical system is a set of nationally coordinated activities carried out by health facilities and other health sector institutions to save lives and reduce the devastating impact on public health in emergencies.</a:t>
            </a:r>
          </a:p>
        </p:txBody>
      </p:sp>
      <p:sp>
        <p:nvSpPr>
          <p:cNvPr id="18" name="Rectangle 17">
            <a:extLst>
              <a:ext uri="{FF2B5EF4-FFF2-40B4-BE49-F238E27FC236}">
                <a16:creationId xmlns:a16="http://schemas.microsoft.com/office/drawing/2014/main" id="{D3932FD6-4833-DAF0-8321-A600DDDF2D68}"/>
              </a:ext>
            </a:extLst>
          </p:cNvPr>
          <p:cNvSpPr/>
          <p:nvPr/>
        </p:nvSpPr>
        <p:spPr>
          <a:xfrm>
            <a:off x="2880048" y="4606303"/>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9" name="TextBox 18">
            <a:extLst>
              <a:ext uri="{FF2B5EF4-FFF2-40B4-BE49-F238E27FC236}">
                <a16:creationId xmlns:a16="http://schemas.microsoft.com/office/drawing/2014/main" id="{106AC05F-A272-513E-EF01-E89A9509C706}"/>
              </a:ext>
            </a:extLst>
          </p:cNvPr>
          <p:cNvSpPr txBox="1"/>
          <p:nvPr/>
        </p:nvSpPr>
        <p:spPr>
          <a:xfrm>
            <a:off x="442910" y="5582721"/>
            <a:ext cx="2370472" cy="589480"/>
          </a:xfrm>
          <a:prstGeom prst="rect">
            <a:avLst/>
          </a:prstGeom>
          <a:solidFill>
            <a:srgbClr val="D18D85"/>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rtl="0">
              <a:buSzPct val="100000"/>
            </a:pPr>
            <a:r>
              <a:rPr lang="en-gb" sz="1000">
                <a:cs typeface="Arial"/>
              </a:rPr>
              <a:t>Other institutions, such as the </a:t>
            </a:r>
            <a:r>
              <a:rPr lang="en-GB" sz="1000">
                <a:cs typeface="Arial"/>
              </a:rPr>
              <a:t>State Energy Crisis Centre</a:t>
            </a:r>
            <a:r>
              <a:rPr lang="en-gb" sz="1000">
                <a:cs typeface="Arial"/>
              </a:rPr>
              <a:t>, are also part of the </a:t>
            </a:r>
            <a:r>
              <a:rPr lang="en-GB" sz="1000">
                <a:cs typeface="Arial"/>
              </a:rPr>
              <a:t>system of civil protection </a:t>
            </a:r>
            <a:endParaRPr lang="en-gb" sz="1000">
              <a:cs typeface="Arial"/>
            </a:endParaRPr>
          </a:p>
        </p:txBody>
      </p:sp>
      <p:sp>
        <p:nvSpPr>
          <p:cNvPr id="20" name="Rectangle 19">
            <a:extLst>
              <a:ext uri="{FF2B5EF4-FFF2-40B4-BE49-F238E27FC236}">
                <a16:creationId xmlns:a16="http://schemas.microsoft.com/office/drawing/2014/main" id="{420F2629-D747-1650-347F-99EDC0529C8F}"/>
              </a:ext>
            </a:extLst>
          </p:cNvPr>
          <p:cNvSpPr/>
          <p:nvPr/>
        </p:nvSpPr>
        <p:spPr>
          <a:xfrm>
            <a:off x="8575912" y="5582721"/>
            <a:ext cx="3173176"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1" name="Freeform 50">
            <a:extLst>
              <a:ext uri="{FF2B5EF4-FFF2-40B4-BE49-F238E27FC236}">
                <a16:creationId xmlns:a16="http://schemas.microsoft.com/office/drawing/2014/main" id="{036DED66-E299-1067-9D43-ADF12C7A1CC7}"/>
              </a:ext>
            </a:extLst>
          </p:cNvPr>
          <p:cNvSpPr>
            <a:spLocks noChangeAspect="1"/>
          </p:cNvSpPr>
          <p:nvPr/>
        </p:nvSpPr>
        <p:spPr bwMode="auto">
          <a:xfrm>
            <a:off x="8632825" y="5741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2" name="Google Shape;2685;p25">
            <a:extLst>
              <a:ext uri="{FF2B5EF4-FFF2-40B4-BE49-F238E27FC236}">
                <a16:creationId xmlns:a16="http://schemas.microsoft.com/office/drawing/2014/main" id="{5945FFC4-B564-FA15-EA24-EE9B63FADFEC}"/>
              </a:ext>
            </a:extLst>
          </p:cNvPr>
          <p:cNvSpPr txBox="1"/>
          <p:nvPr/>
        </p:nvSpPr>
        <p:spPr>
          <a:xfrm>
            <a:off x="9054272" y="5713589"/>
            <a:ext cx="2694815" cy="338554"/>
          </a:xfrm>
          <a:prstGeom prst="rect">
            <a:avLst/>
          </a:prstGeom>
          <a:noFill/>
          <a:ln>
            <a:noFill/>
          </a:ln>
        </p:spPr>
        <p:txBody>
          <a:bodyPr spcFirstLastPara="1" wrap="square" lIns="0" tIns="0" rIns="72000" bIns="0" rtlCol="0" anchor="ctr" anchorCtr="0">
            <a:spAutoFit/>
          </a:bodyPr>
          <a:lstStyle/>
          <a:p>
            <a:pPr rtl="0"/>
            <a:r>
              <a:rPr lang="en-US" sz="1100" i="0" dirty="0">
                <a:effectLst/>
                <a:hlinkClick r:id="rId8">
                  <a:extLst>
                    <a:ext uri="{A12FA001-AC4F-418D-AE19-62706E023703}">
                      <ahyp:hlinkClr xmlns:ahyp="http://schemas.microsoft.com/office/drawing/2018/hyperlinkcolor" val="tx"/>
                    </a:ext>
                  </a:extLst>
                </a:hlinkClick>
              </a:rPr>
              <a:t>By-laws of the State Energy Crisis Centre</a:t>
            </a:r>
            <a:r>
              <a:rPr lang="en-gb" sz="1100" i="0" dirty="0">
                <a:effectLst/>
              </a:rPr>
              <a:t> </a:t>
            </a:r>
            <a:endParaRPr lang="lv-LV" sz="1100" i="0" dirty="0">
              <a:effectLst/>
            </a:endParaRPr>
          </a:p>
          <a:p>
            <a:pPr rtl="0"/>
            <a:r>
              <a:rPr lang="en-GB" sz="1100" i="0" dirty="0">
                <a:effectLst/>
                <a:hlinkClick r:id="rId9">
                  <a:extLst>
                    <a:ext uri="{A12FA001-AC4F-418D-AE19-62706E023703}">
                      <ahyp:hlinkClr xmlns:ahyp="http://schemas.microsoft.com/office/drawing/2018/hyperlinkcolor" val="tx"/>
                    </a:ext>
                  </a:extLst>
                </a:hlinkClick>
              </a:rPr>
              <a:t>Energy Law</a:t>
            </a:r>
            <a:r>
              <a:rPr lang="en-gb" sz="1100" dirty="0"/>
              <a:t> </a:t>
            </a:r>
            <a:endParaRPr lang="lv-LV" sz="1100" i="0" dirty="0">
              <a:effectLst/>
            </a:endParaRPr>
          </a:p>
        </p:txBody>
      </p:sp>
      <p:sp>
        <p:nvSpPr>
          <p:cNvPr id="23" name="Rectangle 22">
            <a:extLst>
              <a:ext uri="{FF2B5EF4-FFF2-40B4-BE49-F238E27FC236}">
                <a16:creationId xmlns:a16="http://schemas.microsoft.com/office/drawing/2014/main" id="{40D304C9-A45C-F440-2AD0-14A290FE5C9A}"/>
              </a:ext>
            </a:extLst>
          </p:cNvPr>
          <p:cNvSpPr/>
          <p:nvPr/>
        </p:nvSpPr>
        <p:spPr>
          <a:xfrm>
            <a:off x="2880048" y="5582721"/>
            <a:ext cx="1576503"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4" name="Freeform 50">
            <a:extLst>
              <a:ext uri="{FF2B5EF4-FFF2-40B4-BE49-F238E27FC236}">
                <a16:creationId xmlns:a16="http://schemas.microsoft.com/office/drawing/2014/main" id="{4125062F-480F-BBF3-EB3F-3D86985D4CAF}"/>
              </a:ext>
            </a:extLst>
          </p:cNvPr>
          <p:cNvSpPr>
            <a:spLocks noChangeAspect="1"/>
          </p:cNvSpPr>
          <p:nvPr/>
        </p:nvSpPr>
        <p:spPr bwMode="auto">
          <a:xfrm>
            <a:off x="2953475" y="57269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25" name="Google Shape;2685;p25">
            <a:extLst>
              <a:ext uri="{FF2B5EF4-FFF2-40B4-BE49-F238E27FC236}">
                <a16:creationId xmlns:a16="http://schemas.microsoft.com/office/drawing/2014/main" id="{AC45CEB6-E989-C8E7-CB62-A8DB26594D29}"/>
              </a:ext>
            </a:extLst>
          </p:cNvPr>
          <p:cNvSpPr txBox="1"/>
          <p:nvPr/>
        </p:nvSpPr>
        <p:spPr>
          <a:xfrm>
            <a:off x="3374922" y="5719189"/>
            <a:ext cx="1168369" cy="338554"/>
          </a:xfrm>
          <a:prstGeom prst="rect">
            <a:avLst/>
          </a:prstGeom>
          <a:noFill/>
          <a:ln>
            <a:noFill/>
          </a:ln>
        </p:spPr>
        <p:txBody>
          <a:bodyPr spcFirstLastPara="1" wrap="square" lIns="0" tIns="0" rIns="72000" bIns="0" rtlCol="0" anchor="ctr" anchorCtr="0">
            <a:spAutoFit/>
          </a:bodyPr>
          <a:lstStyle/>
          <a:p>
            <a:pPr rtl="0"/>
            <a:r>
              <a:rPr lang="en-gb" sz="1100">
                <a:hlinkClick r:id="rId10">
                  <a:extLst>
                    <a:ext uri="{A12FA001-AC4F-418D-AE19-62706E023703}">
                      <ahyp:hlinkClr xmlns:ahyp="http://schemas.microsoft.com/office/drawing/2018/hyperlinkcolor" val="tx"/>
                    </a:ext>
                  </a:extLst>
                </a:hlinkClick>
              </a:rPr>
              <a:t>National Security Law</a:t>
            </a:r>
            <a:endParaRPr lang="lv-LV" sz="1100"/>
          </a:p>
        </p:txBody>
      </p:sp>
      <p:grpSp>
        <p:nvGrpSpPr>
          <p:cNvPr id="41" name="Group 40">
            <a:extLst>
              <a:ext uri="{FF2B5EF4-FFF2-40B4-BE49-F238E27FC236}">
                <a16:creationId xmlns:a16="http://schemas.microsoft.com/office/drawing/2014/main" id="{7791985C-12B3-8C09-1D30-21A08DE6D25B}"/>
              </a:ext>
            </a:extLst>
          </p:cNvPr>
          <p:cNvGrpSpPr/>
          <p:nvPr/>
        </p:nvGrpSpPr>
        <p:grpSpPr>
          <a:xfrm>
            <a:off x="442910" y="4266486"/>
            <a:ext cx="11306178" cy="241090"/>
            <a:chOff x="716103" y="3041909"/>
            <a:chExt cx="11306178" cy="241090"/>
          </a:xfrm>
        </p:grpSpPr>
        <p:grpSp>
          <p:nvGrpSpPr>
            <p:cNvPr id="42" name="Group 41">
              <a:extLst>
                <a:ext uri="{FF2B5EF4-FFF2-40B4-BE49-F238E27FC236}">
                  <a16:creationId xmlns:a16="http://schemas.microsoft.com/office/drawing/2014/main" id="{A804AD52-C2B5-1BBD-590C-011CCC0F2E26}"/>
                </a:ext>
              </a:extLst>
            </p:cNvPr>
            <p:cNvGrpSpPr/>
            <p:nvPr/>
          </p:nvGrpSpPr>
          <p:grpSpPr>
            <a:xfrm>
              <a:off x="716103" y="3057081"/>
              <a:ext cx="11306178" cy="102868"/>
              <a:chOff x="1005246" y="2692968"/>
              <a:chExt cx="23272425" cy="102868"/>
            </a:xfrm>
          </p:grpSpPr>
          <p:cxnSp>
            <p:nvCxnSpPr>
              <p:cNvPr id="44" name="Straight Connector 43">
                <a:extLst>
                  <a:ext uri="{FF2B5EF4-FFF2-40B4-BE49-F238E27FC236}">
                    <a16:creationId xmlns:a16="http://schemas.microsoft.com/office/drawing/2014/main" id="{94D6467B-3AEE-87CA-9CA3-D85B89F519C1}"/>
                  </a:ext>
                </a:extLst>
              </p:cNvPr>
              <p:cNvCxnSpPr>
                <a:cxnSpLocks/>
              </p:cNvCxnSpPr>
              <p:nvPr/>
            </p:nvCxnSpPr>
            <p:spPr>
              <a:xfrm>
                <a:off x="1005246" y="2756534"/>
                <a:ext cx="2327242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351F422D-199E-63ED-F400-A5A2A505286D}"/>
                  </a:ext>
                </a:extLst>
              </p:cNvPr>
              <p:cNvSpPr/>
              <p:nvPr/>
            </p:nvSpPr>
            <p:spPr>
              <a:xfrm>
                <a:off x="12275699" y="2692968"/>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43" name="L-Shape 42">
              <a:extLst>
                <a:ext uri="{FF2B5EF4-FFF2-40B4-BE49-F238E27FC236}">
                  <a16:creationId xmlns:a16="http://schemas.microsoft.com/office/drawing/2014/main" id="{4D22AE43-6F09-8F6C-6BFB-B80568A76645}"/>
                </a:ext>
              </a:extLst>
            </p:cNvPr>
            <p:cNvSpPr/>
            <p:nvPr/>
          </p:nvSpPr>
          <p:spPr>
            <a:xfrm rot="8100000">
              <a:off x="6248647"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grpSp>
        <p:nvGrpSpPr>
          <p:cNvPr id="52" name="Group 51">
            <a:extLst>
              <a:ext uri="{FF2B5EF4-FFF2-40B4-BE49-F238E27FC236}">
                <a16:creationId xmlns:a16="http://schemas.microsoft.com/office/drawing/2014/main" id="{F63A512F-4A6A-81D2-94DA-4195DD4BBA36}"/>
              </a:ext>
            </a:extLst>
          </p:cNvPr>
          <p:cNvGrpSpPr/>
          <p:nvPr/>
        </p:nvGrpSpPr>
        <p:grpSpPr>
          <a:xfrm>
            <a:off x="442910" y="2871386"/>
            <a:ext cx="11306178" cy="241090"/>
            <a:chOff x="716103" y="3041909"/>
            <a:chExt cx="11306178" cy="241090"/>
          </a:xfrm>
        </p:grpSpPr>
        <p:grpSp>
          <p:nvGrpSpPr>
            <p:cNvPr id="53" name="Group 52">
              <a:extLst>
                <a:ext uri="{FF2B5EF4-FFF2-40B4-BE49-F238E27FC236}">
                  <a16:creationId xmlns:a16="http://schemas.microsoft.com/office/drawing/2014/main" id="{24AD5AF1-0601-3591-444D-06C11DAFA813}"/>
                </a:ext>
              </a:extLst>
            </p:cNvPr>
            <p:cNvGrpSpPr/>
            <p:nvPr/>
          </p:nvGrpSpPr>
          <p:grpSpPr>
            <a:xfrm>
              <a:off x="716103" y="3057081"/>
              <a:ext cx="11306178" cy="102868"/>
              <a:chOff x="1005246" y="2692968"/>
              <a:chExt cx="23272425" cy="102868"/>
            </a:xfrm>
          </p:grpSpPr>
          <p:cxnSp>
            <p:nvCxnSpPr>
              <p:cNvPr id="56" name="Straight Connector 55">
                <a:extLst>
                  <a:ext uri="{FF2B5EF4-FFF2-40B4-BE49-F238E27FC236}">
                    <a16:creationId xmlns:a16="http://schemas.microsoft.com/office/drawing/2014/main" id="{FC541874-E061-42A4-B950-AAC2700C2B87}"/>
                  </a:ext>
                </a:extLst>
              </p:cNvPr>
              <p:cNvCxnSpPr>
                <a:cxnSpLocks/>
              </p:cNvCxnSpPr>
              <p:nvPr/>
            </p:nvCxnSpPr>
            <p:spPr>
              <a:xfrm>
                <a:off x="1005246" y="2756534"/>
                <a:ext cx="2327242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 name="Rectangle 56">
                <a:extLst>
                  <a:ext uri="{FF2B5EF4-FFF2-40B4-BE49-F238E27FC236}">
                    <a16:creationId xmlns:a16="http://schemas.microsoft.com/office/drawing/2014/main" id="{E3F9568D-80D6-B7D3-B26D-0CF99F24FA39}"/>
                  </a:ext>
                </a:extLst>
              </p:cNvPr>
              <p:cNvSpPr/>
              <p:nvPr/>
            </p:nvSpPr>
            <p:spPr>
              <a:xfrm>
                <a:off x="12275699" y="2692968"/>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54" name="L-Shape 53">
              <a:extLst>
                <a:ext uri="{FF2B5EF4-FFF2-40B4-BE49-F238E27FC236}">
                  <a16:creationId xmlns:a16="http://schemas.microsoft.com/office/drawing/2014/main" id="{97C2D747-7EA4-AB85-62EB-9712560435D7}"/>
                </a:ext>
              </a:extLst>
            </p:cNvPr>
            <p:cNvSpPr/>
            <p:nvPr/>
          </p:nvSpPr>
          <p:spPr>
            <a:xfrm rot="8100000">
              <a:off x="6248647"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grpSp>
      <p:sp>
        <p:nvSpPr>
          <p:cNvPr id="14" name="Rectangle 13">
            <a:extLst>
              <a:ext uri="{FF2B5EF4-FFF2-40B4-BE49-F238E27FC236}">
                <a16:creationId xmlns:a16="http://schemas.microsoft.com/office/drawing/2014/main" id="{2FF4A59B-3BE6-3AD9-0BDB-A4048FE82434}"/>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329214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5632" t="13356" r="5632" b="28504"/>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rtl="0">
              <a:spcAft>
                <a:spcPts val="600"/>
              </a:spcAft>
            </a:pPr>
            <a:r>
              <a:rPr lang="en-gb" sz="4000" dirty="0">
                <a:cs typeface="Arial"/>
              </a:rPr>
              <a:t>2.2. </a:t>
            </a:r>
            <a:r>
              <a:rPr lang="en-US" sz="4000" dirty="0">
                <a:cs typeface="Arial"/>
              </a:rPr>
              <a:t>The Legal Framework for Ensuring the Operation of the System of Civil Protection </a:t>
            </a:r>
          </a:p>
        </p:txBody>
      </p:sp>
    </p:spTree>
    <p:extLst>
      <p:ext uri="{BB962C8B-B14F-4D97-AF65-F5344CB8AC3E}">
        <p14:creationId xmlns:p14="http://schemas.microsoft.com/office/powerpoint/2010/main" val="2647739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E2C231D-EBCF-E891-0247-A043B734B43B}"/>
              </a:ext>
            </a:extLst>
          </p:cNvPr>
          <p:cNvCxnSpPr>
            <a:cxnSpLocks/>
          </p:cNvCxnSpPr>
          <p:nvPr/>
        </p:nvCxnSpPr>
        <p:spPr>
          <a:xfrm>
            <a:off x="442913"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E5719E3A-D296-88A4-B2DD-C1BBBB2C510D}"/>
              </a:ext>
            </a:extLst>
          </p:cNvPr>
          <p:cNvCxnSpPr>
            <a:cxnSpLocks/>
          </p:cNvCxnSpPr>
          <p:nvPr/>
        </p:nvCxnSpPr>
        <p:spPr>
          <a:xfrm>
            <a:off x="442913"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2F2697D9-DA60-8BE1-79DA-66E9D0D7BECC}"/>
              </a:ext>
            </a:extLst>
          </p:cNvPr>
          <p:cNvCxnSpPr>
            <a:cxnSpLocks/>
          </p:cNvCxnSpPr>
          <p:nvPr/>
        </p:nvCxnSpPr>
        <p:spPr>
          <a:xfrm>
            <a:off x="442913"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8E577F64-6C9A-A6C3-831A-F2C4EDBC0738}"/>
              </a:ext>
            </a:extLst>
          </p:cNvPr>
          <p:cNvCxnSpPr>
            <a:cxnSpLocks/>
          </p:cNvCxnSpPr>
          <p:nvPr/>
        </p:nvCxnSpPr>
        <p:spPr>
          <a:xfrm>
            <a:off x="442913" y="2689860"/>
            <a:ext cx="598223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6425149" y="268986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6425149"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6425149"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6425149"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rtlCol="0">
            <a:normAutofit/>
          </a:bodyPr>
          <a:lstStyle/>
          <a:p>
            <a:pPr rtl="0"/>
            <a:r>
              <a:rPr lang="en-gb" dirty="0"/>
              <a:t>Explanation of the </a:t>
            </a:r>
            <a:r>
              <a:rPr lang="lv-LV" dirty="0"/>
              <a:t>S</a:t>
            </a:r>
            <a:r>
              <a:rPr lang="en-gb" dirty="0" err="1"/>
              <a:t>ubordination</a:t>
            </a:r>
            <a:r>
              <a:rPr lang="en-gb" dirty="0"/>
              <a:t> </a:t>
            </a:r>
            <a:r>
              <a:rPr lang="lv-LV" dirty="0"/>
              <a:t>S</a:t>
            </a:r>
            <a:r>
              <a:rPr lang="en-gb" dirty="0" err="1"/>
              <a:t>ystem</a:t>
            </a:r>
            <a:r>
              <a:rPr lang="en-gb" dirty="0"/>
              <a:t> for </a:t>
            </a:r>
            <a:r>
              <a:rPr lang="lv-LV" dirty="0"/>
              <a:t>C</a:t>
            </a:r>
            <a:r>
              <a:rPr lang="en-gb" dirty="0" err="1"/>
              <a:t>ivil</a:t>
            </a:r>
            <a:r>
              <a:rPr lang="en-gb" dirty="0"/>
              <a:t> </a:t>
            </a:r>
            <a:r>
              <a:rPr lang="lv-LV" dirty="0"/>
              <a:t>P</a:t>
            </a:r>
            <a:r>
              <a:rPr lang="en-gb" dirty="0" err="1"/>
              <a:t>rotection</a:t>
            </a:r>
            <a:r>
              <a:rPr lang="en-gb" dirty="0"/>
              <a:t> </a:t>
            </a:r>
            <a:r>
              <a:rPr lang="lv-LV" dirty="0"/>
              <a:t>L</a:t>
            </a:r>
            <a:r>
              <a:rPr lang="en-gb" dirty="0" err="1"/>
              <a:t>egislation</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D62C999B-8A19-4CBE-B8CE-8064C986E16F}" type="slidenum">
              <a:rPr lang="lv-LV" altLang="en-US"/>
              <a:pPr rtl="0"/>
              <a:t>8</a:t>
            </a:fld>
            <a:endParaRPr lang="lv-LV" altLang="en-US"/>
          </a:p>
        </p:txBody>
      </p:sp>
      <p:sp>
        <p:nvSpPr>
          <p:cNvPr id="15" name="Freeform: Shape 14">
            <a:extLst>
              <a:ext uri="{FF2B5EF4-FFF2-40B4-BE49-F238E27FC236}">
                <a16:creationId xmlns:a16="http://schemas.microsoft.com/office/drawing/2014/main" id="{DEBA95F2-D529-A6BC-6AC4-DCFF6790B4C7}"/>
              </a:ext>
            </a:extLst>
          </p:cNvPr>
          <p:cNvSpPr/>
          <p:nvPr/>
        </p:nvSpPr>
        <p:spPr>
          <a:xfrm>
            <a:off x="3996344" y="5301615"/>
            <a:ext cx="5090160" cy="870585"/>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7" name="Rectangle 16">
            <a:extLst>
              <a:ext uri="{FF2B5EF4-FFF2-40B4-BE49-F238E27FC236}">
                <a16:creationId xmlns:a16="http://schemas.microsoft.com/office/drawing/2014/main" id="{B6F948A6-0922-23DB-91DD-ACCDC742353D}"/>
              </a:ext>
            </a:extLst>
          </p:cNvPr>
          <p:cNvSpPr/>
          <p:nvPr/>
        </p:nvSpPr>
        <p:spPr>
          <a:xfrm>
            <a:off x="6657975" y="215761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Constitution</a:t>
            </a:r>
          </a:p>
        </p:txBody>
      </p:sp>
      <p:sp>
        <p:nvSpPr>
          <p:cNvPr id="18" name="Rectangle 17">
            <a:extLst>
              <a:ext uri="{FF2B5EF4-FFF2-40B4-BE49-F238E27FC236}">
                <a16:creationId xmlns:a16="http://schemas.microsoft.com/office/drawing/2014/main" id="{3D37D2FC-305C-2948-9261-01531F1B517B}"/>
              </a:ext>
            </a:extLst>
          </p:cNvPr>
          <p:cNvSpPr/>
          <p:nvPr/>
        </p:nvSpPr>
        <p:spPr>
          <a:xfrm>
            <a:off x="6657975" y="302820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International law</a:t>
            </a:r>
          </a:p>
        </p:txBody>
      </p:sp>
      <p:sp>
        <p:nvSpPr>
          <p:cNvPr id="19" name="Rectangle 18">
            <a:extLst>
              <a:ext uri="{FF2B5EF4-FFF2-40B4-BE49-F238E27FC236}">
                <a16:creationId xmlns:a16="http://schemas.microsoft.com/office/drawing/2014/main" id="{F2A1576E-AA22-F7BF-2F83-839482ADA18C}"/>
              </a:ext>
            </a:extLst>
          </p:cNvPr>
          <p:cNvSpPr/>
          <p:nvPr/>
        </p:nvSpPr>
        <p:spPr>
          <a:xfrm>
            <a:off x="6657975" y="389878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Laws</a:t>
            </a:r>
          </a:p>
        </p:txBody>
      </p:sp>
      <p:sp>
        <p:nvSpPr>
          <p:cNvPr id="20" name="Rectangle 19">
            <a:extLst>
              <a:ext uri="{FF2B5EF4-FFF2-40B4-BE49-F238E27FC236}">
                <a16:creationId xmlns:a16="http://schemas.microsoft.com/office/drawing/2014/main" id="{83FBD7EB-47E2-E2C9-A0E2-1AF68270CE5A}"/>
              </a:ext>
            </a:extLst>
          </p:cNvPr>
          <p:cNvSpPr/>
          <p:nvPr/>
        </p:nvSpPr>
        <p:spPr>
          <a:xfrm>
            <a:off x="6657975" y="476937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Cabinet Regulations</a:t>
            </a:r>
          </a:p>
        </p:txBody>
      </p:sp>
      <p:sp>
        <p:nvSpPr>
          <p:cNvPr id="21" name="Rectangle 20">
            <a:extLst>
              <a:ext uri="{FF2B5EF4-FFF2-40B4-BE49-F238E27FC236}">
                <a16:creationId xmlns:a16="http://schemas.microsoft.com/office/drawing/2014/main" id="{3437E61C-571D-87C4-E1D3-99CE2EEEE763}"/>
              </a:ext>
            </a:extLst>
          </p:cNvPr>
          <p:cNvSpPr/>
          <p:nvPr/>
        </p:nvSpPr>
        <p:spPr>
          <a:xfrm>
            <a:off x="6658928" y="5639957"/>
            <a:ext cx="509016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Municipal binding rules</a:t>
            </a:r>
          </a:p>
        </p:txBody>
      </p:sp>
      <p:sp>
        <p:nvSpPr>
          <p:cNvPr id="2" name="Satura vietturis 2">
            <a:extLst>
              <a:ext uri="{FF2B5EF4-FFF2-40B4-BE49-F238E27FC236}">
                <a16:creationId xmlns:a16="http://schemas.microsoft.com/office/drawing/2014/main" id="{8B4AD949-FF2D-8D8A-57E5-851CFA3552F7}"/>
              </a:ext>
            </a:extLst>
          </p:cNvPr>
          <p:cNvSpPr txBox="1">
            <a:spLocks/>
          </p:cNvSpPr>
          <p:nvPr/>
        </p:nvSpPr>
        <p:spPr>
          <a:xfrm>
            <a:off x="442913" y="1901520"/>
            <a:ext cx="4571463" cy="713043"/>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400">
                <a:solidFill>
                  <a:schemeClr val="tx1"/>
                </a:solidFill>
              </a:rPr>
              <a:t>The Constitution establishes fundamental human rights (Articles 89-116)</a:t>
            </a:r>
          </a:p>
        </p:txBody>
      </p:sp>
      <p:sp>
        <p:nvSpPr>
          <p:cNvPr id="10" name="Satura vietturis 2">
            <a:extLst>
              <a:ext uri="{FF2B5EF4-FFF2-40B4-BE49-F238E27FC236}">
                <a16:creationId xmlns:a16="http://schemas.microsoft.com/office/drawing/2014/main" id="{6FF985DB-6086-437F-AF0E-F9C8ED4A19CB}"/>
              </a:ext>
            </a:extLst>
          </p:cNvPr>
          <p:cNvSpPr txBox="1">
            <a:spLocks/>
          </p:cNvSpPr>
          <p:nvPr/>
        </p:nvSpPr>
        <p:spPr>
          <a:xfrm>
            <a:off x="442913" y="3530359"/>
            <a:ext cx="4062446" cy="90067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400">
                <a:solidFill>
                  <a:schemeClr val="tx1"/>
                </a:solidFill>
              </a:rPr>
              <a:t>The </a:t>
            </a:r>
            <a:r>
              <a:rPr lang="en-US" sz="1400">
                <a:solidFill>
                  <a:schemeClr val="tx1"/>
                </a:solidFill>
              </a:rPr>
              <a:t>Civil Protection and Disaster Management Law</a:t>
            </a:r>
            <a:r>
              <a:rPr lang="lv-LV" sz="1400">
                <a:solidFill>
                  <a:schemeClr val="tx1"/>
                </a:solidFill>
              </a:rPr>
              <a:t> </a:t>
            </a:r>
            <a:r>
              <a:rPr lang="en-gb" sz="1400">
                <a:solidFill>
                  <a:schemeClr val="tx1"/>
                </a:solidFill>
              </a:rPr>
              <a:t>sets out what to do in the event of a disaster or threat of disaster</a:t>
            </a:r>
          </a:p>
        </p:txBody>
      </p:sp>
      <p:sp>
        <p:nvSpPr>
          <p:cNvPr id="16" name="Satura vietturis 2">
            <a:extLst>
              <a:ext uri="{FF2B5EF4-FFF2-40B4-BE49-F238E27FC236}">
                <a16:creationId xmlns:a16="http://schemas.microsoft.com/office/drawing/2014/main" id="{5C5A71DF-F02C-D517-1E25-F9E18E4916BD}"/>
              </a:ext>
            </a:extLst>
          </p:cNvPr>
          <p:cNvSpPr txBox="1">
            <a:spLocks/>
          </p:cNvSpPr>
          <p:nvPr/>
        </p:nvSpPr>
        <p:spPr>
          <a:xfrm>
            <a:off x="442913" y="4591880"/>
            <a:ext cx="4072128" cy="61939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400">
                <a:solidFill>
                  <a:schemeClr val="tx1"/>
                </a:solidFill>
              </a:rPr>
              <a:t>Cabinet regulations are issued to ensure the functioning of the </a:t>
            </a:r>
            <a:r>
              <a:rPr lang="lv-LV" sz="1400">
                <a:solidFill>
                  <a:schemeClr val="tx1"/>
                </a:solidFill>
              </a:rPr>
              <a:t>s</a:t>
            </a:r>
            <a:r>
              <a:rPr lang="en-GB" sz="1400" err="1">
                <a:solidFill>
                  <a:schemeClr val="tx1"/>
                </a:solidFill>
              </a:rPr>
              <a:t>ystem</a:t>
            </a:r>
            <a:r>
              <a:rPr lang="en-GB" sz="1400">
                <a:solidFill>
                  <a:schemeClr val="tx1"/>
                </a:solidFill>
              </a:rPr>
              <a:t> of civil protection</a:t>
            </a:r>
            <a:endParaRPr lang="en-gb" sz="14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6032408" y="1819275"/>
            <a:ext cx="1018032" cy="870585"/>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5523392" y="2689860"/>
            <a:ext cx="2036064" cy="870585"/>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5014376" y="3560445"/>
            <a:ext cx="3054096" cy="870585"/>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4505359" y="4431030"/>
            <a:ext cx="4072128" cy="870585"/>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6361424" y="2254567"/>
            <a:ext cx="360000" cy="360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6361424" y="2945152"/>
            <a:ext cx="360000" cy="360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6361424" y="381573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6361424" y="4686322"/>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6361424" y="5556907"/>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nvGrpSpPr>
          <p:cNvPr id="6" name="Group 5">
            <a:extLst>
              <a:ext uri="{FF2B5EF4-FFF2-40B4-BE49-F238E27FC236}">
                <a16:creationId xmlns:a16="http://schemas.microsoft.com/office/drawing/2014/main" id="{2EB936C7-DBDF-E055-71C8-DEF660CB3AA8}"/>
              </a:ext>
            </a:extLst>
          </p:cNvPr>
          <p:cNvGrpSpPr/>
          <p:nvPr/>
        </p:nvGrpSpPr>
        <p:grpSpPr>
          <a:xfrm>
            <a:off x="6635744" y="132067"/>
            <a:ext cx="5113344" cy="217488"/>
            <a:chOff x="6393917" y="132067"/>
            <a:chExt cx="5113344" cy="217488"/>
          </a:xfrm>
        </p:grpSpPr>
        <p:sp>
          <p:nvSpPr>
            <p:cNvPr id="7" name="Rectangle 6">
              <a:extLst>
                <a:ext uri="{FF2B5EF4-FFF2-40B4-BE49-F238E27FC236}">
                  <a16:creationId xmlns:a16="http://schemas.microsoft.com/office/drawing/2014/main" id="{5D451561-8CEB-8D36-A0AE-D78D954597E0}"/>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p>
          </p:txBody>
        </p:sp>
        <p:sp>
          <p:nvSpPr>
            <p:cNvPr id="8" name="Rectangle 7">
              <a:extLst>
                <a:ext uri="{FF2B5EF4-FFF2-40B4-BE49-F238E27FC236}">
                  <a16:creationId xmlns:a16="http://schemas.microsoft.com/office/drawing/2014/main" id="{B85A1D09-0367-64BC-7801-9B9431631A78}"/>
                </a:ext>
              </a:extLst>
            </p:cNvPr>
            <p:cNvSpPr/>
            <p:nvPr/>
          </p:nvSpPr>
          <p:spPr>
            <a:xfrm>
              <a:off x="6635744"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2</a:t>
              </a:r>
            </a:p>
          </p:txBody>
        </p:sp>
        <p:sp>
          <p:nvSpPr>
            <p:cNvPr id="9" name="Rectangle 8">
              <a:extLst>
                <a:ext uri="{FF2B5EF4-FFF2-40B4-BE49-F238E27FC236}">
                  <a16:creationId xmlns:a16="http://schemas.microsoft.com/office/drawing/2014/main" id="{68FCCA4E-5399-0011-B276-61D5ADFBFE2C}"/>
                </a:ext>
              </a:extLst>
            </p:cNvPr>
            <p:cNvSpPr/>
            <p:nvPr/>
          </p:nvSpPr>
          <p:spPr>
            <a:xfrm>
              <a:off x="6877571" y="132067"/>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cs typeface="Arial"/>
                </a:rPr>
                <a:t>The Legal Framework for Ensuring the Operation of</a:t>
              </a:r>
              <a:endParaRPr lang="lv-LV" sz="800" b="1" dirty="0">
                <a:cs typeface="Arial"/>
              </a:endParaRPr>
            </a:p>
            <a:p>
              <a:pPr algn="ctr" rtl="0">
                <a:spcAft>
                  <a:spcPts val="600"/>
                </a:spcAft>
              </a:pPr>
              <a:r>
                <a:rPr lang="en-US" sz="800" b="1" dirty="0">
                  <a:cs typeface="Arial"/>
                </a:rPr>
                <a:t>the System of Civil Protection </a:t>
              </a:r>
            </a:p>
          </p:txBody>
        </p:sp>
        <p:sp>
          <p:nvSpPr>
            <p:cNvPr id="22" name="Rectangle 21">
              <a:extLst>
                <a:ext uri="{FF2B5EF4-FFF2-40B4-BE49-F238E27FC236}">
                  <a16:creationId xmlns:a16="http://schemas.microsoft.com/office/drawing/2014/main" id="{647D0E22-C64E-781D-284F-D65BAFC4FE62}"/>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p>
          </p:txBody>
        </p:sp>
        <p:sp>
          <p:nvSpPr>
            <p:cNvPr id="27" name="Rectangle 26">
              <a:extLst>
                <a:ext uri="{FF2B5EF4-FFF2-40B4-BE49-F238E27FC236}">
                  <a16:creationId xmlns:a16="http://schemas.microsoft.com/office/drawing/2014/main" id="{CB35E1F8-FD06-AECA-B963-42DD6AEAC164}"/>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p>
          </p:txBody>
        </p:sp>
        <p:sp>
          <p:nvSpPr>
            <p:cNvPr id="28" name="Rectangle 27">
              <a:extLst>
                <a:ext uri="{FF2B5EF4-FFF2-40B4-BE49-F238E27FC236}">
                  <a16:creationId xmlns:a16="http://schemas.microsoft.com/office/drawing/2014/main" id="{3E861C96-F477-B536-9C08-003FEBC3B374}"/>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p>
          </p:txBody>
        </p:sp>
      </p:grpSp>
      <p:sp>
        <p:nvSpPr>
          <p:cNvPr id="5" name="Rectangle 4">
            <a:extLst>
              <a:ext uri="{FF2B5EF4-FFF2-40B4-BE49-F238E27FC236}">
                <a16:creationId xmlns:a16="http://schemas.microsoft.com/office/drawing/2014/main" id="{3B7B17C8-5179-7A5A-717F-5F3472100E71}"/>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spTree>
    <p:extLst>
      <p:ext uri="{BB962C8B-B14F-4D97-AF65-F5344CB8AC3E}">
        <p14:creationId xmlns:p14="http://schemas.microsoft.com/office/powerpoint/2010/main" val="365397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0" y="3313119"/>
            <a:ext cx="2011680" cy="0"/>
          </a:xfrm>
          <a:prstGeom prst="line">
            <a:avLst/>
          </a:prstGeom>
          <a:ln w="38100" cap="sq">
            <a:solidFill>
              <a:srgbClr val="A8192D"/>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rtlCol="0">
            <a:normAutofit/>
          </a:bodyPr>
          <a:lstStyle/>
          <a:p>
            <a:pPr rtl="0"/>
            <a:r>
              <a:rPr lang="en-gb" dirty="0"/>
              <a:t>Explanation of the </a:t>
            </a:r>
            <a:r>
              <a:rPr lang="lv-LV" dirty="0"/>
              <a:t>S</a:t>
            </a:r>
            <a:r>
              <a:rPr lang="en-gb" dirty="0" err="1"/>
              <a:t>ubordination</a:t>
            </a:r>
            <a:r>
              <a:rPr lang="en-gb" dirty="0"/>
              <a:t> </a:t>
            </a:r>
            <a:r>
              <a:rPr lang="lv-LV" dirty="0"/>
              <a:t>S</a:t>
            </a:r>
            <a:r>
              <a:rPr lang="en-gb" dirty="0" err="1"/>
              <a:t>ystem</a:t>
            </a:r>
            <a:r>
              <a:rPr lang="en-gb" dirty="0"/>
              <a:t> for </a:t>
            </a:r>
            <a:r>
              <a:rPr lang="lv-LV" dirty="0"/>
              <a:t>C</a:t>
            </a:r>
            <a:r>
              <a:rPr lang="en-gb" dirty="0" err="1"/>
              <a:t>ivil</a:t>
            </a:r>
            <a:r>
              <a:rPr lang="en-gb" dirty="0"/>
              <a:t> </a:t>
            </a:r>
            <a:r>
              <a:rPr lang="lv-LV" dirty="0"/>
              <a:t>P</a:t>
            </a:r>
            <a:r>
              <a:rPr lang="en-gb" dirty="0" err="1"/>
              <a:t>rotection</a:t>
            </a:r>
            <a:r>
              <a:rPr lang="en-gb" dirty="0"/>
              <a:t> </a:t>
            </a:r>
            <a:r>
              <a:rPr lang="lv-LV" dirty="0"/>
              <a:t>L</a:t>
            </a:r>
            <a:r>
              <a:rPr lang="en-gb" dirty="0" err="1"/>
              <a:t>egislation</a:t>
            </a:r>
            <a:endParaRPr lang="lv-LV" dirty="0"/>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D62C999B-8A19-4CBE-B8CE-8064C986E16F}" type="slidenum">
              <a:rPr lang="lv-LV" altLang="en-US"/>
              <a:pPr rtl="0"/>
              <a:t>9</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Constitution</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119220"/>
            <a:ext cx="2178880"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b="1" kern="1200">
                <a:solidFill>
                  <a:schemeClr val="tx1"/>
                </a:solidFill>
              </a:rPr>
              <a:t>International law</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Laws</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Cabinet Regulations</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spAutoFit/>
          </a:bodyPr>
          <a:lstStyle/>
          <a:p>
            <a:pPr marL="0" lvl="0" indent="0" algn="r" defTabSz="844550" rtl="0">
              <a:lnSpc>
                <a:spcPct val="90000"/>
              </a:lnSpc>
              <a:spcBef>
                <a:spcPct val="0"/>
              </a:spcBef>
              <a:spcAft>
                <a:spcPct val="35000"/>
              </a:spcAft>
              <a:buNone/>
            </a:pPr>
            <a:r>
              <a:rPr lang="en-gb" sz="1400" kern="1200">
                <a:solidFill>
                  <a:schemeClr val="tx2"/>
                </a:solidFill>
              </a:rPr>
              <a:t>Municipal binding rules</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rtlCol="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828283"/>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9"/>
            <a:ext cx="4635570" cy="4068762"/>
          </a:xfrm>
          <a:prstGeom prst="rect">
            <a:avLst/>
          </a:prstGeom>
          <a:solidFill>
            <a:schemeClr val="bg1">
              <a:lumMod val="95000"/>
            </a:schemeClr>
          </a:solidFill>
        </p:spPr>
        <p:txBody>
          <a:bodyPr wrap="square" lIns="72000" tIns="72000" rIns="144000" bIns="0" rtlCol="0">
            <a:noAutofit/>
          </a:bodyPr>
          <a:lstStyle/>
          <a:p>
            <a:pPr rtl="0">
              <a:spcBef>
                <a:spcPts val="300"/>
              </a:spcBef>
              <a:spcAft>
                <a:spcPts val="300"/>
              </a:spcAft>
              <a:buSzPct val="100000"/>
            </a:pPr>
            <a:endParaRPr lang="lv-LV" sz="1400" kern="100" spc="10" dirty="0">
              <a:cs typeface="Times New Roman"/>
            </a:endParaRPr>
          </a:p>
          <a:p>
            <a:pPr marL="285750" indent="-285750" rtl="0">
              <a:spcBef>
                <a:spcPts val="300"/>
              </a:spcBef>
              <a:spcAft>
                <a:spcPts val="300"/>
              </a:spcAft>
              <a:buSzPct val="100000"/>
              <a:buBlip>
                <a:blip r:embed="rId3"/>
              </a:buBlip>
            </a:pPr>
            <a:r>
              <a:rPr lang="en-GB" sz="1400" kern="100" spc="10" dirty="0">
                <a:cs typeface="Times New Roman"/>
              </a:rPr>
              <a:t>Paris Agreement </a:t>
            </a:r>
            <a:r>
              <a:rPr lang="lv-LV" sz="1400" kern="100" spc="10" dirty="0">
                <a:cs typeface="Times New Roman"/>
              </a:rPr>
              <a:t>–</a:t>
            </a:r>
            <a:r>
              <a:rPr lang="en-GB" sz="1400" kern="100" spc="10" dirty="0">
                <a:cs typeface="Times New Roman"/>
              </a:rPr>
              <a:t> UN Framework Convention on Climate Change</a:t>
            </a:r>
            <a:endParaRPr lang="lv-LV" sz="1400" kern="100" spc="10" dirty="0">
              <a:cs typeface="Times New Roman"/>
            </a:endParaRPr>
          </a:p>
          <a:p>
            <a:pPr marL="285750" indent="-285750" rtl="0">
              <a:spcBef>
                <a:spcPts val="300"/>
              </a:spcBef>
              <a:spcAft>
                <a:spcPts val="300"/>
              </a:spcAft>
              <a:buSzPct val="100000"/>
              <a:buBlip>
                <a:blip r:embed="rId3"/>
              </a:buBlip>
            </a:pPr>
            <a:r>
              <a:rPr lang="en-gb" sz="1400" kern="100" spc="10" dirty="0">
                <a:cs typeface="Times New Roman"/>
              </a:rPr>
              <a:t>UN Sendai Framework for Disaster Risk Reduction 2015-2030</a:t>
            </a:r>
          </a:p>
          <a:p>
            <a:pPr marL="285750" indent="-285750" rtl="0">
              <a:spcBef>
                <a:spcPts val="300"/>
              </a:spcBef>
              <a:spcAft>
                <a:spcPts val="300"/>
              </a:spcAft>
              <a:buSzPct val="100000"/>
              <a:buBlip>
                <a:blip r:embed="rId3"/>
              </a:buBlip>
            </a:pPr>
            <a:r>
              <a:rPr lang="en-gb" sz="1400" kern="100" spc="10" dirty="0">
                <a:cs typeface="Times New Roman"/>
              </a:rPr>
              <a:t>UN </a:t>
            </a:r>
            <a:r>
              <a:rPr lang="en-gb" sz="1400" dirty="0">
                <a:cs typeface="Times New Roman"/>
              </a:rPr>
              <a:t>"</a:t>
            </a:r>
            <a:r>
              <a:rPr lang="en-gb" sz="1400" kern="100" spc="10" dirty="0">
                <a:cs typeface="Times New Roman"/>
              </a:rPr>
              <a:t>Transforming our world: the 2030 Agenda for Sustainable Development</a:t>
            </a:r>
            <a:r>
              <a:rPr lang="en-gb" sz="1400" dirty="0">
                <a:cs typeface="Times New Roman"/>
              </a:rPr>
              <a:t>"</a:t>
            </a:r>
            <a:r>
              <a:rPr lang="en-gb" sz="1400" kern="100" spc="10" dirty="0">
                <a:cs typeface="Times New Roman"/>
              </a:rPr>
              <a:t> </a:t>
            </a:r>
          </a:p>
          <a:p>
            <a:pPr marL="285750" indent="-285750" rtl="0">
              <a:spcBef>
                <a:spcPts val="300"/>
              </a:spcBef>
              <a:spcAft>
                <a:spcPts val="300"/>
              </a:spcAft>
              <a:buSzPct val="100000"/>
              <a:buBlip>
                <a:blip r:embed="rId3"/>
              </a:buBlip>
            </a:pPr>
            <a:r>
              <a:rPr lang="en-US" sz="1400" kern="100" spc="10" dirty="0">
                <a:cs typeface="Times New Roman"/>
              </a:rPr>
              <a:t>Regulation (EU) 2021/836 of the European Parliament and of the Council of 20 May 2021 amending Decision No 1313/2013/EU on a Union Civil Protection Mechanism</a:t>
            </a:r>
            <a:endParaRPr lang="lv-LV" sz="1400" kern="100" spc="10" dirty="0">
              <a:cs typeface="Times New Roman"/>
            </a:endParaRPr>
          </a:p>
          <a:p>
            <a:pPr marL="285750" indent="-285750" rtl="0">
              <a:spcBef>
                <a:spcPts val="300"/>
              </a:spcBef>
              <a:spcAft>
                <a:spcPts val="300"/>
              </a:spcAft>
              <a:buSzPct val="100000"/>
              <a:buBlip>
                <a:blip r:embed="rId3"/>
              </a:buBlip>
            </a:pPr>
            <a:r>
              <a:rPr lang="en-GB" sz="1400" kern="100" spc="10" dirty="0">
                <a:cs typeface="Times New Roman"/>
              </a:rPr>
              <a:t>EU Climate Adaptation Strategy</a:t>
            </a:r>
            <a:endParaRPr lang="lv-LV" sz="1400" kern="100" spc="10" dirty="0">
              <a:cs typeface="Times New Roman"/>
            </a:endParaRPr>
          </a:p>
          <a:p>
            <a:pPr marL="285750" indent="-285750" rtl="0">
              <a:spcBef>
                <a:spcPts val="300"/>
              </a:spcBef>
              <a:spcAft>
                <a:spcPts val="300"/>
              </a:spcAft>
              <a:buSzPct val="100000"/>
              <a:buBlip>
                <a:blip r:embed="rId3"/>
              </a:buBlip>
            </a:pPr>
            <a:r>
              <a:rPr lang="en-GB" sz="1400" kern="100" spc="10" dirty="0">
                <a:cs typeface="Times New Roman"/>
              </a:rPr>
              <a:t>EU Youth Strategy 2019-2027</a:t>
            </a:r>
            <a:endParaRPr lang="lv-LV" sz="1400" kern="100" spc="10" dirty="0">
              <a:cs typeface="Times New Roman"/>
            </a:endParaRPr>
          </a:p>
          <a:p>
            <a:pPr marL="285750" indent="-285750" rtl="0">
              <a:spcBef>
                <a:spcPts val="300"/>
              </a:spcBef>
              <a:spcAft>
                <a:spcPts val="300"/>
              </a:spcAft>
              <a:buSzPct val="100000"/>
              <a:buBlip>
                <a:blip r:embed="rId3"/>
              </a:buBlip>
            </a:pPr>
            <a:r>
              <a:rPr lang="en-US" sz="1400" kern="100" spc="10" dirty="0">
                <a:cs typeface="Times New Roman"/>
              </a:rPr>
              <a:t>EU Strategy for the Baltic Sea Region</a:t>
            </a:r>
            <a:endParaRPr lang="en-gb" sz="1400" kern="100" spc="10" dirty="0">
              <a:cs typeface="Times New Roman"/>
            </a:endParaRPr>
          </a:p>
        </p:txBody>
      </p:sp>
      <p:sp>
        <p:nvSpPr>
          <p:cNvPr id="5" name="Satura vietturis 2">
            <a:extLst>
              <a:ext uri="{FF2B5EF4-FFF2-40B4-BE49-F238E27FC236}">
                <a16:creationId xmlns:a16="http://schemas.microsoft.com/office/drawing/2014/main" id="{3C00543C-F4A1-E649-E0C9-99BB084CFC93}"/>
              </a:ext>
            </a:extLst>
          </p:cNvPr>
          <p:cNvSpPr txBox="1">
            <a:spLocks/>
          </p:cNvSpPr>
          <p:nvPr/>
        </p:nvSpPr>
        <p:spPr>
          <a:xfrm>
            <a:off x="442910" y="1822553"/>
            <a:ext cx="4635569" cy="469917"/>
          </a:xfrm>
          <a:prstGeom prst="rect">
            <a:avLst/>
          </a:prstGeom>
          <a:solidFill>
            <a:srgbClr val="D18D85"/>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400">
                <a:solidFill>
                  <a:schemeClr val="tx1"/>
                </a:solidFill>
              </a:rPr>
              <a:t>Examples of international and EU regulatory frameworks and policy planning documents:</a:t>
            </a:r>
            <a:endParaRPr lang="lv-LV" sz="1400">
              <a:solidFill>
                <a:schemeClr val="tx1"/>
              </a:solidFill>
            </a:endParaRPr>
          </a:p>
        </p:txBody>
      </p:sp>
      <p:sp>
        <p:nvSpPr>
          <p:cNvPr id="22" name="Rectangle 21">
            <a:extLst>
              <a:ext uri="{FF2B5EF4-FFF2-40B4-BE49-F238E27FC236}">
                <a16:creationId xmlns:a16="http://schemas.microsoft.com/office/drawing/2014/main" id="{88C41322-A6A0-BE62-8BCF-45105927FE4C}"/>
              </a:ext>
            </a:extLst>
          </p:cNvPr>
          <p:cNvSpPr/>
          <p:nvPr/>
        </p:nvSpPr>
        <p:spPr>
          <a:xfrm>
            <a:off x="442911" y="1819276"/>
            <a:ext cx="72000" cy="469916"/>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Rectangle 29">
            <a:extLst>
              <a:ext uri="{FF2B5EF4-FFF2-40B4-BE49-F238E27FC236}">
                <a16:creationId xmlns:a16="http://schemas.microsoft.com/office/drawing/2014/main" id="{0D8A044E-CC32-07F8-7FE9-32A7C0639205}"/>
              </a:ext>
            </a:extLst>
          </p:cNvPr>
          <p:cNvSpPr/>
          <p:nvPr/>
        </p:nvSpPr>
        <p:spPr>
          <a:xfrm>
            <a:off x="442912" y="132067"/>
            <a:ext cx="4806421"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a:ln>
                  <a:noFill/>
                </a:ln>
                <a:solidFill>
                  <a:srgbClr val="A4A3B2"/>
                </a:solidFill>
                <a:effectLst/>
                <a:uLnTx/>
                <a:uFillTx/>
                <a:ea typeface="Georgia"/>
                <a:cs typeface="Georgia"/>
                <a:sym typeface="Georgia"/>
              </a:rPr>
              <a:t>2. THE SYSTEM AND REGULATORY AND POLICY PLANNING FRAMEWORK OF CIVIL PROTECTION </a:t>
            </a:r>
          </a:p>
        </p:txBody>
      </p:sp>
      <p:grpSp>
        <p:nvGrpSpPr>
          <p:cNvPr id="2" name="Group 1">
            <a:extLst>
              <a:ext uri="{FF2B5EF4-FFF2-40B4-BE49-F238E27FC236}">
                <a16:creationId xmlns:a16="http://schemas.microsoft.com/office/drawing/2014/main" id="{05800914-89A2-5B2C-BACA-8B9D721BACBF}"/>
              </a:ext>
            </a:extLst>
          </p:cNvPr>
          <p:cNvGrpSpPr/>
          <p:nvPr/>
        </p:nvGrpSpPr>
        <p:grpSpPr>
          <a:xfrm>
            <a:off x="6635744" y="132067"/>
            <a:ext cx="5113344" cy="217488"/>
            <a:chOff x="6393917" y="132067"/>
            <a:chExt cx="5113344" cy="217488"/>
          </a:xfrm>
        </p:grpSpPr>
        <p:sp>
          <p:nvSpPr>
            <p:cNvPr id="31" name="Rectangle 30">
              <a:extLst>
                <a:ext uri="{FF2B5EF4-FFF2-40B4-BE49-F238E27FC236}">
                  <a16:creationId xmlns:a16="http://schemas.microsoft.com/office/drawing/2014/main" id="{9308A5DF-8444-76E5-E420-E076B4918A55}"/>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1</a:t>
              </a:r>
            </a:p>
          </p:txBody>
        </p:sp>
        <p:sp>
          <p:nvSpPr>
            <p:cNvPr id="32" name="Rectangle 31">
              <a:extLst>
                <a:ext uri="{FF2B5EF4-FFF2-40B4-BE49-F238E27FC236}">
                  <a16:creationId xmlns:a16="http://schemas.microsoft.com/office/drawing/2014/main" id="{C6A9AE66-04A2-EAB1-5B4E-70687A9E7FA6}"/>
                </a:ext>
              </a:extLst>
            </p:cNvPr>
            <p:cNvSpPr/>
            <p:nvPr/>
          </p:nvSpPr>
          <p:spPr>
            <a:xfrm>
              <a:off x="6635744" y="132067"/>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2</a:t>
              </a:r>
              <a:r>
                <a:rPr lang="en-gb" sz="800" b="1" i="0" u="none" strike="noStrike" kern="0" cap="none" spc="0" normalizeH="0">
                  <a:ln>
                    <a:noFill/>
                  </a:ln>
                  <a:effectLst/>
                  <a:uLnTx/>
                  <a:uFillTx/>
                  <a:ea typeface="Georgia"/>
                  <a:cs typeface="Georgia"/>
                  <a:sym typeface="Georgia"/>
                </a:rPr>
                <a:t>.2</a:t>
              </a:r>
            </a:p>
          </p:txBody>
        </p:sp>
        <p:sp>
          <p:nvSpPr>
            <p:cNvPr id="33" name="Rectangle 32">
              <a:extLst>
                <a:ext uri="{FF2B5EF4-FFF2-40B4-BE49-F238E27FC236}">
                  <a16:creationId xmlns:a16="http://schemas.microsoft.com/office/drawing/2014/main" id="{437CEBD3-13FE-CF14-5FE8-4EBFB659F02D}"/>
                </a:ext>
              </a:extLst>
            </p:cNvPr>
            <p:cNvSpPr/>
            <p:nvPr/>
          </p:nvSpPr>
          <p:spPr>
            <a:xfrm>
              <a:off x="6877571" y="132067"/>
              <a:ext cx="3904209"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en-US" sz="800" b="1" dirty="0">
                  <a:cs typeface="Arial"/>
                </a:rPr>
                <a:t>The Legal Framework for Ensuring the Operation of</a:t>
              </a:r>
              <a:endParaRPr lang="lv-LV" sz="800" b="1" dirty="0">
                <a:cs typeface="Arial"/>
              </a:endParaRPr>
            </a:p>
            <a:p>
              <a:pPr algn="ctr" rtl="0">
                <a:spcAft>
                  <a:spcPts val="600"/>
                </a:spcAft>
              </a:pPr>
              <a:r>
                <a:rPr lang="en-US" sz="800" b="1" dirty="0">
                  <a:cs typeface="Arial"/>
                </a:rPr>
                <a:t>the System of Civil Protection </a:t>
              </a:r>
            </a:p>
          </p:txBody>
        </p:sp>
        <p:sp>
          <p:nvSpPr>
            <p:cNvPr id="34" name="Rectangle 33">
              <a:extLst>
                <a:ext uri="{FF2B5EF4-FFF2-40B4-BE49-F238E27FC236}">
                  <a16:creationId xmlns:a16="http://schemas.microsoft.com/office/drawing/2014/main" id="{93FE8064-DCEF-1397-8F47-98E796BF399A}"/>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3</a:t>
              </a:r>
            </a:p>
          </p:txBody>
        </p:sp>
        <p:sp>
          <p:nvSpPr>
            <p:cNvPr id="35" name="Rectangle 34">
              <a:extLst>
                <a:ext uri="{FF2B5EF4-FFF2-40B4-BE49-F238E27FC236}">
                  <a16:creationId xmlns:a16="http://schemas.microsoft.com/office/drawing/2014/main" id="{702BD927-854C-A313-EDED-049D01E533FC}"/>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4</a:t>
              </a:r>
            </a:p>
          </p:txBody>
        </p:sp>
        <p:sp>
          <p:nvSpPr>
            <p:cNvPr id="36" name="Rectangle 35">
              <a:extLst>
                <a:ext uri="{FF2B5EF4-FFF2-40B4-BE49-F238E27FC236}">
                  <a16:creationId xmlns:a16="http://schemas.microsoft.com/office/drawing/2014/main" id="{CAFBD6C8-869B-C8DF-4E51-76FABD99542F}"/>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2</a:t>
              </a:r>
              <a:r>
                <a:rPr lang="en-gb" sz="800" b="1" i="0" u="none" strike="noStrike" kern="0" cap="none" spc="0" normalizeH="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902380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42,32,Sources of information (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Kateryna Levchuk (UA)</DisplayName>
        <AccountId>102</AccountId>
        <AccountType/>
      </UserInfo>
      <UserInfo>
        <DisplayName>Olha Perminova (UA)</DisplayName>
        <AccountId>72</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F20CC1-55D2-43E4-8E08-4863AFE4AD21}">
  <ds:schemaRefs>
    <ds:schemaRef ds:uri="http://schemas.microsoft.com/office/2006/documentManagement/types"/>
    <ds:schemaRef ds:uri="http://purl.org/dc/terms/"/>
    <ds:schemaRef ds:uri="http://purl.org/dc/elements/1.1/"/>
    <ds:schemaRef ds:uri="d4c41ca5-56e0-486b-8028-8e1cdea398f5"/>
    <ds:schemaRef ds:uri="http://schemas.microsoft.com/office/infopath/2007/PartnerControls"/>
    <ds:schemaRef ds:uri="http://schemas.microsoft.com/office/2006/metadata/properties"/>
    <ds:schemaRef ds:uri="http://schemas.openxmlformats.org/package/2006/metadata/core-properties"/>
    <ds:schemaRef ds:uri="http://purl.org/dc/dcmitype/"/>
    <ds:schemaRef ds:uri="51cb120f-d312-4c6b-a4cc-bcc7f473426d"/>
    <ds:schemaRef ds:uri="http://www.w3.org/XML/1998/namespace"/>
  </ds:schemaRefs>
</ds:datastoreItem>
</file>

<file path=customXml/itemProps2.xml><?xml version="1.0" encoding="utf-8"?>
<ds:datastoreItem xmlns:ds="http://schemas.openxmlformats.org/officeDocument/2006/customXml" ds:itemID="{68CA05C6-6089-4BB0-86B9-CB32C3DB73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B42E8E-E3C8-41CE-9ACE-424ECCC8DA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 (1)</Template>
  <TotalTime>1135</TotalTime>
  <Words>5721</Words>
  <Application>Microsoft Office PowerPoint</Application>
  <PresentationFormat>Widescreen</PresentationFormat>
  <Paragraphs>669</Paragraphs>
  <Slides>34</Slides>
  <Notes>3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Aptos</vt:lpstr>
      <vt:lpstr>Arial</vt:lpstr>
      <vt:lpstr>Arial Narrow</vt:lpstr>
      <vt:lpstr>Calibri</vt:lpstr>
      <vt:lpstr>Georgia</vt:lpstr>
      <vt:lpstr>Open Sans</vt:lpstr>
      <vt:lpstr>Times New Roman</vt:lpstr>
      <vt:lpstr>Verdana</vt:lpstr>
      <vt:lpstr>PwC</vt:lpstr>
      <vt:lpstr>think-cell Slide</vt:lpstr>
      <vt:lpstr>PowerPoint Presentation</vt:lpstr>
      <vt:lpstr>Tasks</vt:lpstr>
      <vt:lpstr>Table of Contents</vt:lpstr>
      <vt:lpstr>Introductory Discussion with Educatees on the System of Civil Protection in Latvia</vt:lpstr>
      <vt:lpstr>2.1. Structure and Role of the System of Civil Protection in the National Security System</vt:lpstr>
      <vt:lpstr>The Role of Civil Protection and Disaster Medicine in National Security</vt:lpstr>
      <vt:lpstr>PowerPoint Presentation</vt:lpstr>
      <vt:lpstr>Explanation of the Subordination System for Civil Protection Legislation</vt:lpstr>
      <vt:lpstr>Explanation of the Subordination System for Civil Protection Legislation</vt:lpstr>
      <vt:lpstr>Explanation of the Subordination System for Civil Protection Legislation</vt:lpstr>
      <vt:lpstr>Explanation of the Subordination System for Civil Protection Legislation</vt:lpstr>
      <vt:lpstr>PowerPoint Presentation</vt:lpstr>
      <vt:lpstr>Civil Protection and Disaster Management Law</vt:lpstr>
      <vt:lpstr>Governance Structure in the System of Civil Protection </vt:lpstr>
      <vt:lpstr>Civil Protection and Disaster Management Authorities</vt:lpstr>
      <vt:lpstr>The Principle of Co-operation of Territories – the Basis for the Organisation of the System of Civil Protection</vt:lpstr>
      <vt:lpstr>Civil Protection Coordination Platforms</vt:lpstr>
      <vt:lpstr>Tasks of the Operational Control Centre of Civil Protection</vt:lpstr>
      <vt:lpstr>PowerPoint Presentation</vt:lpstr>
      <vt:lpstr>Three Level Civil Protection Plans for Disaster Management</vt:lpstr>
      <vt:lpstr>State Civil Protection Plan</vt:lpstr>
      <vt:lpstr>Process for Developing the State Civil Protection Plan</vt:lpstr>
      <vt:lpstr>Information to be Included in the Civil Protection Plan</vt:lpstr>
      <vt:lpstr>Information to be Included in the Civil Protection Plan</vt:lpstr>
      <vt:lpstr>PowerPoint Presentation</vt:lpstr>
      <vt:lpstr>Emergency Situation</vt:lpstr>
      <vt:lpstr>In Declaring Emergency Situation, the Cabinet has the Right to Stipulate:</vt:lpstr>
      <vt:lpstr>State of Exception</vt:lpstr>
      <vt:lpstr>Depending on the Type, Intensity and Nature of Threat to National Security the Cabinet may Determine:  (1/2)</vt:lpstr>
      <vt:lpstr>Depending on the Type, Intensity and Nature of Threat to National Security the Cabinet may Determine:  (2/2)</vt:lpstr>
      <vt:lpstr>Summary</vt:lpstr>
      <vt:lpstr>Sources of information (1/3)</vt:lpstr>
      <vt:lpstr>Sources of information (2/3)</vt:lpstr>
      <vt:lpstr>Sources of information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Sindija Kirsteine (LV)</cp:lastModifiedBy>
  <cp:revision>8</cp:revision>
  <dcterms:created xsi:type="dcterms:W3CDTF">2024-05-09T17:35:29Z</dcterms:created>
  <dcterms:modified xsi:type="dcterms:W3CDTF">2024-09-02T07:07: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ies>
</file>